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5.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6.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7.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8.xml" ContentType="application/vnd.openxmlformats-officedocument.theme+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10.xml" ContentType="application/vnd.openxmlformats-officedocument.theme+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1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1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898" r:id="rId5"/>
    <p:sldMasterId id="2147483935" r:id="rId6"/>
    <p:sldMasterId id="2147484069" r:id="rId7"/>
    <p:sldMasterId id="2147484113" r:id="rId8"/>
    <p:sldMasterId id="2147484162" r:id="rId9"/>
    <p:sldMasterId id="2147484230" r:id="rId10"/>
    <p:sldMasterId id="2147484275" r:id="rId11"/>
    <p:sldMasterId id="2147484321" r:id="rId12"/>
    <p:sldMasterId id="2147484363" r:id="rId13"/>
    <p:sldMasterId id="2147484435" r:id="rId14"/>
    <p:sldMasterId id="2147484455" r:id="rId15"/>
    <p:sldMasterId id="2147484461" r:id="rId16"/>
    <p:sldMasterId id="2147484509" r:id="rId17"/>
  </p:sldMasterIdLst>
  <p:notesMasterIdLst>
    <p:notesMasterId r:id="rId50"/>
  </p:notesMasterIdLst>
  <p:handoutMasterIdLst>
    <p:handoutMasterId r:id="rId51"/>
  </p:handoutMasterIdLst>
  <p:sldIdLst>
    <p:sldId id="2147470263" r:id="rId18"/>
    <p:sldId id="414" r:id="rId19"/>
    <p:sldId id="2147472843" r:id="rId20"/>
    <p:sldId id="2147470279" r:id="rId21"/>
    <p:sldId id="396" r:id="rId22"/>
    <p:sldId id="2147472844" r:id="rId23"/>
    <p:sldId id="263" r:id="rId24"/>
    <p:sldId id="663" r:id="rId25"/>
    <p:sldId id="9202" r:id="rId26"/>
    <p:sldId id="3146" r:id="rId27"/>
    <p:sldId id="2147472848" r:id="rId28"/>
    <p:sldId id="2147472845" r:id="rId29"/>
    <p:sldId id="2147472847" r:id="rId30"/>
    <p:sldId id="2147472851" r:id="rId31"/>
    <p:sldId id="2147472858" r:id="rId32"/>
    <p:sldId id="2147472865" r:id="rId33"/>
    <p:sldId id="2147472862" r:id="rId34"/>
    <p:sldId id="2147472860" r:id="rId35"/>
    <p:sldId id="2146846857" r:id="rId36"/>
    <p:sldId id="2147472849" r:id="rId37"/>
    <p:sldId id="2147472856" r:id="rId38"/>
    <p:sldId id="2147472863" r:id="rId39"/>
    <p:sldId id="2147472867" r:id="rId40"/>
    <p:sldId id="2147472850" r:id="rId41"/>
    <p:sldId id="1216" r:id="rId42"/>
    <p:sldId id="292" r:id="rId43"/>
    <p:sldId id="1213" r:id="rId44"/>
    <p:sldId id="2147472859" r:id="rId45"/>
    <p:sldId id="1207" r:id="rId46"/>
    <p:sldId id="2147472866" r:id="rId47"/>
    <p:sldId id="2134808164" r:id="rId48"/>
    <p:sldId id="2147471847" r:id="rId49"/>
  </p:sldIdLst>
  <p:sldSz cx="12192000" cy="6858000"/>
  <p:notesSz cx="6858000" cy="9144000"/>
  <p:custDataLst>
    <p:tags r:id="rId5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344" userDrawn="1">
          <p15:clr>
            <a:srgbClr val="A4A3A4"/>
          </p15:clr>
        </p15:guide>
        <p15:guide id="3" orient="horz" pos="34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A20024-094D-04C4-C5FE-3DB4383056FE}" name="Weronika CZEKAJ" initials="WC" userId="Weronika CZEKAJ" providerId="None"/>
  <p188:author id="{C3760824-FD99-3262-DF00-860E8E67695C}" name="Franz MULLER" initials="FM" userId="S::franz.muller@amadeus.com::79454339-e177-4ea3-bc97-d1e6b529622b" providerId="AD"/>
  <p188:author id="{9F8FF835-F5B2-3CD1-C64B-6B5C482A1EBE}" name="Jacki BROWN" initials="JB" userId="S::jacki.brown@amadeus.com::a809f8b1-aa06-4ad9-829b-9f50a7822a01" providerId="AD"/>
  <p188:author id="{79885D4C-D460-0050-6017-D85460CADE57}" name="Richard BOHORQUEZ" initials="RB" userId="S::richard.bohorquez@amadeus.com::55f29207-1258-4aaa-8b95-0fc1a4b3e790" providerId="AD"/>
  <p188:author id="{DDCD6BBD-759C-0889-95B4-1E4DC436D68D}" name="Diana DONEIT" initials="DD" userId="S::diana.doneit@amadeus.com::c357b856-428d-4ee2-afe5-9075c971ee00" providerId="AD"/>
  <p188:author id="{9F336EDA-AD78-0EB9-1F45-68E2D9475DB0}" name="Lara HENRIQUEZ" initials="LH" userId="S::lara.henriquez@amadeus.com::1e97ad28-4347-4e7d-8fab-0dda1862d686" providerId="AD"/>
  <p188:author id="{CAD2DBEB-069C-699D-B6E1-E056FF5A5C31}" name="Belen GUINALDO" initials="BG" userId="S::belen.guinaldo@amadeus.com::072d44f7-b5ec-4b7f-9520-55b6c3f7bb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esca CRETELLA" initials="FC" lastIdx="2" clrIdx="0">
    <p:extLst>
      <p:ext uri="{19B8F6BF-5375-455C-9EA6-DF929625EA0E}">
        <p15:presenceInfo xmlns:p15="http://schemas.microsoft.com/office/powerpoint/2012/main" userId="Francesca CRETELLA" providerId="None"/>
      </p:ext>
    </p:extLst>
  </p:cmAuthor>
  <p:cmAuthor id="2" name="Weronika CZEKAJ" initials="WC" lastIdx="214" clrIdx="1">
    <p:extLst>
      <p:ext uri="{19B8F6BF-5375-455C-9EA6-DF929625EA0E}">
        <p15:presenceInfo xmlns:p15="http://schemas.microsoft.com/office/powerpoint/2012/main" userId="Weronika CZEKAJ" providerId="None"/>
      </p:ext>
    </p:extLst>
  </p:cmAuthor>
  <p:cmAuthor id="3" name="Belen GUINALDO" initials="BG" lastIdx="9" clrIdx="2">
    <p:extLst>
      <p:ext uri="{19B8F6BF-5375-455C-9EA6-DF929625EA0E}">
        <p15:presenceInfo xmlns:p15="http://schemas.microsoft.com/office/powerpoint/2012/main" userId="Belen GUINALDO" providerId="None"/>
      </p:ext>
    </p:extLst>
  </p:cmAuthor>
  <p:cmAuthor id="4" name="Belen GUINALDO" initials="BG [2]" lastIdx="1" clrIdx="3">
    <p:extLst>
      <p:ext uri="{19B8F6BF-5375-455C-9EA6-DF929625EA0E}">
        <p15:presenceInfo xmlns:p15="http://schemas.microsoft.com/office/powerpoint/2012/main" userId="S::belen.guinaldo@amadeus.com::072d44f7-b5ec-4b7f-9520-55b6c3f7bb43" providerId="AD"/>
      </p:ext>
    </p:extLst>
  </p:cmAuthor>
  <p:cmAuthor id="5" name="Dan BRAGA" initials="DB" lastIdx="1" clrIdx="4">
    <p:extLst>
      <p:ext uri="{19B8F6BF-5375-455C-9EA6-DF929625EA0E}">
        <p15:presenceInfo xmlns:p15="http://schemas.microsoft.com/office/powerpoint/2012/main" userId="S::danilo.braga@amadeus.com::b88c45e6-cd7d-4e0c-9fa3-76784b0dd2c6" providerId="AD"/>
      </p:ext>
    </p:extLst>
  </p:cmAuthor>
  <p:cmAuthor id="6" name="Mariana PONTES" initials="MP" lastIdx="2" clrIdx="5">
    <p:extLst>
      <p:ext uri="{19B8F6BF-5375-455C-9EA6-DF929625EA0E}">
        <p15:presenceInfo xmlns:p15="http://schemas.microsoft.com/office/powerpoint/2012/main" userId="Mariana PONTES" providerId="None"/>
      </p:ext>
    </p:extLst>
  </p:cmAuthor>
  <p:cmAuthor id="7" name="Diana DONEIT" initials="DD" lastIdx="74" clrIdx="6">
    <p:extLst>
      <p:ext uri="{19B8F6BF-5375-455C-9EA6-DF929625EA0E}">
        <p15:presenceInfo xmlns:p15="http://schemas.microsoft.com/office/powerpoint/2012/main" userId="S::diana.doneit@amadeus.com::c357b856-428d-4ee2-afe5-9075c971ee00" providerId="AD"/>
      </p:ext>
    </p:extLst>
  </p:cmAuthor>
  <p:cmAuthor id="8" name="José Alexandre" initials="JA" lastIdx="1" clrIdx="7">
    <p:extLst>
      <p:ext uri="{19B8F6BF-5375-455C-9EA6-DF929625EA0E}">
        <p15:presenceInfo xmlns:p15="http://schemas.microsoft.com/office/powerpoint/2012/main" userId="S::j.alexandre@travelaudience.com::28bf8d4c-d7a7-4f65-b039-7a5b33c3d9d6" providerId="AD"/>
      </p:ext>
    </p:extLst>
  </p:cmAuthor>
  <p:cmAuthor id="9" name="Weronika CZEKAJ" initials="WC [2]" lastIdx="4" clrIdx="8">
    <p:extLst>
      <p:ext uri="{19B8F6BF-5375-455C-9EA6-DF929625EA0E}">
        <p15:presenceInfo xmlns:p15="http://schemas.microsoft.com/office/powerpoint/2012/main" userId="S::weronika.czekaj@amadeus.com::f35344a5-653f-4a7a-a295-7678f866d97e" providerId="AD"/>
      </p:ext>
    </p:extLst>
  </p:cmAuthor>
  <p:cmAuthor id="10" name="Caterina PINTUS" initials="CP" lastIdx="2" clrIdx="9">
    <p:extLst>
      <p:ext uri="{19B8F6BF-5375-455C-9EA6-DF929625EA0E}">
        <p15:presenceInfo xmlns:p15="http://schemas.microsoft.com/office/powerpoint/2012/main" userId="S::caterina.pintus@amadeus.com::83e280f1-deed-47d8-a108-9daea536710c" providerId="AD"/>
      </p:ext>
    </p:extLst>
  </p:cmAuthor>
  <p:cmAuthor id="11" name="Chuck Preston" initials="CP" lastIdx="1" clrIdx="10">
    <p:extLst>
      <p:ext uri="{19B8F6BF-5375-455C-9EA6-DF929625EA0E}">
        <p15:presenceInfo xmlns:p15="http://schemas.microsoft.com/office/powerpoint/2012/main" userId="S::prestonc@hersheyicecream.com::9e3f1773-2ec7-41ed-b06e-a1cb43494fdb" providerId="AD"/>
      </p:ext>
    </p:extLst>
  </p:cmAuthor>
  <p:cmAuthor id="12" name="Chuck PRESTON" initials="CP" lastIdx="4" clrIdx="11">
    <p:extLst>
      <p:ext uri="{19B8F6BF-5375-455C-9EA6-DF929625EA0E}">
        <p15:presenceInfo xmlns:p15="http://schemas.microsoft.com/office/powerpoint/2012/main" userId="S::charles.preston@amadeus.com::b04931cf-06ca-4158-933f-26319ce6cc0b" providerId="AD"/>
      </p:ext>
    </p:extLst>
  </p:cmAuthor>
  <p:cmAuthor id="13" name="Tom STARR" initials="TS" lastIdx="1" clrIdx="12">
    <p:extLst>
      <p:ext uri="{19B8F6BF-5375-455C-9EA6-DF929625EA0E}">
        <p15:presenceInfo xmlns:p15="http://schemas.microsoft.com/office/powerpoint/2012/main" userId="S::tom.starr@amadeus.com::1f8ba087-875a-40a5-b167-9fd1f63223b0" providerId="AD"/>
      </p:ext>
    </p:extLst>
  </p:cmAuthor>
  <p:cmAuthor id="14" name="Brent ROBERTS" initials="BR" lastIdx="9" clrIdx="13">
    <p:extLst>
      <p:ext uri="{19B8F6BF-5375-455C-9EA6-DF929625EA0E}">
        <p15:presenceInfo xmlns:p15="http://schemas.microsoft.com/office/powerpoint/2012/main" userId="S::brent.roberts@amadeus.com::42d8f415-893f-4dc6-9dfd-6a8e9e1791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0454"/>
    <a:srgbClr val="050205"/>
    <a:srgbClr val="E95326"/>
    <a:srgbClr val="CE0058"/>
    <a:srgbClr val="197F91"/>
    <a:srgbClr val="008A8A"/>
    <a:srgbClr val="6F2B8D"/>
    <a:srgbClr val="005EB8"/>
    <a:srgbClr val="B169D1"/>
    <a:srgbClr val="F7A8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497945-B4BB-4CEE-BAAE-E72909B9B60B}" v="757" dt="2023-09-22T17:32:45.8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664" autoAdjust="0"/>
  </p:normalViewPr>
  <p:slideViewPr>
    <p:cSldViewPr snapToGrid="0">
      <p:cViewPr varScale="1">
        <p:scale>
          <a:sx n="59" d="100"/>
          <a:sy n="59" d="100"/>
        </p:scale>
        <p:origin x="940" y="56"/>
      </p:cViewPr>
      <p:guideLst>
        <p:guide pos="4344"/>
        <p:guide orient="horz" pos="345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microsoft.com/office/2015/10/relationships/revisionInfo" Target="revisionInfo.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tags" Target="tags/tag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z MULLER" userId="79454339-e177-4ea3-bc97-d1e6b529622b" providerId="ADAL" clId="{0D497945-B4BB-4CEE-BAAE-E72909B9B60B}"/>
    <pc:docChg chg="undo custSel addSld delSld modSld sldOrd delMainMaster modMainMaster">
      <pc:chgData name="Franz MULLER" userId="79454339-e177-4ea3-bc97-d1e6b529622b" providerId="ADAL" clId="{0D497945-B4BB-4CEE-BAAE-E72909B9B60B}" dt="2023-09-22T19:04:03.964" v="7390"/>
      <pc:docMkLst>
        <pc:docMk/>
      </pc:docMkLst>
      <pc:sldChg chg="modSp add del mod">
        <pc:chgData name="Franz MULLER" userId="79454339-e177-4ea3-bc97-d1e6b529622b" providerId="ADAL" clId="{0D497945-B4BB-4CEE-BAAE-E72909B9B60B}" dt="2023-09-22T16:25:03.251" v="6158" actId="47"/>
        <pc:sldMkLst>
          <pc:docMk/>
          <pc:sldMk cId="1085882850" sldId="261"/>
        </pc:sldMkLst>
        <pc:spChg chg="mod">
          <ac:chgData name="Franz MULLER" userId="79454339-e177-4ea3-bc97-d1e6b529622b" providerId="ADAL" clId="{0D497945-B4BB-4CEE-BAAE-E72909B9B60B}" dt="2023-09-20T17:03:54.895" v="4003" actId="14100"/>
          <ac:spMkLst>
            <pc:docMk/>
            <pc:sldMk cId="1085882850" sldId="261"/>
            <ac:spMk id="3" creationId="{E4A52925-49C8-E3F4-844F-88021441E1C2}"/>
          </ac:spMkLst>
        </pc:spChg>
        <pc:spChg chg="mod">
          <ac:chgData name="Franz MULLER" userId="79454339-e177-4ea3-bc97-d1e6b529622b" providerId="ADAL" clId="{0D497945-B4BB-4CEE-BAAE-E72909B9B60B}" dt="2023-09-20T17:03:48.158" v="4001" actId="6549"/>
          <ac:spMkLst>
            <pc:docMk/>
            <pc:sldMk cId="1085882850" sldId="261"/>
            <ac:spMk id="7" creationId="{6726B258-9908-1443-AA45-86AF49111F13}"/>
          </ac:spMkLst>
        </pc:spChg>
        <pc:spChg chg="mod">
          <ac:chgData name="Franz MULLER" userId="79454339-e177-4ea3-bc97-d1e6b529622b" providerId="ADAL" clId="{0D497945-B4BB-4CEE-BAAE-E72909B9B60B}" dt="2023-09-20T17:03:51.157" v="4002" actId="6549"/>
          <ac:spMkLst>
            <pc:docMk/>
            <pc:sldMk cId="1085882850" sldId="261"/>
            <ac:spMk id="8" creationId="{DEC9392E-4F2F-4A9F-953F-DCB68B5148BE}"/>
          </ac:spMkLst>
        </pc:spChg>
      </pc:sldChg>
      <pc:sldChg chg="addSp modSp add ord">
        <pc:chgData name="Franz MULLER" userId="79454339-e177-4ea3-bc97-d1e6b529622b" providerId="ADAL" clId="{0D497945-B4BB-4CEE-BAAE-E72909B9B60B}" dt="2023-09-22T12:08:46.442" v="6046"/>
        <pc:sldMkLst>
          <pc:docMk/>
          <pc:sldMk cId="3127465084" sldId="263"/>
        </pc:sldMkLst>
        <pc:spChg chg="add mod">
          <ac:chgData name="Franz MULLER" userId="79454339-e177-4ea3-bc97-d1e6b529622b" providerId="ADAL" clId="{0D497945-B4BB-4CEE-BAAE-E72909B9B60B}" dt="2023-09-20T14:55:07.673" v="3240"/>
          <ac:spMkLst>
            <pc:docMk/>
            <pc:sldMk cId="3127465084" sldId="263"/>
            <ac:spMk id="2" creationId="{256256DF-91F4-6DED-B719-5B3B59969EAB}"/>
          </ac:spMkLst>
        </pc:spChg>
      </pc:sldChg>
      <pc:sldChg chg="addSp delSp modSp add del mod">
        <pc:chgData name="Franz MULLER" userId="79454339-e177-4ea3-bc97-d1e6b529622b" providerId="ADAL" clId="{0D497945-B4BB-4CEE-BAAE-E72909B9B60B}" dt="2023-09-20T21:40:00.217" v="5607" actId="47"/>
        <pc:sldMkLst>
          <pc:docMk/>
          <pc:sldMk cId="419121114" sldId="275"/>
        </pc:sldMkLst>
        <pc:spChg chg="add mod">
          <ac:chgData name="Franz MULLER" userId="79454339-e177-4ea3-bc97-d1e6b529622b" providerId="ADAL" clId="{0D497945-B4BB-4CEE-BAAE-E72909B9B60B}" dt="2023-09-14T21:25:16.490" v="1508"/>
          <ac:spMkLst>
            <pc:docMk/>
            <pc:sldMk cId="419121114" sldId="275"/>
            <ac:spMk id="2" creationId="{274C6F34-BEF6-9638-EDDB-790CEEA7F01C}"/>
          </ac:spMkLst>
        </pc:spChg>
        <pc:spChg chg="del">
          <ac:chgData name="Franz MULLER" userId="79454339-e177-4ea3-bc97-d1e6b529622b" providerId="ADAL" clId="{0D497945-B4BB-4CEE-BAAE-E72909B9B60B}" dt="2023-09-14T21:25:16.274" v="1507" actId="478"/>
          <ac:spMkLst>
            <pc:docMk/>
            <pc:sldMk cId="419121114" sldId="275"/>
            <ac:spMk id="20" creationId="{BABEA733-CFFC-E84E-89CF-148C4BB82E7B}"/>
          </ac:spMkLst>
        </pc:spChg>
        <pc:spChg chg="mod">
          <ac:chgData name="Franz MULLER" userId="79454339-e177-4ea3-bc97-d1e6b529622b" providerId="ADAL" clId="{0D497945-B4BB-4CEE-BAAE-E72909B9B60B}" dt="2023-09-14T21:25:24.860" v="1510" actId="113"/>
          <ac:spMkLst>
            <pc:docMk/>
            <pc:sldMk cId="419121114" sldId="275"/>
            <ac:spMk id="31" creationId="{DC16B9FA-CC1B-E94E-A2B9-FA5C513926C0}"/>
          </ac:spMkLst>
        </pc:spChg>
        <pc:spChg chg="mod">
          <ac:chgData name="Franz MULLER" userId="79454339-e177-4ea3-bc97-d1e6b529622b" providerId="ADAL" clId="{0D497945-B4BB-4CEE-BAAE-E72909B9B60B}" dt="2023-09-14T21:25:28.721" v="1512" actId="113"/>
          <ac:spMkLst>
            <pc:docMk/>
            <pc:sldMk cId="419121114" sldId="275"/>
            <ac:spMk id="32" creationId="{C39F77E6-1172-144B-BB09-7DB0BB2AEFAE}"/>
          </ac:spMkLst>
        </pc:spChg>
        <pc:spChg chg="mod">
          <ac:chgData name="Franz MULLER" userId="79454339-e177-4ea3-bc97-d1e6b529622b" providerId="ADAL" clId="{0D497945-B4BB-4CEE-BAAE-E72909B9B60B}" dt="2023-09-14T21:25:35.973" v="1514" actId="113"/>
          <ac:spMkLst>
            <pc:docMk/>
            <pc:sldMk cId="419121114" sldId="275"/>
            <ac:spMk id="33" creationId="{2D3F28F5-5743-7447-88EE-E37C5A634107}"/>
          </ac:spMkLst>
        </pc:spChg>
        <pc:spChg chg="mod">
          <ac:chgData name="Franz MULLER" userId="79454339-e177-4ea3-bc97-d1e6b529622b" providerId="ADAL" clId="{0D497945-B4BB-4CEE-BAAE-E72909B9B60B}" dt="2023-09-14T21:25:57.826" v="1526" actId="20577"/>
          <ac:spMkLst>
            <pc:docMk/>
            <pc:sldMk cId="419121114" sldId="275"/>
            <ac:spMk id="34" creationId="{0AF6EB78-2073-A146-B8D6-EC0A2D42B22A}"/>
          </ac:spMkLst>
        </pc:spChg>
        <pc:spChg chg="del">
          <ac:chgData name="Franz MULLER" userId="79454339-e177-4ea3-bc97-d1e6b529622b" providerId="ADAL" clId="{0D497945-B4BB-4CEE-BAAE-E72909B9B60B}" dt="2023-09-14T21:26:06.290" v="1530" actId="478"/>
          <ac:spMkLst>
            <pc:docMk/>
            <pc:sldMk cId="419121114" sldId="275"/>
            <ac:spMk id="36" creationId="{EBC4AC58-ADC3-1C4C-B9D5-4007F7854FC6}"/>
          </ac:spMkLst>
        </pc:spChg>
        <pc:picChg chg="del">
          <ac:chgData name="Franz MULLER" userId="79454339-e177-4ea3-bc97-d1e6b529622b" providerId="ADAL" clId="{0D497945-B4BB-4CEE-BAAE-E72909B9B60B}" dt="2023-09-14T21:25:41.713" v="1517" actId="478"/>
          <ac:picMkLst>
            <pc:docMk/>
            <pc:sldMk cId="419121114" sldId="275"/>
            <ac:picMk id="25" creationId="{6F50D143-5E51-EF48-97F7-8FA7EF87F47C}"/>
          </ac:picMkLst>
        </pc:picChg>
        <pc:picChg chg="del">
          <ac:chgData name="Franz MULLER" userId="79454339-e177-4ea3-bc97-d1e6b529622b" providerId="ADAL" clId="{0D497945-B4BB-4CEE-BAAE-E72909B9B60B}" dt="2023-09-14T21:26:03.232" v="1527" actId="478"/>
          <ac:picMkLst>
            <pc:docMk/>
            <pc:sldMk cId="419121114" sldId="275"/>
            <ac:picMk id="37" creationId="{A78B0922-B6F5-1840-8AC7-10ED776320AC}"/>
          </ac:picMkLst>
        </pc:picChg>
        <pc:picChg chg="del">
          <ac:chgData name="Franz MULLER" userId="79454339-e177-4ea3-bc97-d1e6b529622b" providerId="ADAL" clId="{0D497945-B4BB-4CEE-BAAE-E72909B9B60B}" dt="2023-09-14T21:26:04.705" v="1529" actId="478"/>
          <ac:picMkLst>
            <pc:docMk/>
            <pc:sldMk cId="419121114" sldId="275"/>
            <ac:picMk id="39" creationId="{C38BDD67-98BD-9443-8560-5C533BF8E78E}"/>
          </ac:picMkLst>
        </pc:picChg>
        <pc:picChg chg="add mod">
          <ac:chgData name="Franz MULLER" userId="79454339-e177-4ea3-bc97-d1e6b529622b" providerId="ADAL" clId="{0D497945-B4BB-4CEE-BAAE-E72909B9B60B}" dt="2023-09-14T21:26:49.563" v="1538" actId="1076"/>
          <ac:picMkLst>
            <pc:docMk/>
            <pc:sldMk cId="419121114" sldId="275"/>
            <ac:picMk id="3074" creationId="{BBAC82DE-33C4-1E33-C77B-3A03D50E8DE5}"/>
          </ac:picMkLst>
        </pc:picChg>
        <pc:cxnChg chg="del">
          <ac:chgData name="Franz MULLER" userId="79454339-e177-4ea3-bc97-d1e6b529622b" providerId="ADAL" clId="{0D497945-B4BB-4CEE-BAAE-E72909B9B60B}" dt="2023-09-14T21:26:07.191" v="1531" actId="478"/>
          <ac:cxnSpMkLst>
            <pc:docMk/>
            <pc:sldMk cId="419121114" sldId="275"/>
            <ac:cxnSpMk id="38" creationId="{A780280D-78EF-DF4C-AB89-56AAA531E00E}"/>
          </ac:cxnSpMkLst>
        </pc:cxnChg>
        <pc:cxnChg chg="del">
          <ac:chgData name="Franz MULLER" userId="79454339-e177-4ea3-bc97-d1e6b529622b" providerId="ADAL" clId="{0D497945-B4BB-4CEE-BAAE-E72909B9B60B}" dt="2023-09-14T21:26:04.188" v="1528" actId="478"/>
          <ac:cxnSpMkLst>
            <pc:docMk/>
            <pc:sldMk cId="419121114" sldId="275"/>
            <ac:cxnSpMk id="40" creationId="{D323D2EA-AA05-BC48-A9B9-4B69260B9841}"/>
          </ac:cxnSpMkLst>
        </pc:cxnChg>
      </pc:sldChg>
      <pc:sldChg chg="add del">
        <pc:chgData name="Franz MULLER" userId="79454339-e177-4ea3-bc97-d1e6b529622b" providerId="ADAL" clId="{0D497945-B4BB-4CEE-BAAE-E72909B9B60B}" dt="2023-09-22T18:47:07.623" v="7009" actId="47"/>
        <pc:sldMkLst>
          <pc:docMk/>
          <pc:sldMk cId="0" sldId="331"/>
        </pc:sldMkLst>
      </pc:sldChg>
      <pc:sldChg chg="addSp delSp modSp add mod">
        <pc:chgData name="Franz MULLER" userId="79454339-e177-4ea3-bc97-d1e6b529622b" providerId="ADAL" clId="{0D497945-B4BB-4CEE-BAAE-E72909B9B60B}" dt="2023-09-22T11:57:00.387" v="6035" actId="207"/>
        <pc:sldMkLst>
          <pc:docMk/>
          <pc:sldMk cId="1980836000" sldId="396"/>
        </pc:sldMkLst>
        <pc:spChg chg="mod">
          <ac:chgData name="Franz MULLER" userId="79454339-e177-4ea3-bc97-d1e6b529622b" providerId="ADAL" clId="{0D497945-B4BB-4CEE-BAAE-E72909B9B60B}" dt="2023-09-20T14:56:52.694" v="3245" actId="20577"/>
          <ac:spMkLst>
            <pc:docMk/>
            <pc:sldMk cId="1980836000" sldId="396"/>
            <ac:spMk id="4" creationId="{00000000-0000-0000-0000-000000000000}"/>
          </ac:spMkLst>
        </pc:spChg>
        <pc:spChg chg="mod">
          <ac:chgData name="Franz MULLER" userId="79454339-e177-4ea3-bc97-d1e6b529622b" providerId="ADAL" clId="{0D497945-B4BB-4CEE-BAAE-E72909B9B60B}" dt="2023-09-20T16:29:24.589" v="3444"/>
          <ac:spMkLst>
            <pc:docMk/>
            <pc:sldMk cId="1980836000" sldId="396"/>
            <ac:spMk id="8" creationId="{9FEAEAC2-1660-F12A-28AD-DE084305E7C2}"/>
          </ac:spMkLst>
        </pc:spChg>
        <pc:spChg chg="mod">
          <ac:chgData name="Franz MULLER" userId="79454339-e177-4ea3-bc97-d1e6b529622b" providerId="ADAL" clId="{0D497945-B4BB-4CEE-BAAE-E72909B9B60B}" dt="2023-09-20T16:29:24.589" v="3444"/>
          <ac:spMkLst>
            <pc:docMk/>
            <pc:sldMk cId="1980836000" sldId="396"/>
            <ac:spMk id="9" creationId="{CF2BC951-33FA-5D73-FC4D-85E91116EBB6}"/>
          </ac:spMkLst>
        </pc:spChg>
        <pc:spChg chg="mod">
          <ac:chgData name="Franz MULLER" userId="79454339-e177-4ea3-bc97-d1e6b529622b" providerId="ADAL" clId="{0D497945-B4BB-4CEE-BAAE-E72909B9B60B}" dt="2023-09-20T16:29:24.589" v="3444"/>
          <ac:spMkLst>
            <pc:docMk/>
            <pc:sldMk cId="1980836000" sldId="396"/>
            <ac:spMk id="11" creationId="{4EAD6747-8C15-905F-467A-13D20D766807}"/>
          </ac:spMkLst>
        </pc:spChg>
        <pc:spChg chg="mod">
          <ac:chgData name="Franz MULLER" userId="79454339-e177-4ea3-bc97-d1e6b529622b" providerId="ADAL" clId="{0D497945-B4BB-4CEE-BAAE-E72909B9B60B}" dt="2023-09-20T16:29:24.589" v="3444"/>
          <ac:spMkLst>
            <pc:docMk/>
            <pc:sldMk cId="1980836000" sldId="396"/>
            <ac:spMk id="12" creationId="{84EDC5A2-16ED-8205-82FA-DF56BC4DADEA}"/>
          </ac:spMkLst>
        </pc:spChg>
        <pc:spChg chg="mod">
          <ac:chgData name="Franz MULLER" userId="79454339-e177-4ea3-bc97-d1e6b529622b" providerId="ADAL" clId="{0D497945-B4BB-4CEE-BAAE-E72909B9B60B}" dt="2023-09-20T16:29:24.589" v="3444"/>
          <ac:spMkLst>
            <pc:docMk/>
            <pc:sldMk cId="1980836000" sldId="396"/>
            <ac:spMk id="13" creationId="{B635CD64-3459-69A1-3F99-6A7810239221}"/>
          </ac:spMkLst>
        </pc:spChg>
        <pc:spChg chg="del mod">
          <ac:chgData name="Franz MULLER" userId="79454339-e177-4ea3-bc97-d1e6b529622b" providerId="ADAL" clId="{0D497945-B4BB-4CEE-BAAE-E72909B9B60B}" dt="2023-09-20T15:04:04.432" v="3380" actId="478"/>
          <ac:spMkLst>
            <pc:docMk/>
            <pc:sldMk cId="1980836000" sldId="396"/>
            <ac:spMk id="18" creationId="{2DB328F5-F8BD-5341-BA69-F49E3CF9F256}"/>
          </ac:spMkLst>
        </pc:spChg>
        <pc:spChg chg="mod">
          <ac:chgData name="Franz MULLER" userId="79454339-e177-4ea3-bc97-d1e6b529622b" providerId="ADAL" clId="{0D497945-B4BB-4CEE-BAAE-E72909B9B60B}" dt="2023-09-20T16:29:24.589" v="3444"/>
          <ac:spMkLst>
            <pc:docMk/>
            <pc:sldMk cId="1980836000" sldId="396"/>
            <ac:spMk id="19" creationId="{D678C381-FD6B-43F0-86BE-6A2B8BDF7CC9}"/>
          </ac:spMkLst>
        </pc:spChg>
        <pc:spChg chg="mod">
          <ac:chgData name="Franz MULLER" userId="79454339-e177-4ea3-bc97-d1e6b529622b" providerId="ADAL" clId="{0D497945-B4BB-4CEE-BAAE-E72909B9B60B}" dt="2023-09-20T16:29:24.589" v="3444"/>
          <ac:spMkLst>
            <pc:docMk/>
            <pc:sldMk cId="1980836000" sldId="396"/>
            <ac:spMk id="20" creationId="{274B1DA4-4FEC-2608-9756-0D3E5F957F5D}"/>
          </ac:spMkLst>
        </pc:spChg>
        <pc:spChg chg="mod">
          <ac:chgData name="Franz MULLER" userId="79454339-e177-4ea3-bc97-d1e6b529622b" providerId="ADAL" clId="{0D497945-B4BB-4CEE-BAAE-E72909B9B60B}" dt="2023-09-22T11:56:57.251" v="6034" actId="207"/>
          <ac:spMkLst>
            <pc:docMk/>
            <pc:sldMk cId="1980836000" sldId="396"/>
            <ac:spMk id="21" creationId="{00000000-0000-0000-0000-000000000000}"/>
          </ac:spMkLst>
        </pc:spChg>
        <pc:spChg chg="mod">
          <ac:chgData name="Franz MULLER" userId="79454339-e177-4ea3-bc97-d1e6b529622b" providerId="ADAL" clId="{0D497945-B4BB-4CEE-BAAE-E72909B9B60B}" dt="2023-09-20T16:29:24.589" v="3444"/>
          <ac:spMkLst>
            <pc:docMk/>
            <pc:sldMk cId="1980836000" sldId="396"/>
            <ac:spMk id="24" creationId="{9B20431C-DB12-60DC-B6CE-DEE7CB317822}"/>
          </ac:spMkLst>
        </pc:spChg>
        <pc:spChg chg="del mod">
          <ac:chgData name="Franz MULLER" userId="79454339-e177-4ea3-bc97-d1e6b529622b" providerId="ADAL" clId="{0D497945-B4BB-4CEE-BAAE-E72909B9B60B}" dt="2023-09-20T12:18:17.802" v="2546" actId="478"/>
          <ac:spMkLst>
            <pc:docMk/>
            <pc:sldMk cId="1980836000" sldId="396"/>
            <ac:spMk id="25" creationId="{00000000-0000-0000-0000-000000000000}"/>
          </ac:spMkLst>
        </pc:spChg>
        <pc:spChg chg="mod">
          <ac:chgData name="Franz MULLER" userId="79454339-e177-4ea3-bc97-d1e6b529622b" providerId="ADAL" clId="{0D497945-B4BB-4CEE-BAAE-E72909B9B60B}" dt="2023-09-20T15:04:33.731" v="3385" actId="20577"/>
          <ac:spMkLst>
            <pc:docMk/>
            <pc:sldMk cId="1980836000" sldId="396"/>
            <ac:spMk id="26" creationId="{5199B8F5-8C55-D443-9A9F-56A2655841D9}"/>
          </ac:spMkLst>
        </pc:spChg>
        <pc:spChg chg="add del mod">
          <ac:chgData name="Franz MULLER" userId="79454339-e177-4ea3-bc97-d1e6b529622b" providerId="ADAL" clId="{0D497945-B4BB-4CEE-BAAE-E72909B9B60B}" dt="2023-09-20T16:29:30.634" v="3447"/>
          <ac:spMkLst>
            <pc:docMk/>
            <pc:sldMk cId="1980836000" sldId="396"/>
            <ac:spMk id="31" creationId="{F2A28A0B-BD5A-73E4-23B3-F60265F0AC89}"/>
          </ac:spMkLst>
        </pc:spChg>
        <pc:spChg chg="mod">
          <ac:chgData name="Franz MULLER" userId="79454339-e177-4ea3-bc97-d1e6b529622b" providerId="ADAL" clId="{0D497945-B4BB-4CEE-BAAE-E72909B9B60B}" dt="2023-09-22T11:57:00.387" v="6035" actId="207"/>
          <ac:spMkLst>
            <pc:docMk/>
            <pc:sldMk cId="1980836000" sldId="396"/>
            <ac:spMk id="32" creationId="{3F9A418A-C08C-674F-B4D1-4337D032DA20}"/>
          </ac:spMkLst>
        </pc:spChg>
        <pc:spChg chg="del mod">
          <ac:chgData name="Franz MULLER" userId="79454339-e177-4ea3-bc97-d1e6b529622b" providerId="ADAL" clId="{0D497945-B4BB-4CEE-BAAE-E72909B9B60B}" dt="2023-09-20T12:18:18.550" v="2547" actId="478"/>
          <ac:spMkLst>
            <pc:docMk/>
            <pc:sldMk cId="1980836000" sldId="396"/>
            <ac:spMk id="38" creationId="{80A6D091-0310-40E0-AE02-0ED8180BC742}"/>
          </ac:spMkLst>
        </pc:spChg>
        <pc:spChg chg="mod">
          <ac:chgData name="Franz MULLER" userId="79454339-e177-4ea3-bc97-d1e6b529622b" providerId="ADAL" clId="{0D497945-B4BB-4CEE-BAAE-E72909B9B60B}" dt="2023-09-20T16:45:04.076" v="3578" actId="2711"/>
          <ac:spMkLst>
            <pc:docMk/>
            <pc:sldMk cId="1980836000" sldId="396"/>
            <ac:spMk id="42" creationId="{A7D16F14-0FCF-764C-878E-291F06C09DA4}"/>
          </ac:spMkLst>
        </pc:spChg>
        <pc:spChg chg="mod">
          <ac:chgData name="Franz MULLER" userId="79454339-e177-4ea3-bc97-d1e6b529622b" providerId="ADAL" clId="{0D497945-B4BB-4CEE-BAAE-E72909B9B60B}" dt="2023-09-20T16:29:31.851" v="3448"/>
          <ac:spMkLst>
            <pc:docMk/>
            <pc:sldMk cId="1980836000" sldId="396"/>
            <ac:spMk id="53" creationId="{E09F5D2C-9D13-5CCF-CBEE-76B207999436}"/>
          </ac:spMkLst>
        </pc:spChg>
        <pc:spChg chg="mod">
          <ac:chgData name="Franz MULLER" userId="79454339-e177-4ea3-bc97-d1e6b529622b" providerId="ADAL" clId="{0D497945-B4BB-4CEE-BAAE-E72909B9B60B}" dt="2023-09-20T16:29:31.851" v="3448"/>
          <ac:spMkLst>
            <pc:docMk/>
            <pc:sldMk cId="1980836000" sldId="396"/>
            <ac:spMk id="54" creationId="{2BF689BE-B0BE-FCE9-8E8E-A4AFAC8379F8}"/>
          </ac:spMkLst>
        </pc:spChg>
        <pc:spChg chg="mod">
          <ac:chgData name="Franz MULLER" userId="79454339-e177-4ea3-bc97-d1e6b529622b" providerId="ADAL" clId="{0D497945-B4BB-4CEE-BAAE-E72909B9B60B}" dt="2023-09-20T16:29:31.851" v="3448"/>
          <ac:spMkLst>
            <pc:docMk/>
            <pc:sldMk cId="1980836000" sldId="396"/>
            <ac:spMk id="56" creationId="{64FF8A50-AF53-5F2C-ACE7-2417AA623D45}"/>
          </ac:spMkLst>
        </pc:spChg>
        <pc:spChg chg="mod">
          <ac:chgData name="Franz MULLER" userId="79454339-e177-4ea3-bc97-d1e6b529622b" providerId="ADAL" clId="{0D497945-B4BB-4CEE-BAAE-E72909B9B60B}" dt="2023-09-20T16:29:31.851" v="3448"/>
          <ac:spMkLst>
            <pc:docMk/>
            <pc:sldMk cId="1980836000" sldId="396"/>
            <ac:spMk id="57" creationId="{3F24940B-537A-5E82-07F6-EF7526F495DC}"/>
          </ac:spMkLst>
        </pc:spChg>
        <pc:spChg chg="mod">
          <ac:chgData name="Franz MULLER" userId="79454339-e177-4ea3-bc97-d1e6b529622b" providerId="ADAL" clId="{0D497945-B4BB-4CEE-BAAE-E72909B9B60B}" dt="2023-09-20T16:29:31.851" v="3448"/>
          <ac:spMkLst>
            <pc:docMk/>
            <pc:sldMk cId="1980836000" sldId="396"/>
            <ac:spMk id="58" creationId="{3071FE31-4566-C35B-2BB2-82E9DDA64A4A}"/>
          </ac:spMkLst>
        </pc:spChg>
        <pc:spChg chg="mod">
          <ac:chgData name="Franz MULLER" userId="79454339-e177-4ea3-bc97-d1e6b529622b" providerId="ADAL" clId="{0D497945-B4BB-4CEE-BAAE-E72909B9B60B}" dt="2023-09-20T16:29:31.851" v="3448"/>
          <ac:spMkLst>
            <pc:docMk/>
            <pc:sldMk cId="1980836000" sldId="396"/>
            <ac:spMk id="59" creationId="{5A540D97-6E97-FFC9-E0BC-42C551915E30}"/>
          </ac:spMkLst>
        </pc:spChg>
        <pc:spChg chg="mod">
          <ac:chgData name="Franz MULLER" userId="79454339-e177-4ea3-bc97-d1e6b529622b" providerId="ADAL" clId="{0D497945-B4BB-4CEE-BAAE-E72909B9B60B}" dt="2023-09-20T16:29:31.851" v="3448"/>
          <ac:spMkLst>
            <pc:docMk/>
            <pc:sldMk cId="1980836000" sldId="396"/>
            <ac:spMk id="60" creationId="{8A70A467-521F-EF8E-ADF8-740F77C074C8}"/>
          </ac:spMkLst>
        </pc:spChg>
        <pc:spChg chg="mod">
          <ac:chgData name="Franz MULLER" userId="79454339-e177-4ea3-bc97-d1e6b529622b" providerId="ADAL" clId="{0D497945-B4BB-4CEE-BAAE-E72909B9B60B}" dt="2023-09-20T16:29:31.851" v="3448"/>
          <ac:spMkLst>
            <pc:docMk/>
            <pc:sldMk cId="1980836000" sldId="396"/>
            <ac:spMk id="61" creationId="{97614262-B312-9B4C-4E33-98AC72374587}"/>
          </ac:spMkLst>
        </pc:spChg>
        <pc:spChg chg="add del mod">
          <ac:chgData name="Franz MULLER" userId="79454339-e177-4ea3-bc97-d1e6b529622b" providerId="ADAL" clId="{0D497945-B4BB-4CEE-BAAE-E72909B9B60B}" dt="2023-09-20T16:29:44.837" v="3451" actId="478"/>
          <ac:spMkLst>
            <pc:docMk/>
            <pc:sldMk cId="1980836000" sldId="396"/>
            <ac:spMk id="63" creationId="{6B4B20DB-3802-8575-98DE-D5B6DCB3B400}"/>
          </ac:spMkLst>
        </pc:spChg>
        <pc:spChg chg="mod">
          <ac:chgData name="Franz MULLER" userId="79454339-e177-4ea3-bc97-d1e6b529622b" providerId="ADAL" clId="{0D497945-B4BB-4CEE-BAAE-E72909B9B60B}" dt="2023-09-20T16:29:54.012" v="3452"/>
          <ac:spMkLst>
            <pc:docMk/>
            <pc:sldMk cId="1980836000" sldId="396"/>
            <ac:spMk id="19464" creationId="{7A8CB471-0DB8-7D0B-FB08-50E4D6CED46C}"/>
          </ac:spMkLst>
        </pc:spChg>
        <pc:spChg chg="mod">
          <ac:chgData name="Franz MULLER" userId="79454339-e177-4ea3-bc97-d1e6b529622b" providerId="ADAL" clId="{0D497945-B4BB-4CEE-BAAE-E72909B9B60B}" dt="2023-09-20T16:29:54.012" v="3452"/>
          <ac:spMkLst>
            <pc:docMk/>
            <pc:sldMk cId="1980836000" sldId="396"/>
            <ac:spMk id="19465" creationId="{69DF931E-89D5-C1D3-EC89-BE62F5CF04F3}"/>
          </ac:spMkLst>
        </pc:spChg>
        <pc:spChg chg="mod">
          <ac:chgData name="Franz MULLER" userId="79454339-e177-4ea3-bc97-d1e6b529622b" providerId="ADAL" clId="{0D497945-B4BB-4CEE-BAAE-E72909B9B60B}" dt="2023-09-20T16:29:54.012" v="3452"/>
          <ac:spMkLst>
            <pc:docMk/>
            <pc:sldMk cId="1980836000" sldId="396"/>
            <ac:spMk id="19466" creationId="{EFFCEADA-E537-43C2-BB50-11142BDE21DF}"/>
          </ac:spMkLst>
        </pc:spChg>
        <pc:spChg chg="mod">
          <ac:chgData name="Franz MULLER" userId="79454339-e177-4ea3-bc97-d1e6b529622b" providerId="ADAL" clId="{0D497945-B4BB-4CEE-BAAE-E72909B9B60B}" dt="2023-09-20T16:29:54.012" v="3452"/>
          <ac:spMkLst>
            <pc:docMk/>
            <pc:sldMk cId="1980836000" sldId="396"/>
            <ac:spMk id="19467" creationId="{762E31AF-99E6-F8B3-E261-C0FB4033E9F2}"/>
          </ac:spMkLst>
        </pc:spChg>
        <pc:spChg chg="mod">
          <ac:chgData name="Franz MULLER" userId="79454339-e177-4ea3-bc97-d1e6b529622b" providerId="ADAL" clId="{0D497945-B4BB-4CEE-BAAE-E72909B9B60B}" dt="2023-09-20T16:29:54.012" v="3452"/>
          <ac:spMkLst>
            <pc:docMk/>
            <pc:sldMk cId="1980836000" sldId="396"/>
            <ac:spMk id="19468" creationId="{C3016CFA-B68C-0562-DDAF-4423F062780A}"/>
          </ac:spMkLst>
        </pc:spChg>
        <pc:spChg chg="mod">
          <ac:chgData name="Franz MULLER" userId="79454339-e177-4ea3-bc97-d1e6b529622b" providerId="ADAL" clId="{0D497945-B4BB-4CEE-BAAE-E72909B9B60B}" dt="2023-09-20T16:29:54.012" v="3452"/>
          <ac:spMkLst>
            <pc:docMk/>
            <pc:sldMk cId="1980836000" sldId="396"/>
            <ac:spMk id="19469" creationId="{8493D59D-3738-BE03-50D3-C9474701B32E}"/>
          </ac:spMkLst>
        </pc:spChg>
        <pc:spChg chg="mod">
          <ac:chgData name="Franz MULLER" userId="79454339-e177-4ea3-bc97-d1e6b529622b" providerId="ADAL" clId="{0D497945-B4BB-4CEE-BAAE-E72909B9B60B}" dt="2023-09-20T16:29:54.012" v="3452"/>
          <ac:spMkLst>
            <pc:docMk/>
            <pc:sldMk cId="1980836000" sldId="396"/>
            <ac:spMk id="19470" creationId="{CA00F8E2-6BC6-3AD0-4953-3475F6B80BC5}"/>
          </ac:spMkLst>
        </pc:spChg>
        <pc:spChg chg="mod">
          <ac:chgData name="Franz MULLER" userId="79454339-e177-4ea3-bc97-d1e6b529622b" providerId="ADAL" clId="{0D497945-B4BB-4CEE-BAAE-E72909B9B60B}" dt="2023-09-20T16:29:54.012" v="3452"/>
          <ac:spMkLst>
            <pc:docMk/>
            <pc:sldMk cId="1980836000" sldId="396"/>
            <ac:spMk id="19471" creationId="{0EA8E750-FB98-09AC-7B2B-DEB5B2C427C9}"/>
          </ac:spMkLst>
        </pc:spChg>
        <pc:spChg chg="mod">
          <ac:chgData name="Franz MULLER" userId="79454339-e177-4ea3-bc97-d1e6b529622b" providerId="ADAL" clId="{0D497945-B4BB-4CEE-BAAE-E72909B9B60B}" dt="2023-09-20T16:28:14.401" v="3437" actId="1076"/>
          <ac:spMkLst>
            <pc:docMk/>
            <pc:sldMk cId="1980836000" sldId="396"/>
            <ac:spMk id="19472" creationId="{00000000-0000-0000-0000-000000000000}"/>
          </ac:spMkLst>
        </pc:spChg>
        <pc:spChg chg="mod">
          <ac:chgData name="Franz MULLER" userId="79454339-e177-4ea3-bc97-d1e6b529622b" providerId="ADAL" clId="{0D497945-B4BB-4CEE-BAAE-E72909B9B60B}" dt="2023-09-20T18:07:16.565" v="4988" actId="20577"/>
          <ac:spMkLst>
            <pc:docMk/>
            <pc:sldMk cId="1980836000" sldId="396"/>
            <ac:spMk id="19483" creationId="{7223CCA8-79CB-8AC9-33BD-9B7485730CEB}"/>
          </ac:spMkLst>
        </pc:spChg>
        <pc:spChg chg="mod">
          <ac:chgData name="Franz MULLER" userId="79454339-e177-4ea3-bc97-d1e6b529622b" providerId="ADAL" clId="{0D497945-B4BB-4CEE-BAAE-E72909B9B60B}" dt="2023-09-20T18:02:49.878" v="4911"/>
          <ac:spMkLst>
            <pc:docMk/>
            <pc:sldMk cId="1980836000" sldId="396"/>
            <ac:spMk id="19485" creationId="{7AB744EC-25DF-0764-1437-E6FAC48300FB}"/>
          </ac:spMkLst>
        </pc:spChg>
        <pc:spChg chg="mod">
          <ac:chgData name="Franz MULLER" userId="79454339-e177-4ea3-bc97-d1e6b529622b" providerId="ADAL" clId="{0D497945-B4BB-4CEE-BAAE-E72909B9B60B}" dt="2023-09-20T18:02:49.878" v="4911"/>
          <ac:spMkLst>
            <pc:docMk/>
            <pc:sldMk cId="1980836000" sldId="396"/>
            <ac:spMk id="19486" creationId="{C974D48B-14D2-AF82-21BD-99C2B637442D}"/>
          </ac:spMkLst>
        </pc:spChg>
        <pc:spChg chg="mod">
          <ac:chgData name="Franz MULLER" userId="79454339-e177-4ea3-bc97-d1e6b529622b" providerId="ADAL" clId="{0D497945-B4BB-4CEE-BAAE-E72909B9B60B}" dt="2023-09-20T18:07:15.246" v="4981" actId="20577"/>
          <ac:spMkLst>
            <pc:docMk/>
            <pc:sldMk cId="1980836000" sldId="396"/>
            <ac:spMk id="19488" creationId="{E79745F4-CD3F-9757-7D1C-21666729E356}"/>
          </ac:spMkLst>
        </pc:spChg>
        <pc:spChg chg="mod">
          <ac:chgData name="Franz MULLER" userId="79454339-e177-4ea3-bc97-d1e6b529622b" providerId="ADAL" clId="{0D497945-B4BB-4CEE-BAAE-E72909B9B60B}" dt="2023-09-20T18:03:09.397" v="4940"/>
          <ac:spMkLst>
            <pc:docMk/>
            <pc:sldMk cId="1980836000" sldId="396"/>
            <ac:spMk id="19490" creationId="{AEE310A4-71A9-5446-8356-81DB27714717}"/>
          </ac:spMkLst>
        </pc:spChg>
        <pc:spChg chg="mod">
          <ac:chgData name="Franz MULLER" userId="79454339-e177-4ea3-bc97-d1e6b529622b" providerId="ADAL" clId="{0D497945-B4BB-4CEE-BAAE-E72909B9B60B}" dt="2023-09-20T18:03:09.397" v="4940"/>
          <ac:spMkLst>
            <pc:docMk/>
            <pc:sldMk cId="1980836000" sldId="396"/>
            <ac:spMk id="19491" creationId="{9CD83F3C-9EAE-D178-2F1C-904FF10EB52E}"/>
          </ac:spMkLst>
        </pc:spChg>
        <pc:grpChg chg="add del mod">
          <ac:chgData name="Franz MULLER" userId="79454339-e177-4ea3-bc97-d1e6b529622b" providerId="ADAL" clId="{0D497945-B4BB-4CEE-BAAE-E72909B9B60B}" dt="2023-09-20T16:29:30.634" v="3447"/>
          <ac:grpSpMkLst>
            <pc:docMk/>
            <pc:sldMk cId="1980836000" sldId="396"/>
            <ac:grpSpMk id="3" creationId="{791678A6-5E00-F292-40EC-BBE9C4B5C13B}"/>
          </ac:grpSpMkLst>
        </pc:grpChg>
        <pc:grpChg chg="del">
          <ac:chgData name="Franz MULLER" userId="79454339-e177-4ea3-bc97-d1e6b529622b" providerId="ADAL" clId="{0D497945-B4BB-4CEE-BAAE-E72909B9B60B}" dt="2023-09-20T18:02:28.996" v="4905" actId="478"/>
          <ac:grpSpMkLst>
            <pc:docMk/>
            <pc:sldMk cId="1980836000" sldId="396"/>
            <ac:grpSpMk id="14" creationId="{31CB7AEC-47CA-D24B-9444-0793B4F3F0FD}"/>
          </ac:grpSpMkLst>
        </pc:grpChg>
        <pc:grpChg chg="del">
          <ac:chgData name="Franz MULLER" userId="79454339-e177-4ea3-bc97-d1e6b529622b" providerId="ADAL" clId="{0D497945-B4BB-4CEE-BAAE-E72909B9B60B}" dt="2023-09-20T17:59:22.773" v="4902" actId="478"/>
          <ac:grpSpMkLst>
            <pc:docMk/>
            <pc:sldMk cId="1980836000" sldId="396"/>
            <ac:grpSpMk id="15" creationId="{CF3262EF-BD86-784B-94F7-92011D3A5881}"/>
          </ac:grpSpMkLst>
        </pc:grpChg>
        <pc:grpChg chg="del mod">
          <ac:chgData name="Franz MULLER" userId="79454339-e177-4ea3-bc97-d1e6b529622b" providerId="ADAL" clId="{0D497945-B4BB-4CEE-BAAE-E72909B9B60B}" dt="2023-09-20T15:21:56.691" v="3386" actId="478"/>
          <ac:grpSpMkLst>
            <pc:docMk/>
            <pc:sldMk cId="1980836000" sldId="396"/>
            <ac:grpSpMk id="17" creationId="{E734891B-BD1D-E640-B09F-5F0614E6A818}"/>
          </ac:grpSpMkLst>
        </pc:grpChg>
        <pc:grpChg chg="mod">
          <ac:chgData name="Franz MULLER" userId="79454339-e177-4ea3-bc97-d1e6b529622b" providerId="ADAL" clId="{0D497945-B4BB-4CEE-BAAE-E72909B9B60B}" dt="2023-09-20T19:34:08.563" v="5176" actId="1076"/>
          <ac:grpSpMkLst>
            <pc:docMk/>
            <pc:sldMk cId="1980836000" sldId="396"/>
            <ac:grpSpMk id="22" creationId="{7485490F-0FA9-A742-B165-29C01161F86E}"/>
          </ac:grpSpMkLst>
        </pc:grpChg>
        <pc:grpChg chg="mod">
          <ac:chgData name="Franz MULLER" userId="79454339-e177-4ea3-bc97-d1e6b529622b" providerId="ADAL" clId="{0D497945-B4BB-4CEE-BAAE-E72909B9B60B}" dt="2023-09-20T19:34:17.487" v="5178" actId="1076"/>
          <ac:grpSpMkLst>
            <pc:docMk/>
            <pc:sldMk cId="1980836000" sldId="396"/>
            <ac:grpSpMk id="23" creationId="{CEA28E74-0BDE-A444-A2AB-C7C88B3EBEE1}"/>
          </ac:grpSpMkLst>
        </pc:grpChg>
        <pc:grpChg chg="mod">
          <ac:chgData name="Franz MULLER" userId="79454339-e177-4ea3-bc97-d1e6b529622b" providerId="ADAL" clId="{0D497945-B4BB-4CEE-BAAE-E72909B9B60B}" dt="2023-09-20T12:11:35.048" v="2510" actId="1076"/>
          <ac:grpSpMkLst>
            <pc:docMk/>
            <pc:sldMk cId="1980836000" sldId="396"/>
            <ac:grpSpMk id="27" creationId="{00000000-0000-0000-0000-000000000000}"/>
          </ac:grpSpMkLst>
        </pc:grpChg>
        <pc:grpChg chg="add del mod">
          <ac:chgData name="Franz MULLER" userId="79454339-e177-4ea3-bc97-d1e6b529622b" providerId="ADAL" clId="{0D497945-B4BB-4CEE-BAAE-E72909B9B60B}" dt="2023-09-20T16:29:44.837" v="3451" actId="478"/>
          <ac:grpSpMkLst>
            <pc:docMk/>
            <pc:sldMk cId="1980836000" sldId="396"/>
            <ac:grpSpMk id="52" creationId="{E4608D17-DA0D-5FED-A1FD-944FA9A8E4C4}"/>
          </ac:grpSpMkLst>
        </pc:grpChg>
        <pc:grpChg chg="add del mod">
          <ac:chgData name="Franz MULLER" userId="79454339-e177-4ea3-bc97-d1e6b529622b" providerId="ADAL" clId="{0D497945-B4BB-4CEE-BAAE-E72909B9B60B}" dt="2023-09-20T16:30:07.735" v="3457" actId="478"/>
          <ac:grpSpMkLst>
            <pc:docMk/>
            <pc:sldMk cId="1980836000" sldId="396"/>
            <ac:grpSpMk id="19463" creationId="{4E731CF6-E609-9EF8-22B6-332A38613B55}"/>
          </ac:grpSpMkLst>
        </pc:grpChg>
        <pc:grpChg chg="add del mod">
          <ac:chgData name="Franz MULLER" userId="79454339-e177-4ea3-bc97-d1e6b529622b" providerId="ADAL" clId="{0D497945-B4BB-4CEE-BAAE-E72909B9B60B}" dt="2023-09-20T18:07:16.957" v="4990"/>
          <ac:grpSpMkLst>
            <pc:docMk/>
            <pc:sldMk cId="1980836000" sldId="396"/>
            <ac:grpSpMk id="19482" creationId="{62446192-C2C2-F46C-DC26-C109778F08BB}"/>
          </ac:grpSpMkLst>
        </pc:grpChg>
        <pc:grpChg chg="mod">
          <ac:chgData name="Franz MULLER" userId="79454339-e177-4ea3-bc97-d1e6b529622b" providerId="ADAL" clId="{0D497945-B4BB-4CEE-BAAE-E72909B9B60B}" dt="2023-09-20T18:02:49.878" v="4911"/>
          <ac:grpSpMkLst>
            <pc:docMk/>
            <pc:sldMk cId="1980836000" sldId="396"/>
            <ac:grpSpMk id="19484" creationId="{BAD21814-8173-D11B-B91B-A9441DC35ED8}"/>
          </ac:grpSpMkLst>
        </pc:grpChg>
        <pc:grpChg chg="add del mod">
          <ac:chgData name="Franz MULLER" userId="79454339-e177-4ea3-bc97-d1e6b529622b" providerId="ADAL" clId="{0D497945-B4BB-4CEE-BAAE-E72909B9B60B}" dt="2023-09-20T18:07:15.622" v="4983"/>
          <ac:grpSpMkLst>
            <pc:docMk/>
            <pc:sldMk cId="1980836000" sldId="396"/>
            <ac:grpSpMk id="19487" creationId="{FA53AC5D-3269-0835-8ED2-17B956A2C241}"/>
          </ac:grpSpMkLst>
        </pc:grpChg>
        <pc:grpChg chg="mod">
          <ac:chgData name="Franz MULLER" userId="79454339-e177-4ea3-bc97-d1e6b529622b" providerId="ADAL" clId="{0D497945-B4BB-4CEE-BAAE-E72909B9B60B}" dt="2023-09-20T18:03:09.397" v="4940"/>
          <ac:grpSpMkLst>
            <pc:docMk/>
            <pc:sldMk cId="1980836000" sldId="396"/>
            <ac:grpSpMk id="19489" creationId="{79975D7B-93AF-3BF0-973F-A50D45FF0E0C}"/>
          </ac:grpSpMkLst>
        </pc:grpChg>
        <pc:graphicFrameChg chg="add del mod modGraphic">
          <ac:chgData name="Franz MULLER" userId="79454339-e177-4ea3-bc97-d1e6b529622b" providerId="ADAL" clId="{0D497945-B4BB-4CEE-BAAE-E72909B9B60B}" dt="2023-09-20T16:32:15.249" v="3467" actId="478"/>
          <ac:graphicFrameMkLst>
            <pc:docMk/>
            <pc:sldMk cId="1980836000" sldId="396"/>
            <ac:graphicFrameMk id="19480" creationId="{03DF330A-A211-7A4D-0D8D-FCBFDE0AFD77}"/>
          </ac:graphicFrameMkLst>
        </pc:graphicFrameChg>
        <pc:graphicFrameChg chg="add del mod modGraphic">
          <ac:chgData name="Franz MULLER" userId="79454339-e177-4ea3-bc97-d1e6b529622b" providerId="ADAL" clId="{0D497945-B4BB-4CEE-BAAE-E72909B9B60B}" dt="2023-09-20T16:34:14.601" v="3573" actId="478"/>
          <ac:graphicFrameMkLst>
            <pc:docMk/>
            <pc:sldMk cId="1980836000" sldId="396"/>
            <ac:graphicFrameMk id="19481" creationId="{1B0A1B2A-5C9E-CAF3-79E9-109CA11D1CDD}"/>
          </ac:graphicFrameMkLst>
        </pc:graphicFrameChg>
        <pc:picChg chg="add del mod ord">
          <ac:chgData name="Franz MULLER" userId="79454339-e177-4ea3-bc97-d1e6b529622b" providerId="ADAL" clId="{0D497945-B4BB-4CEE-BAAE-E72909B9B60B}" dt="2023-09-20T16:29:03.335" v="3443"/>
          <ac:picMkLst>
            <pc:docMk/>
            <pc:sldMk cId="1980836000" sldId="396"/>
            <ac:picMk id="2" creationId="{14DEB1FC-D202-BB6F-26BF-331AEFDEF02A}"/>
          </ac:picMkLst>
        </pc:picChg>
        <pc:picChg chg="del">
          <ac:chgData name="Franz MULLER" userId="79454339-e177-4ea3-bc97-d1e6b529622b" providerId="ADAL" clId="{0D497945-B4BB-4CEE-BAAE-E72909B9B60B}" dt="2023-09-20T18:02:28.996" v="4905" actId="478"/>
          <ac:picMkLst>
            <pc:docMk/>
            <pc:sldMk cId="1980836000" sldId="396"/>
            <ac:picMk id="5" creationId="{A94251D8-DD13-7041-97A8-43169E09723F}"/>
          </ac:picMkLst>
        </pc:picChg>
        <pc:picChg chg="del">
          <ac:chgData name="Franz MULLER" userId="79454339-e177-4ea3-bc97-d1e6b529622b" providerId="ADAL" clId="{0D497945-B4BB-4CEE-BAAE-E72909B9B60B}" dt="2023-09-20T17:59:22.773" v="4902" actId="478"/>
          <ac:picMkLst>
            <pc:docMk/>
            <pc:sldMk cId="1980836000" sldId="396"/>
            <ac:picMk id="6" creationId="{C64EC86D-E537-DF46-B697-C20DBB9B551C}"/>
          </ac:picMkLst>
        </pc:picChg>
        <pc:picChg chg="del ord">
          <ac:chgData name="Franz MULLER" userId="79454339-e177-4ea3-bc97-d1e6b529622b" providerId="ADAL" clId="{0D497945-B4BB-4CEE-BAAE-E72909B9B60B}" dt="2023-09-20T12:11:19.831" v="2507" actId="478"/>
          <ac:picMkLst>
            <pc:docMk/>
            <pc:sldMk cId="1980836000" sldId="396"/>
            <ac:picMk id="10" creationId="{55CAA8C6-07E3-4721-B846-31450D880A30}"/>
          </ac:picMkLst>
        </pc:picChg>
        <pc:picChg chg="mod ord">
          <ac:chgData name="Franz MULLER" userId="79454339-e177-4ea3-bc97-d1e6b529622b" providerId="ADAL" clId="{0D497945-B4BB-4CEE-BAAE-E72909B9B60B}" dt="2023-09-20T15:03:47.873" v="3378" actId="14100"/>
          <ac:picMkLst>
            <pc:docMk/>
            <pc:sldMk cId="1980836000" sldId="396"/>
            <ac:picMk id="40" creationId="{1E49C500-2A36-0D46-B839-99CF04DB6D23}"/>
          </ac:picMkLst>
        </pc:picChg>
        <pc:picChg chg="add mod">
          <ac:chgData name="Franz MULLER" userId="79454339-e177-4ea3-bc97-d1e6b529622b" providerId="ADAL" clId="{0D497945-B4BB-4CEE-BAAE-E72909B9B60B}" dt="2023-09-20T19:34:25.866" v="5181" actId="1076"/>
          <ac:picMkLst>
            <pc:docMk/>
            <pc:sldMk cId="1980836000" sldId="396"/>
            <ac:picMk id="19492" creationId="{6885A7F3-1FB3-BDF4-B650-D1D818E3DCD3}"/>
          </ac:picMkLst>
        </pc:picChg>
        <pc:picChg chg="add mod">
          <ac:chgData name="Franz MULLER" userId="79454339-e177-4ea3-bc97-d1e6b529622b" providerId="ADAL" clId="{0D497945-B4BB-4CEE-BAAE-E72909B9B60B}" dt="2023-09-20T19:34:23.742" v="5180" actId="1076"/>
          <ac:picMkLst>
            <pc:docMk/>
            <pc:sldMk cId="1980836000" sldId="396"/>
            <ac:picMk id="19493" creationId="{3FD462E5-6D55-BA96-5F4E-3ACD83101905}"/>
          </ac:picMkLst>
        </pc:picChg>
        <pc:cxnChg chg="add del mod">
          <ac:chgData name="Franz MULLER" userId="79454339-e177-4ea3-bc97-d1e6b529622b" providerId="ADAL" clId="{0D497945-B4BB-4CEE-BAAE-E72909B9B60B}" dt="2023-09-20T16:29:30.634" v="3447"/>
          <ac:cxnSpMkLst>
            <pc:docMk/>
            <pc:sldMk cId="1980836000" sldId="396"/>
            <ac:cxnSpMk id="30" creationId="{2647686B-75A8-2D46-39B9-BA3C80F624DF}"/>
          </ac:cxnSpMkLst>
        </pc:cxnChg>
        <pc:cxnChg chg="add del mod">
          <ac:chgData name="Franz MULLER" userId="79454339-e177-4ea3-bc97-d1e6b529622b" providerId="ADAL" clId="{0D497945-B4BB-4CEE-BAAE-E72909B9B60B}" dt="2023-09-20T16:29:30.634" v="3447"/>
          <ac:cxnSpMkLst>
            <pc:docMk/>
            <pc:sldMk cId="1980836000" sldId="396"/>
            <ac:cxnSpMk id="33" creationId="{CF11894A-3236-A2BE-F937-DA1D3A5DB32C}"/>
          </ac:cxnSpMkLst>
        </pc:cxnChg>
        <pc:cxnChg chg="add del mod">
          <ac:chgData name="Franz MULLER" userId="79454339-e177-4ea3-bc97-d1e6b529622b" providerId="ADAL" clId="{0D497945-B4BB-4CEE-BAAE-E72909B9B60B}" dt="2023-09-20T16:29:30.634" v="3447"/>
          <ac:cxnSpMkLst>
            <pc:docMk/>
            <pc:sldMk cId="1980836000" sldId="396"/>
            <ac:cxnSpMk id="34" creationId="{1FDC32F5-448F-3030-EFC2-728543DC236C}"/>
          </ac:cxnSpMkLst>
        </pc:cxnChg>
        <pc:cxnChg chg="add del mod">
          <ac:chgData name="Franz MULLER" userId="79454339-e177-4ea3-bc97-d1e6b529622b" providerId="ADAL" clId="{0D497945-B4BB-4CEE-BAAE-E72909B9B60B}" dt="2023-09-20T16:29:30.634" v="3447"/>
          <ac:cxnSpMkLst>
            <pc:docMk/>
            <pc:sldMk cId="1980836000" sldId="396"/>
            <ac:cxnSpMk id="39" creationId="{B3290028-4F30-7D88-6E6F-7CDD28A2C96D}"/>
          </ac:cxnSpMkLst>
        </pc:cxnChg>
        <pc:cxnChg chg="add del mod">
          <ac:chgData name="Franz MULLER" userId="79454339-e177-4ea3-bc97-d1e6b529622b" providerId="ADAL" clId="{0D497945-B4BB-4CEE-BAAE-E72909B9B60B}" dt="2023-09-20T16:29:30.634" v="3447"/>
          <ac:cxnSpMkLst>
            <pc:docMk/>
            <pc:sldMk cId="1980836000" sldId="396"/>
            <ac:cxnSpMk id="43" creationId="{29860F66-B23B-7D19-D705-B160AC42509F}"/>
          </ac:cxnSpMkLst>
        </pc:cxnChg>
        <pc:cxnChg chg="add del mod">
          <ac:chgData name="Franz MULLER" userId="79454339-e177-4ea3-bc97-d1e6b529622b" providerId="ADAL" clId="{0D497945-B4BB-4CEE-BAAE-E72909B9B60B}" dt="2023-09-20T16:29:44.837" v="3451" actId="478"/>
          <ac:cxnSpMkLst>
            <pc:docMk/>
            <pc:sldMk cId="1980836000" sldId="396"/>
            <ac:cxnSpMk id="62" creationId="{6024D5C5-8D7D-66F6-1A78-004833A1F61E}"/>
          </ac:cxnSpMkLst>
        </pc:cxnChg>
        <pc:cxnChg chg="add del mod">
          <ac:chgData name="Franz MULLER" userId="79454339-e177-4ea3-bc97-d1e6b529622b" providerId="ADAL" clId="{0D497945-B4BB-4CEE-BAAE-E72909B9B60B}" dt="2023-09-20T16:29:44.837" v="3451" actId="478"/>
          <ac:cxnSpMkLst>
            <pc:docMk/>
            <pc:sldMk cId="1980836000" sldId="396"/>
            <ac:cxnSpMk id="19456" creationId="{31078058-856B-3B39-084B-0ACB8775D43A}"/>
          </ac:cxnSpMkLst>
        </pc:cxnChg>
        <pc:cxnChg chg="add del mod">
          <ac:chgData name="Franz MULLER" userId="79454339-e177-4ea3-bc97-d1e6b529622b" providerId="ADAL" clId="{0D497945-B4BB-4CEE-BAAE-E72909B9B60B}" dt="2023-09-20T16:29:44.837" v="3451" actId="478"/>
          <ac:cxnSpMkLst>
            <pc:docMk/>
            <pc:sldMk cId="1980836000" sldId="396"/>
            <ac:cxnSpMk id="19457" creationId="{1EF6EA60-38C2-7F7A-EE60-328F3C662B4D}"/>
          </ac:cxnSpMkLst>
        </pc:cxnChg>
        <pc:cxnChg chg="add del mod">
          <ac:chgData name="Franz MULLER" userId="79454339-e177-4ea3-bc97-d1e6b529622b" providerId="ADAL" clId="{0D497945-B4BB-4CEE-BAAE-E72909B9B60B}" dt="2023-09-20T16:29:44.837" v="3451" actId="478"/>
          <ac:cxnSpMkLst>
            <pc:docMk/>
            <pc:sldMk cId="1980836000" sldId="396"/>
            <ac:cxnSpMk id="19458" creationId="{4EC14F7A-81E6-E81F-913F-637A87513988}"/>
          </ac:cxnSpMkLst>
        </pc:cxnChg>
        <pc:cxnChg chg="add del mod">
          <ac:chgData name="Franz MULLER" userId="79454339-e177-4ea3-bc97-d1e6b529622b" providerId="ADAL" clId="{0D497945-B4BB-4CEE-BAAE-E72909B9B60B}" dt="2023-09-20T16:29:44.837" v="3451" actId="478"/>
          <ac:cxnSpMkLst>
            <pc:docMk/>
            <pc:sldMk cId="1980836000" sldId="396"/>
            <ac:cxnSpMk id="19459" creationId="{290C901C-D25A-7352-8200-21892E9E8807}"/>
          </ac:cxnSpMkLst>
        </pc:cxnChg>
        <pc:cxnChg chg="add del mod">
          <ac:chgData name="Franz MULLER" userId="79454339-e177-4ea3-bc97-d1e6b529622b" providerId="ADAL" clId="{0D497945-B4BB-4CEE-BAAE-E72909B9B60B}" dt="2023-09-20T16:30:10.387" v="3459" actId="478"/>
          <ac:cxnSpMkLst>
            <pc:docMk/>
            <pc:sldMk cId="1980836000" sldId="396"/>
            <ac:cxnSpMk id="19473" creationId="{A78CAF28-DFD8-B4B7-403A-28532ED6AAB8}"/>
          </ac:cxnSpMkLst>
        </pc:cxnChg>
        <pc:cxnChg chg="add del mod">
          <ac:chgData name="Franz MULLER" userId="79454339-e177-4ea3-bc97-d1e6b529622b" providerId="ADAL" clId="{0D497945-B4BB-4CEE-BAAE-E72909B9B60B}" dt="2023-09-20T16:30:09.534" v="3458" actId="478"/>
          <ac:cxnSpMkLst>
            <pc:docMk/>
            <pc:sldMk cId="1980836000" sldId="396"/>
            <ac:cxnSpMk id="19474" creationId="{6B9191BB-C3BC-D29B-A88C-3D478C4E5FF7}"/>
          </ac:cxnSpMkLst>
        </pc:cxnChg>
        <pc:cxnChg chg="add del mod">
          <ac:chgData name="Franz MULLER" userId="79454339-e177-4ea3-bc97-d1e6b529622b" providerId="ADAL" clId="{0D497945-B4BB-4CEE-BAAE-E72909B9B60B}" dt="2023-09-20T16:30:07.735" v="3457" actId="478"/>
          <ac:cxnSpMkLst>
            <pc:docMk/>
            <pc:sldMk cId="1980836000" sldId="396"/>
            <ac:cxnSpMk id="19475" creationId="{5897956D-A910-7971-BA28-CE5D5632F0DE}"/>
          </ac:cxnSpMkLst>
        </pc:cxnChg>
      </pc:sldChg>
      <pc:sldChg chg="addSp delSp modSp add mod ord modNotesTx">
        <pc:chgData name="Franz MULLER" userId="79454339-e177-4ea3-bc97-d1e6b529622b" providerId="ADAL" clId="{0D497945-B4BB-4CEE-BAAE-E72909B9B60B}" dt="2023-09-20T14:51:58.842" v="3152" actId="1076"/>
        <pc:sldMkLst>
          <pc:docMk/>
          <pc:sldMk cId="4153891527" sldId="414"/>
        </pc:sldMkLst>
        <pc:spChg chg="del mod">
          <ac:chgData name="Franz MULLER" userId="79454339-e177-4ea3-bc97-d1e6b529622b" providerId="ADAL" clId="{0D497945-B4BB-4CEE-BAAE-E72909B9B60B}" dt="2023-09-14T14:41:27.459" v="253" actId="478"/>
          <ac:spMkLst>
            <pc:docMk/>
            <pc:sldMk cId="4153891527" sldId="414"/>
            <ac:spMk id="2" creationId="{00000000-0000-0000-0000-000000000000}"/>
          </ac:spMkLst>
        </pc:spChg>
        <pc:spChg chg="add mod">
          <ac:chgData name="Franz MULLER" userId="79454339-e177-4ea3-bc97-d1e6b529622b" providerId="ADAL" clId="{0D497945-B4BB-4CEE-BAAE-E72909B9B60B}" dt="2023-09-14T17:24:34.019" v="545" actId="1038"/>
          <ac:spMkLst>
            <pc:docMk/>
            <pc:sldMk cId="4153891527" sldId="414"/>
            <ac:spMk id="4" creationId="{00E1E503-D104-B9FC-73FD-389BF072F292}"/>
          </ac:spMkLst>
        </pc:spChg>
        <pc:spChg chg="add mod">
          <ac:chgData name="Franz MULLER" userId="79454339-e177-4ea3-bc97-d1e6b529622b" providerId="ADAL" clId="{0D497945-B4BB-4CEE-BAAE-E72909B9B60B}" dt="2023-09-14T17:24:34.019" v="545" actId="1038"/>
          <ac:spMkLst>
            <pc:docMk/>
            <pc:sldMk cId="4153891527" sldId="414"/>
            <ac:spMk id="5" creationId="{DE21A781-3FC0-454D-F273-0BC93F789197}"/>
          </ac:spMkLst>
        </pc:spChg>
        <pc:spChg chg="add mod">
          <ac:chgData name="Franz MULLER" userId="79454339-e177-4ea3-bc97-d1e6b529622b" providerId="ADAL" clId="{0D497945-B4BB-4CEE-BAAE-E72909B9B60B}" dt="2023-09-20T12:03:08.966" v="2440" actId="6559"/>
          <ac:spMkLst>
            <pc:docMk/>
            <pc:sldMk cId="4153891527" sldId="414"/>
            <ac:spMk id="8" creationId="{367A665C-2BC4-2663-6158-5B17C6B3CD84}"/>
          </ac:spMkLst>
        </pc:spChg>
        <pc:spChg chg="add mod">
          <ac:chgData name="Franz MULLER" userId="79454339-e177-4ea3-bc97-d1e6b529622b" providerId="ADAL" clId="{0D497945-B4BB-4CEE-BAAE-E72909B9B60B}" dt="2023-09-20T12:03:39.456" v="2446" actId="1076"/>
          <ac:spMkLst>
            <pc:docMk/>
            <pc:sldMk cId="4153891527" sldId="414"/>
            <ac:spMk id="11" creationId="{107F15ED-D6C6-56BA-BBA3-B5A34BBD2FB0}"/>
          </ac:spMkLst>
        </pc:spChg>
        <pc:spChg chg="add del mod">
          <ac:chgData name="Franz MULLER" userId="79454339-e177-4ea3-bc97-d1e6b529622b" providerId="ADAL" clId="{0D497945-B4BB-4CEE-BAAE-E72909B9B60B}" dt="2023-09-14T14:48:22.318" v="410"/>
          <ac:spMkLst>
            <pc:docMk/>
            <pc:sldMk cId="4153891527" sldId="414"/>
            <ac:spMk id="14" creationId="{0B55D739-53DF-BF21-4C3E-30A81BC8D578}"/>
          </ac:spMkLst>
        </pc:spChg>
        <pc:spChg chg="add del mod">
          <ac:chgData name="Franz MULLER" userId="79454339-e177-4ea3-bc97-d1e6b529622b" providerId="ADAL" clId="{0D497945-B4BB-4CEE-BAAE-E72909B9B60B}" dt="2023-09-14T14:48:22.145" v="409"/>
          <ac:spMkLst>
            <pc:docMk/>
            <pc:sldMk cId="4153891527" sldId="414"/>
            <ac:spMk id="17" creationId="{FEB1A6BC-1100-F5EC-C2A9-D279727648B3}"/>
          </ac:spMkLst>
        </pc:spChg>
        <pc:spChg chg="add mod">
          <ac:chgData name="Franz MULLER" userId="79454339-e177-4ea3-bc97-d1e6b529622b" providerId="ADAL" clId="{0D497945-B4BB-4CEE-BAAE-E72909B9B60B}" dt="2023-09-20T12:03:32.812" v="2445" actId="114"/>
          <ac:spMkLst>
            <pc:docMk/>
            <pc:sldMk cId="4153891527" sldId="414"/>
            <ac:spMk id="18" creationId="{CEFB4677-25EB-EC0B-9540-8374BC66E151}"/>
          </ac:spMkLst>
        </pc:spChg>
        <pc:spChg chg="add del mod">
          <ac:chgData name="Franz MULLER" userId="79454339-e177-4ea3-bc97-d1e6b529622b" providerId="ADAL" clId="{0D497945-B4BB-4CEE-BAAE-E72909B9B60B}" dt="2023-09-14T17:26:12.778" v="615" actId="478"/>
          <ac:spMkLst>
            <pc:docMk/>
            <pc:sldMk cId="4153891527" sldId="414"/>
            <ac:spMk id="24" creationId="{C9F3B9C8-2E68-D6E3-AA66-879E46653EE8}"/>
          </ac:spMkLst>
        </pc:spChg>
        <pc:spChg chg="add del mod">
          <ac:chgData name="Franz MULLER" userId="79454339-e177-4ea3-bc97-d1e6b529622b" providerId="ADAL" clId="{0D497945-B4BB-4CEE-BAAE-E72909B9B60B}" dt="2023-09-14T17:24:14.460" v="455" actId="478"/>
          <ac:spMkLst>
            <pc:docMk/>
            <pc:sldMk cId="4153891527" sldId="414"/>
            <ac:spMk id="28" creationId="{D9171807-C911-A05A-8387-AF4714936CFA}"/>
          </ac:spMkLst>
        </pc:spChg>
        <pc:spChg chg="add del mod">
          <ac:chgData name="Franz MULLER" userId="79454339-e177-4ea3-bc97-d1e6b529622b" providerId="ADAL" clId="{0D497945-B4BB-4CEE-BAAE-E72909B9B60B}" dt="2023-09-15T00:41:26.379" v="1594" actId="478"/>
          <ac:spMkLst>
            <pc:docMk/>
            <pc:sldMk cId="4153891527" sldId="414"/>
            <ac:spMk id="30" creationId="{81B21C55-35B9-8875-06DD-C7664B3A2F9C}"/>
          </ac:spMkLst>
        </pc:spChg>
        <pc:spChg chg="del">
          <ac:chgData name="Franz MULLER" userId="79454339-e177-4ea3-bc97-d1e6b529622b" providerId="ADAL" clId="{0D497945-B4BB-4CEE-BAAE-E72909B9B60B}" dt="2023-09-14T14:41:27.459" v="253" actId="478"/>
          <ac:spMkLst>
            <pc:docMk/>
            <pc:sldMk cId="4153891527" sldId="414"/>
            <ac:spMk id="71" creationId="{00000000-0000-0000-0000-000000000000}"/>
          </ac:spMkLst>
        </pc:spChg>
        <pc:spChg chg="del mod">
          <ac:chgData name="Franz MULLER" userId="79454339-e177-4ea3-bc97-d1e6b529622b" providerId="ADAL" clId="{0D497945-B4BB-4CEE-BAAE-E72909B9B60B}" dt="2023-09-14T14:39:57.577" v="230" actId="478"/>
          <ac:spMkLst>
            <pc:docMk/>
            <pc:sldMk cId="4153891527" sldId="414"/>
            <ac:spMk id="76" creationId="{00000000-0000-0000-0000-000000000000}"/>
          </ac:spMkLst>
        </pc:spChg>
        <pc:spChg chg="del">
          <ac:chgData name="Franz MULLER" userId="79454339-e177-4ea3-bc97-d1e6b529622b" providerId="ADAL" clId="{0D497945-B4BB-4CEE-BAAE-E72909B9B60B}" dt="2023-09-14T14:41:27.459" v="253" actId="478"/>
          <ac:spMkLst>
            <pc:docMk/>
            <pc:sldMk cId="4153891527" sldId="414"/>
            <ac:spMk id="143" creationId="{00000000-0000-0000-0000-000000000000}"/>
          </ac:spMkLst>
        </pc:spChg>
        <pc:spChg chg="del">
          <ac:chgData name="Franz MULLER" userId="79454339-e177-4ea3-bc97-d1e6b529622b" providerId="ADAL" clId="{0D497945-B4BB-4CEE-BAAE-E72909B9B60B}" dt="2023-09-14T14:41:27.459" v="253" actId="478"/>
          <ac:spMkLst>
            <pc:docMk/>
            <pc:sldMk cId="4153891527" sldId="414"/>
            <ac:spMk id="150" creationId="{00000000-0000-0000-0000-000000000000}"/>
          </ac:spMkLst>
        </pc:spChg>
        <pc:spChg chg="del mod">
          <ac:chgData name="Franz MULLER" userId="79454339-e177-4ea3-bc97-d1e6b529622b" providerId="ADAL" clId="{0D497945-B4BB-4CEE-BAAE-E72909B9B60B}" dt="2023-09-14T17:24:12.331" v="454" actId="478"/>
          <ac:spMkLst>
            <pc:docMk/>
            <pc:sldMk cId="4153891527" sldId="414"/>
            <ac:spMk id="27650" creationId="{00000000-0000-0000-0000-000000000000}"/>
          </ac:spMkLst>
        </pc:spChg>
        <pc:grpChg chg="del">
          <ac:chgData name="Franz MULLER" userId="79454339-e177-4ea3-bc97-d1e6b529622b" providerId="ADAL" clId="{0D497945-B4BB-4CEE-BAAE-E72909B9B60B}" dt="2023-09-14T14:41:27.459" v="253" actId="478"/>
          <ac:grpSpMkLst>
            <pc:docMk/>
            <pc:sldMk cId="4153891527" sldId="414"/>
            <ac:grpSpMk id="9" creationId="{6EEEA831-23D6-4553-9532-3FEBE4A52008}"/>
          </ac:grpSpMkLst>
        </pc:grpChg>
        <pc:grpChg chg="del">
          <ac:chgData name="Franz MULLER" userId="79454339-e177-4ea3-bc97-d1e6b529622b" providerId="ADAL" clId="{0D497945-B4BB-4CEE-BAAE-E72909B9B60B}" dt="2023-09-14T14:41:27.459" v="253" actId="478"/>
          <ac:grpSpMkLst>
            <pc:docMk/>
            <pc:sldMk cId="4153891527" sldId="414"/>
            <ac:grpSpMk id="10" creationId="{C6406E4F-6846-4A1B-9635-447B6227DCD3}"/>
          </ac:grpSpMkLst>
        </pc:grpChg>
        <pc:grpChg chg="del">
          <ac:chgData name="Franz MULLER" userId="79454339-e177-4ea3-bc97-d1e6b529622b" providerId="ADAL" clId="{0D497945-B4BB-4CEE-BAAE-E72909B9B60B}" dt="2023-09-14T14:41:27.459" v="253" actId="478"/>
          <ac:grpSpMkLst>
            <pc:docMk/>
            <pc:sldMk cId="4153891527" sldId="414"/>
            <ac:grpSpMk id="16" creationId="{74D92F6C-93C7-4E06-A4B9-A67E87D6CCCA}"/>
          </ac:grpSpMkLst>
        </pc:grpChg>
        <pc:grpChg chg="del">
          <ac:chgData name="Franz MULLER" userId="79454339-e177-4ea3-bc97-d1e6b529622b" providerId="ADAL" clId="{0D497945-B4BB-4CEE-BAAE-E72909B9B60B}" dt="2023-09-14T14:41:27.459" v="253" actId="478"/>
          <ac:grpSpMkLst>
            <pc:docMk/>
            <pc:sldMk cId="4153891527" sldId="414"/>
            <ac:grpSpMk id="25" creationId="{26151CD2-99D3-4E66-A548-BD839C216C95}"/>
          </ac:grpSpMkLst>
        </pc:grpChg>
        <pc:grpChg chg="del">
          <ac:chgData name="Franz MULLER" userId="79454339-e177-4ea3-bc97-d1e6b529622b" providerId="ADAL" clId="{0D497945-B4BB-4CEE-BAAE-E72909B9B60B}" dt="2023-09-14T14:41:27.459" v="253" actId="478"/>
          <ac:grpSpMkLst>
            <pc:docMk/>
            <pc:sldMk cId="4153891527" sldId="414"/>
            <ac:grpSpMk id="26" creationId="{3D8C0D7A-9253-407E-890D-D51B1F866918}"/>
          </ac:grpSpMkLst>
        </pc:grpChg>
        <pc:grpChg chg="del">
          <ac:chgData name="Franz MULLER" userId="79454339-e177-4ea3-bc97-d1e6b529622b" providerId="ADAL" clId="{0D497945-B4BB-4CEE-BAAE-E72909B9B60B}" dt="2023-09-14T14:41:27.459" v="253" actId="478"/>
          <ac:grpSpMkLst>
            <pc:docMk/>
            <pc:sldMk cId="4153891527" sldId="414"/>
            <ac:grpSpMk id="29" creationId="{A4080EC9-753A-473E-80F1-B6D5F982708B}"/>
          </ac:grpSpMkLst>
        </pc:grpChg>
        <pc:grpChg chg="del">
          <ac:chgData name="Franz MULLER" userId="79454339-e177-4ea3-bc97-d1e6b529622b" providerId="ADAL" clId="{0D497945-B4BB-4CEE-BAAE-E72909B9B60B}" dt="2023-09-14T14:41:27.459" v="253" actId="478"/>
          <ac:grpSpMkLst>
            <pc:docMk/>
            <pc:sldMk cId="4153891527" sldId="414"/>
            <ac:grpSpMk id="119" creationId="{00000000-0000-0000-0000-000000000000}"/>
          </ac:grpSpMkLst>
        </pc:grpChg>
        <pc:picChg chg="add mod modCrop">
          <ac:chgData name="Franz MULLER" userId="79454339-e177-4ea3-bc97-d1e6b529622b" providerId="ADAL" clId="{0D497945-B4BB-4CEE-BAAE-E72909B9B60B}" dt="2023-09-20T14:51:57.794" v="3151" actId="1076"/>
          <ac:picMkLst>
            <pc:docMk/>
            <pc:sldMk cId="4153891527" sldId="414"/>
            <ac:picMk id="21" creationId="{D24EB908-16F9-E7D7-2BF6-A0B140AF355E}"/>
          </ac:picMkLst>
        </pc:picChg>
        <pc:picChg chg="mod">
          <ac:chgData name="Franz MULLER" userId="79454339-e177-4ea3-bc97-d1e6b529622b" providerId="ADAL" clId="{0D497945-B4BB-4CEE-BAAE-E72909B9B60B}" dt="2023-09-14T17:24:34.019" v="545" actId="1038"/>
          <ac:picMkLst>
            <pc:docMk/>
            <pc:sldMk cId="4153891527" sldId="414"/>
            <ac:picMk id="1028" creationId="{C296C5ED-CD52-D15D-7448-EE6B3D3069CA}"/>
          </ac:picMkLst>
        </pc:picChg>
        <pc:picChg chg="add del mod">
          <ac:chgData name="Franz MULLER" userId="79454339-e177-4ea3-bc97-d1e6b529622b" providerId="ADAL" clId="{0D497945-B4BB-4CEE-BAAE-E72909B9B60B}" dt="2023-09-14T14:55:41.702" v="435" actId="478"/>
          <ac:picMkLst>
            <pc:docMk/>
            <pc:sldMk cId="4153891527" sldId="414"/>
            <ac:picMk id="2050" creationId="{2E05C02A-A9BA-5FB8-7CE0-CCB766C50C2E}"/>
          </ac:picMkLst>
        </pc:picChg>
        <pc:picChg chg="add mod">
          <ac:chgData name="Franz MULLER" userId="79454339-e177-4ea3-bc97-d1e6b529622b" providerId="ADAL" clId="{0D497945-B4BB-4CEE-BAAE-E72909B9B60B}" dt="2023-09-20T14:51:58.842" v="3152" actId="1076"/>
          <ac:picMkLst>
            <pc:docMk/>
            <pc:sldMk cId="4153891527" sldId="414"/>
            <ac:picMk id="2052" creationId="{A95DDAAE-9B0A-C549-5343-155FFA782FAA}"/>
          </ac:picMkLst>
        </pc:picChg>
        <pc:picChg chg="add del">
          <ac:chgData name="Franz MULLER" userId="79454339-e177-4ea3-bc97-d1e6b529622b" providerId="ADAL" clId="{0D497945-B4BB-4CEE-BAAE-E72909B9B60B}" dt="2023-09-15T00:38:23.814" v="1576" actId="478"/>
          <ac:picMkLst>
            <pc:docMk/>
            <pc:sldMk cId="4153891527" sldId="414"/>
            <ac:picMk id="2054" creationId="{5DB2E40D-8AF9-42F6-E1C7-C83DD1024EC3}"/>
          </ac:picMkLst>
        </pc:picChg>
        <pc:picChg chg="del">
          <ac:chgData name="Franz MULLER" userId="79454339-e177-4ea3-bc97-d1e6b529622b" providerId="ADAL" clId="{0D497945-B4BB-4CEE-BAAE-E72909B9B60B}" dt="2023-09-14T14:41:27.459" v="253" actId="478"/>
          <ac:picMkLst>
            <pc:docMk/>
            <pc:sldMk cId="4153891527" sldId="414"/>
            <ac:picMk id="27686" creationId="{00000000-0000-0000-0000-000000000000}"/>
          </ac:picMkLst>
        </pc:picChg>
      </pc:sldChg>
      <pc:sldChg chg="add del ord">
        <pc:chgData name="Franz MULLER" userId="79454339-e177-4ea3-bc97-d1e6b529622b" providerId="ADAL" clId="{0D497945-B4BB-4CEE-BAAE-E72909B9B60B}" dt="2023-09-20T21:38:29.799" v="5602" actId="47"/>
        <pc:sldMkLst>
          <pc:docMk/>
          <pc:sldMk cId="2328494629" sldId="443"/>
        </pc:sldMkLst>
      </pc:sldChg>
      <pc:sldChg chg="addSp delSp modSp add del">
        <pc:chgData name="Franz MULLER" userId="79454339-e177-4ea3-bc97-d1e6b529622b" providerId="ADAL" clId="{0D497945-B4BB-4CEE-BAAE-E72909B9B60B}" dt="2023-09-22T11:50:53.059" v="5972" actId="47"/>
        <pc:sldMkLst>
          <pc:docMk/>
          <pc:sldMk cId="3257350072" sldId="637"/>
        </pc:sldMkLst>
        <pc:spChg chg="add mod">
          <ac:chgData name="Franz MULLER" userId="79454339-e177-4ea3-bc97-d1e6b529622b" providerId="ADAL" clId="{0D497945-B4BB-4CEE-BAAE-E72909B9B60B}" dt="2023-09-22T00:21:13.549" v="5735"/>
          <ac:spMkLst>
            <pc:docMk/>
            <pc:sldMk cId="3257350072" sldId="637"/>
            <ac:spMk id="2" creationId="{85A43EB0-E293-C3F9-A9D6-551806F3E635}"/>
          </ac:spMkLst>
        </pc:spChg>
        <pc:spChg chg="add mod">
          <ac:chgData name="Franz MULLER" userId="79454339-e177-4ea3-bc97-d1e6b529622b" providerId="ADAL" clId="{0D497945-B4BB-4CEE-BAAE-E72909B9B60B}" dt="2023-09-22T00:21:20.329" v="5737"/>
          <ac:spMkLst>
            <pc:docMk/>
            <pc:sldMk cId="3257350072" sldId="637"/>
            <ac:spMk id="3" creationId="{4DCDD5EC-1306-5767-A0E3-7439E58A5A29}"/>
          </ac:spMkLst>
        </pc:spChg>
        <pc:spChg chg="del">
          <ac:chgData name="Franz MULLER" userId="79454339-e177-4ea3-bc97-d1e6b529622b" providerId="ADAL" clId="{0D497945-B4BB-4CEE-BAAE-E72909B9B60B}" dt="2023-09-22T00:21:16.706" v="5736" actId="478"/>
          <ac:spMkLst>
            <pc:docMk/>
            <pc:sldMk cId="3257350072" sldId="637"/>
            <ac:spMk id="9" creationId="{E9FE81B7-66D9-44D7-A1BC-52D1E0BF162C}"/>
          </ac:spMkLst>
        </pc:spChg>
      </pc:sldChg>
      <pc:sldChg chg="modSp add mod ord">
        <pc:chgData name="Franz MULLER" userId="79454339-e177-4ea3-bc97-d1e6b529622b" providerId="ADAL" clId="{0D497945-B4BB-4CEE-BAAE-E72909B9B60B}" dt="2023-09-22T18:07:36.142" v="6867"/>
        <pc:sldMkLst>
          <pc:docMk/>
          <pc:sldMk cId="3607089016" sldId="662"/>
        </pc:sldMkLst>
        <pc:spChg chg="mod">
          <ac:chgData name="Franz MULLER" userId="79454339-e177-4ea3-bc97-d1e6b529622b" providerId="ADAL" clId="{0D497945-B4BB-4CEE-BAAE-E72909B9B60B}" dt="2023-09-20T22:11:44.482" v="5701" actId="20577"/>
          <ac:spMkLst>
            <pc:docMk/>
            <pc:sldMk cId="3607089016" sldId="662"/>
            <ac:spMk id="2" creationId="{FE33F04E-A555-42E2-80C7-CA1815441122}"/>
          </ac:spMkLst>
        </pc:spChg>
        <pc:spChg chg="mod">
          <ac:chgData name="Franz MULLER" userId="79454339-e177-4ea3-bc97-d1e6b529622b" providerId="ADAL" clId="{0D497945-B4BB-4CEE-BAAE-E72909B9B60B}" dt="2023-09-20T22:11:16.399" v="5662" actId="20577"/>
          <ac:spMkLst>
            <pc:docMk/>
            <pc:sldMk cId="3607089016" sldId="662"/>
            <ac:spMk id="55" creationId="{EA665EAB-2F80-47D1-9F29-A0F531B5DD37}"/>
          </ac:spMkLst>
        </pc:spChg>
        <pc:spChg chg="mod">
          <ac:chgData name="Franz MULLER" userId="79454339-e177-4ea3-bc97-d1e6b529622b" providerId="ADAL" clId="{0D497945-B4BB-4CEE-BAAE-E72909B9B60B}" dt="2023-09-20T22:11:13.047" v="5655" actId="20577"/>
          <ac:spMkLst>
            <pc:docMk/>
            <pc:sldMk cId="3607089016" sldId="662"/>
            <ac:spMk id="56" creationId="{A17B2139-1501-4897-8E1E-579D68639A79}"/>
          </ac:spMkLst>
        </pc:spChg>
        <pc:spChg chg="mod">
          <ac:chgData name="Franz MULLER" userId="79454339-e177-4ea3-bc97-d1e6b529622b" providerId="ADAL" clId="{0D497945-B4BB-4CEE-BAAE-E72909B9B60B}" dt="2023-09-20T22:11:20.446" v="5669" actId="20577"/>
          <ac:spMkLst>
            <pc:docMk/>
            <pc:sldMk cId="3607089016" sldId="662"/>
            <ac:spMk id="58" creationId="{6729E15F-2D7F-4812-AA52-87DAB8D13073}"/>
          </ac:spMkLst>
        </pc:spChg>
        <pc:spChg chg="mod">
          <ac:chgData name="Franz MULLER" userId="79454339-e177-4ea3-bc97-d1e6b529622b" providerId="ADAL" clId="{0D497945-B4BB-4CEE-BAAE-E72909B9B60B}" dt="2023-09-20T22:11:35.437" v="5687" actId="6549"/>
          <ac:spMkLst>
            <pc:docMk/>
            <pc:sldMk cId="3607089016" sldId="662"/>
            <ac:spMk id="59" creationId="{DCAB9B66-5054-4175-9971-A8DCCB50E9D3}"/>
          </ac:spMkLst>
        </pc:spChg>
        <pc:spChg chg="mod">
          <ac:chgData name="Franz MULLER" userId="79454339-e177-4ea3-bc97-d1e6b529622b" providerId="ADAL" clId="{0D497945-B4BB-4CEE-BAAE-E72909B9B60B}" dt="2023-09-20T22:11:28.591" v="5677" actId="6549"/>
          <ac:spMkLst>
            <pc:docMk/>
            <pc:sldMk cId="3607089016" sldId="662"/>
            <ac:spMk id="60" creationId="{80941464-9160-4EDD-909A-BED24E4821FE}"/>
          </ac:spMkLst>
        </pc:spChg>
        <pc:spChg chg="mod">
          <ac:chgData name="Franz MULLER" userId="79454339-e177-4ea3-bc97-d1e6b529622b" providerId="ADAL" clId="{0D497945-B4BB-4CEE-BAAE-E72909B9B60B}" dt="2023-09-20T22:11:38.668" v="5694" actId="20577"/>
          <ac:spMkLst>
            <pc:docMk/>
            <pc:sldMk cId="3607089016" sldId="662"/>
            <ac:spMk id="66" creationId="{22D0E3D3-C579-4514-B874-C6B06539D73E}"/>
          </ac:spMkLst>
        </pc:spChg>
      </pc:sldChg>
      <pc:sldChg chg="modSp add mod modNotesTx">
        <pc:chgData name="Franz MULLER" userId="79454339-e177-4ea3-bc97-d1e6b529622b" providerId="ADAL" clId="{0D497945-B4BB-4CEE-BAAE-E72909B9B60B}" dt="2023-09-22T16:23:21.256" v="6157" actId="14100"/>
        <pc:sldMkLst>
          <pc:docMk/>
          <pc:sldMk cId="198622261" sldId="663"/>
        </pc:sldMkLst>
        <pc:spChg chg="mod">
          <ac:chgData name="Franz MULLER" userId="79454339-e177-4ea3-bc97-d1e6b529622b" providerId="ADAL" clId="{0D497945-B4BB-4CEE-BAAE-E72909B9B60B}" dt="2023-09-22T16:22:47.710" v="6154" actId="1076"/>
          <ac:spMkLst>
            <pc:docMk/>
            <pc:sldMk cId="198622261" sldId="663"/>
            <ac:spMk id="3" creationId="{0DA5B9BF-9169-4BA3-9AD8-B9630501B08D}"/>
          </ac:spMkLst>
        </pc:spChg>
        <pc:spChg chg="mod">
          <ac:chgData name="Franz MULLER" userId="79454339-e177-4ea3-bc97-d1e6b529622b" providerId="ADAL" clId="{0D497945-B4BB-4CEE-BAAE-E72909B9B60B}" dt="2023-09-20T17:09:43.188" v="4858" actId="20577"/>
          <ac:spMkLst>
            <pc:docMk/>
            <pc:sldMk cId="198622261" sldId="663"/>
            <ac:spMk id="10" creationId="{7B0C6FBE-C91D-476F-9A8A-9ACB81734565}"/>
          </ac:spMkLst>
        </pc:spChg>
        <pc:spChg chg="mod">
          <ac:chgData name="Franz MULLER" userId="79454339-e177-4ea3-bc97-d1e6b529622b" providerId="ADAL" clId="{0D497945-B4BB-4CEE-BAAE-E72909B9B60B}" dt="2023-09-22T16:23:01.587" v="6155" actId="113"/>
          <ac:spMkLst>
            <pc:docMk/>
            <pc:sldMk cId="198622261" sldId="663"/>
            <ac:spMk id="11" creationId="{0D9995BA-FCAD-4BDA-A0B4-086F1E84BB13}"/>
          </ac:spMkLst>
        </pc:spChg>
        <pc:spChg chg="mod">
          <ac:chgData name="Franz MULLER" userId="79454339-e177-4ea3-bc97-d1e6b529622b" providerId="ADAL" clId="{0D497945-B4BB-4CEE-BAAE-E72909B9B60B}" dt="2023-09-20T17:09:55.625" v="4862" actId="1076"/>
          <ac:spMkLst>
            <pc:docMk/>
            <pc:sldMk cId="198622261" sldId="663"/>
            <ac:spMk id="59" creationId="{2196F93A-DF09-48B5-80A9-A69FEAE4AB0A}"/>
          </ac:spMkLst>
        </pc:spChg>
        <pc:spChg chg="mod">
          <ac:chgData name="Franz MULLER" userId="79454339-e177-4ea3-bc97-d1e6b529622b" providerId="ADAL" clId="{0D497945-B4BB-4CEE-BAAE-E72909B9B60B}" dt="2023-09-20T17:09:52.635" v="4860" actId="20577"/>
          <ac:spMkLst>
            <pc:docMk/>
            <pc:sldMk cId="198622261" sldId="663"/>
            <ac:spMk id="60" creationId="{8149886A-B27A-4D10-A1B8-C3C74FC65EE1}"/>
          </ac:spMkLst>
        </pc:spChg>
        <pc:spChg chg="mod">
          <ac:chgData name="Franz MULLER" userId="79454339-e177-4ea3-bc97-d1e6b529622b" providerId="ADAL" clId="{0D497945-B4BB-4CEE-BAAE-E72909B9B60B}" dt="2023-09-22T16:23:21.256" v="6157" actId="14100"/>
          <ac:spMkLst>
            <pc:docMk/>
            <pc:sldMk cId="198622261" sldId="663"/>
            <ac:spMk id="61" creationId="{38D0AC5C-EDDC-4062-BA71-56584557B436}"/>
          </ac:spMkLst>
        </pc:spChg>
      </pc:sldChg>
      <pc:sldChg chg="addSp delSp modSp add del mod ord">
        <pc:chgData name="Franz MULLER" userId="79454339-e177-4ea3-bc97-d1e6b529622b" providerId="ADAL" clId="{0D497945-B4BB-4CEE-BAAE-E72909B9B60B}" dt="2023-09-20T19:38:00.753" v="5197" actId="47"/>
        <pc:sldMkLst>
          <pc:docMk/>
          <pc:sldMk cId="3325209423" sldId="1172"/>
        </pc:sldMkLst>
        <pc:spChg chg="del">
          <ac:chgData name="Franz MULLER" userId="79454339-e177-4ea3-bc97-d1e6b529622b" providerId="ADAL" clId="{0D497945-B4BB-4CEE-BAAE-E72909B9B60B}" dt="2023-09-14T14:36:43.802" v="194" actId="478"/>
          <ac:spMkLst>
            <pc:docMk/>
            <pc:sldMk cId="3325209423" sldId="1172"/>
            <ac:spMk id="14" creationId="{B6329754-FEAB-1940-A3A2-D4251BFE94B1}"/>
          </ac:spMkLst>
        </pc:spChg>
        <pc:graphicFrameChg chg="add mod">
          <ac:chgData name="Franz MULLER" userId="79454339-e177-4ea3-bc97-d1e6b529622b" providerId="ADAL" clId="{0D497945-B4BB-4CEE-BAAE-E72909B9B60B}" dt="2023-09-20T12:50:38.262" v="2620" actId="1076"/>
          <ac:graphicFrameMkLst>
            <pc:docMk/>
            <pc:sldMk cId="3325209423" sldId="1172"/>
            <ac:graphicFrameMk id="2" creationId="{F9C30434-7CEE-648A-8AD1-95CF8A23E194}"/>
          </ac:graphicFrameMkLst>
        </pc:graphicFrameChg>
        <pc:picChg chg="del">
          <ac:chgData name="Franz MULLER" userId="79454339-e177-4ea3-bc97-d1e6b529622b" providerId="ADAL" clId="{0D497945-B4BB-4CEE-BAAE-E72909B9B60B}" dt="2023-09-14T14:36:40.645" v="192" actId="478"/>
          <ac:picMkLst>
            <pc:docMk/>
            <pc:sldMk cId="3325209423" sldId="1172"/>
            <ac:picMk id="6" creationId="{84E1167E-682E-7145-96E2-2F14EEE4B638}"/>
          </ac:picMkLst>
        </pc:picChg>
      </pc:sldChg>
      <pc:sldChg chg="add">
        <pc:chgData name="Franz MULLER" userId="79454339-e177-4ea3-bc97-d1e6b529622b" providerId="ADAL" clId="{0D497945-B4BB-4CEE-BAAE-E72909B9B60B}" dt="2023-09-14T01:54:29.509" v="75"/>
        <pc:sldMkLst>
          <pc:docMk/>
          <pc:sldMk cId="2161955758" sldId="1205"/>
        </pc:sldMkLst>
      </pc:sldChg>
      <pc:sldChg chg="add">
        <pc:chgData name="Franz MULLER" userId="79454339-e177-4ea3-bc97-d1e6b529622b" providerId="ADAL" clId="{0D497945-B4BB-4CEE-BAAE-E72909B9B60B}" dt="2023-09-22T16:28:45.266" v="6187"/>
        <pc:sldMkLst>
          <pc:docMk/>
          <pc:sldMk cId="3214435392" sldId="1207"/>
        </pc:sldMkLst>
      </pc:sldChg>
      <pc:sldChg chg="addSp delSp modSp add del mod">
        <pc:chgData name="Franz MULLER" userId="79454339-e177-4ea3-bc97-d1e6b529622b" providerId="ADAL" clId="{0D497945-B4BB-4CEE-BAAE-E72909B9B60B}" dt="2023-09-20T21:40:03.487" v="5609" actId="47"/>
        <pc:sldMkLst>
          <pc:docMk/>
          <pc:sldMk cId="4233549538" sldId="1209"/>
        </pc:sldMkLst>
        <pc:spChg chg="del">
          <ac:chgData name="Franz MULLER" userId="79454339-e177-4ea3-bc97-d1e6b529622b" providerId="ADAL" clId="{0D497945-B4BB-4CEE-BAAE-E72909B9B60B}" dt="2023-09-14T21:27:04.561" v="1540" actId="478"/>
          <ac:spMkLst>
            <pc:docMk/>
            <pc:sldMk cId="4233549538" sldId="1209"/>
            <ac:spMk id="24" creationId="{27895701-AE56-A640-A225-DCBAC9599839}"/>
          </ac:spMkLst>
        </pc:spChg>
        <pc:spChg chg="del">
          <ac:chgData name="Franz MULLER" userId="79454339-e177-4ea3-bc97-d1e6b529622b" providerId="ADAL" clId="{0D497945-B4BB-4CEE-BAAE-E72909B9B60B}" dt="2023-09-14T21:27:06.205" v="1541" actId="478"/>
          <ac:spMkLst>
            <pc:docMk/>
            <pc:sldMk cId="4233549538" sldId="1209"/>
            <ac:spMk id="25" creationId="{221949DD-C742-DA47-B1BE-AAF639507C89}"/>
          </ac:spMkLst>
        </pc:spChg>
        <pc:spChg chg="mod">
          <ac:chgData name="Franz MULLER" userId="79454339-e177-4ea3-bc97-d1e6b529622b" providerId="ADAL" clId="{0D497945-B4BB-4CEE-BAAE-E72909B9B60B}" dt="2023-09-20T12:22:38.616" v="2572" actId="113"/>
          <ac:spMkLst>
            <pc:docMk/>
            <pc:sldMk cId="4233549538" sldId="1209"/>
            <ac:spMk id="31" creationId="{DC16B9FA-CC1B-E94E-A2B9-FA5C513926C0}"/>
          </ac:spMkLst>
        </pc:spChg>
        <pc:spChg chg="mod">
          <ac:chgData name="Franz MULLER" userId="79454339-e177-4ea3-bc97-d1e6b529622b" providerId="ADAL" clId="{0D497945-B4BB-4CEE-BAAE-E72909B9B60B}" dt="2023-09-20T12:23:11.713" v="2586" actId="207"/>
          <ac:spMkLst>
            <pc:docMk/>
            <pc:sldMk cId="4233549538" sldId="1209"/>
            <ac:spMk id="34" creationId="{116A38DE-7749-43CF-BC70-4645C3A9C755}"/>
          </ac:spMkLst>
        </pc:spChg>
        <pc:spChg chg="mod">
          <ac:chgData name="Franz MULLER" userId="79454339-e177-4ea3-bc97-d1e6b529622b" providerId="ADAL" clId="{0D497945-B4BB-4CEE-BAAE-E72909B9B60B}" dt="2023-09-20T12:23:09.221" v="2585" actId="207"/>
          <ac:spMkLst>
            <pc:docMk/>
            <pc:sldMk cId="4233549538" sldId="1209"/>
            <ac:spMk id="37" creationId="{69B1688C-7342-4A72-B39C-315D482E3D09}"/>
          </ac:spMkLst>
        </pc:spChg>
        <pc:spChg chg="mod">
          <ac:chgData name="Franz MULLER" userId="79454339-e177-4ea3-bc97-d1e6b529622b" providerId="ADAL" clId="{0D497945-B4BB-4CEE-BAAE-E72909B9B60B}" dt="2023-09-20T12:23:06.893" v="2584" actId="207"/>
          <ac:spMkLst>
            <pc:docMk/>
            <pc:sldMk cId="4233549538" sldId="1209"/>
            <ac:spMk id="38" creationId="{D7D56CA4-D692-41F1-B03A-031727AA1154}"/>
          </ac:spMkLst>
        </pc:spChg>
        <pc:spChg chg="mod">
          <ac:chgData name="Franz MULLER" userId="79454339-e177-4ea3-bc97-d1e6b529622b" providerId="ADAL" clId="{0D497945-B4BB-4CEE-BAAE-E72909B9B60B}" dt="2023-09-20T12:23:04.012" v="2583" actId="207"/>
          <ac:spMkLst>
            <pc:docMk/>
            <pc:sldMk cId="4233549538" sldId="1209"/>
            <ac:spMk id="39" creationId="{9CCC9E80-A4A2-4BEA-8B71-3737DB579158}"/>
          </ac:spMkLst>
        </pc:spChg>
        <pc:picChg chg="add del">
          <ac:chgData name="Franz MULLER" userId="79454339-e177-4ea3-bc97-d1e6b529622b" providerId="ADAL" clId="{0D497945-B4BB-4CEE-BAAE-E72909B9B60B}" dt="2023-09-14T21:27:07.939" v="1543" actId="478"/>
          <ac:picMkLst>
            <pc:docMk/>
            <pc:sldMk cId="4233549538" sldId="1209"/>
            <ac:picMk id="6" creationId="{97CFDF9D-047B-2044-83E0-CEE2E73AC205}"/>
          </ac:picMkLst>
        </pc:picChg>
        <pc:picChg chg="del">
          <ac:chgData name="Franz MULLER" userId="79454339-e177-4ea3-bc97-d1e6b529622b" providerId="ADAL" clId="{0D497945-B4BB-4CEE-BAAE-E72909B9B60B}" dt="2023-09-14T21:27:09.179" v="1544" actId="478"/>
          <ac:picMkLst>
            <pc:docMk/>
            <pc:sldMk cId="4233549538" sldId="1209"/>
            <ac:picMk id="30" creationId="{6334F55D-4C6A-8143-8DB5-2BAEAE7309D0}"/>
          </ac:picMkLst>
        </pc:picChg>
        <pc:picChg chg="del">
          <ac:chgData name="Franz MULLER" userId="79454339-e177-4ea3-bc97-d1e6b529622b" providerId="ADAL" clId="{0D497945-B4BB-4CEE-BAAE-E72909B9B60B}" dt="2023-09-14T21:27:11.014" v="1546" actId="478"/>
          <ac:picMkLst>
            <pc:docMk/>
            <pc:sldMk cId="4233549538" sldId="1209"/>
            <ac:picMk id="32" creationId="{64A8F964-655D-E141-BC6E-B6872CE54E42}"/>
          </ac:picMkLst>
        </pc:picChg>
        <pc:cxnChg chg="del">
          <ac:chgData name="Franz MULLER" userId="79454339-e177-4ea3-bc97-d1e6b529622b" providerId="ADAL" clId="{0D497945-B4BB-4CEE-BAAE-E72909B9B60B}" dt="2023-09-14T21:27:12.264" v="1547" actId="478"/>
          <ac:cxnSpMkLst>
            <pc:docMk/>
            <pc:sldMk cId="4233549538" sldId="1209"/>
            <ac:cxnSpMk id="29" creationId="{C7019FB6-C87A-1C4F-ABA4-BE464218B94F}"/>
          </ac:cxnSpMkLst>
        </pc:cxnChg>
        <pc:cxnChg chg="del">
          <ac:chgData name="Franz MULLER" userId="79454339-e177-4ea3-bc97-d1e6b529622b" providerId="ADAL" clId="{0D497945-B4BB-4CEE-BAAE-E72909B9B60B}" dt="2023-09-14T21:27:10.482" v="1545" actId="478"/>
          <ac:cxnSpMkLst>
            <pc:docMk/>
            <pc:sldMk cId="4233549538" sldId="1209"/>
            <ac:cxnSpMk id="33" creationId="{0630557F-A654-E948-90F6-021485459BA8}"/>
          </ac:cxnSpMkLst>
        </pc:cxnChg>
      </pc:sldChg>
      <pc:sldChg chg="addSp delSp modSp add del mod ord modNotesTx">
        <pc:chgData name="Franz MULLER" userId="79454339-e177-4ea3-bc97-d1e6b529622b" providerId="ADAL" clId="{0D497945-B4BB-4CEE-BAAE-E72909B9B60B}" dt="2023-09-20T21:40:02.882" v="5608" actId="47"/>
        <pc:sldMkLst>
          <pc:docMk/>
          <pc:sldMk cId="2859153677" sldId="1210"/>
        </pc:sldMkLst>
        <pc:spChg chg="del">
          <ac:chgData name="Franz MULLER" userId="79454339-e177-4ea3-bc97-d1e6b529622b" providerId="ADAL" clId="{0D497945-B4BB-4CEE-BAAE-E72909B9B60B}" dt="2023-09-14T21:28:14.195" v="1555" actId="478"/>
          <ac:spMkLst>
            <pc:docMk/>
            <pc:sldMk cId="2859153677" sldId="1210"/>
            <ac:spMk id="2" creationId="{E9F0C342-6D15-0F45-909D-886AF36F277C}"/>
          </ac:spMkLst>
        </pc:spChg>
        <pc:spChg chg="mod">
          <ac:chgData name="Franz MULLER" userId="79454339-e177-4ea3-bc97-d1e6b529622b" providerId="ADAL" clId="{0D497945-B4BB-4CEE-BAAE-E72909B9B60B}" dt="2023-09-20T12:22:26.290" v="2566" actId="207"/>
          <ac:spMkLst>
            <pc:docMk/>
            <pc:sldMk cId="2859153677" sldId="1210"/>
            <ac:spMk id="23" creationId="{B44C7F2D-6C5F-4AB9-9E4D-2D6FB8C3A56A}"/>
          </ac:spMkLst>
        </pc:spChg>
        <pc:spChg chg="mod">
          <ac:chgData name="Franz MULLER" userId="79454339-e177-4ea3-bc97-d1e6b529622b" providerId="ADAL" clId="{0D497945-B4BB-4CEE-BAAE-E72909B9B60B}" dt="2023-09-20T12:22:28.033" v="2567" actId="207"/>
          <ac:spMkLst>
            <pc:docMk/>
            <pc:sldMk cId="2859153677" sldId="1210"/>
            <ac:spMk id="24" creationId="{1D151D30-6B99-487D-A907-298AC7335E4A}"/>
          </ac:spMkLst>
        </pc:spChg>
        <pc:spChg chg="del">
          <ac:chgData name="Franz MULLER" userId="79454339-e177-4ea3-bc97-d1e6b529622b" providerId="ADAL" clId="{0D497945-B4BB-4CEE-BAAE-E72909B9B60B}" dt="2023-09-14T21:28:12.323" v="1554" actId="478"/>
          <ac:spMkLst>
            <pc:docMk/>
            <pc:sldMk cId="2859153677" sldId="1210"/>
            <ac:spMk id="26" creationId="{5B60A351-659C-0A47-865F-372E6F668B25}"/>
          </ac:spMkLst>
        </pc:spChg>
        <pc:spChg chg="mod">
          <ac:chgData name="Franz MULLER" userId="79454339-e177-4ea3-bc97-d1e6b529622b" providerId="ADAL" clId="{0D497945-B4BB-4CEE-BAAE-E72909B9B60B}" dt="2023-09-20T12:22:30.173" v="2568" actId="207"/>
          <ac:spMkLst>
            <pc:docMk/>
            <pc:sldMk cId="2859153677" sldId="1210"/>
            <ac:spMk id="28" creationId="{1C8ECB2B-2781-45FA-8350-52AA9DD35992}"/>
          </ac:spMkLst>
        </pc:spChg>
        <pc:spChg chg="del">
          <ac:chgData name="Franz MULLER" userId="79454339-e177-4ea3-bc97-d1e6b529622b" providerId="ADAL" clId="{0D497945-B4BB-4CEE-BAAE-E72909B9B60B}" dt="2023-09-14T21:28:15.160" v="1556" actId="478"/>
          <ac:spMkLst>
            <pc:docMk/>
            <pc:sldMk cId="2859153677" sldId="1210"/>
            <ac:spMk id="29" creationId="{03BE81E2-F943-EB48-AE03-A5CB91510B13}"/>
          </ac:spMkLst>
        </pc:spChg>
        <pc:spChg chg="mod">
          <ac:chgData name="Franz MULLER" userId="79454339-e177-4ea3-bc97-d1e6b529622b" providerId="ADAL" clId="{0D497945-B4BB-4CEE-BAAE-E72909B9B60B}" dt="2023-09-20T12:22:23.905" v="2564" actId="207"/>
          <ac:spMkLst>
            <pc:docMk/>
            <pc:sldMk cId="2859153677" sldId="1210"/>
            <ac:spMk id="30" creationId="{4FA35060-4FC8-45C6-8C8A-8519153424DD}"/>
          </ac:spMkLst>
        </pc:spChg>
        <pc:spChg chg="mod">
          <ac:chgData name="Franz MULLER" userId="79454339-e177-4ea3-bc97-d1e6b529622b" providerId="ADAL" clId="{0D497945-B4BB-4CEE-BAAE-E72909B9B60B}" dt="2023-09-20T12:21:40.203" v="2550" actId="113"/>
          <ac:spMkLst>
            <pc:docMk/>
            <pc:sldMk cId="2859153677" sldId="1210"/>
            <ac:spMk id="31" creationId="{DC16B9FA-CC1B-E94E-A2B9-FA5C513926C0}"/>
          </ac:spMkLst>
        </pc:spChg>
        <pc:spChg chg="mod">
          <ac:chgData name="Franz MULLER" userId="79454339-e177-4ea3-bc97-d1e6b529622b" providerId="ADAL" clId="{0D497945-B4BB-4CEE-BAAE-E72909B9B60B}" dt="2023-09-20T12:22:21.192" v="2563" actId="207"/>
          <ac:spMkLst>
            <pc:docMk/>
            <pc:sldMk cId="2859153677" sldId="1210"/>
            <ac:spMk id="33" creationId="{B3D1AEE3-ECDF-4019-B376-37B2C1BF2385}"/>
          </ac:spMkLst>
        </pc:spChg>
        <pc:picChg chg="add mod ord">
          <ac:chgData name="Franz MULLER" userId="79454339-e177-4ea3-bc97-d1e6b529622b" providerId="ADAL" clId="{0D497945-B4BB-4CEE-BAAE-E72909B9B60B}" dt="2023-09-20T12:22:01.166" v="2556" actId="1076"/>
          <ac:picMkLst>
            <pc:docMk/>
            <pc:sldMk cId="2859153677" sldId="1210"/>
            <ac:picMk id="3" creationId="{19571B48-ECD6-CB40-51A8-7CA617EDECE9}"/>
          </ac:picMkLst>
        </pc:picChg>
        <pc:picChg chg="del">
          <ac:chgData name="Franz MULLER" userId="79454339-e177-4ea3-bc97-d1e6b529622b" providerId="ADAL" clId="{0D497945-B4BB-4CEE-BAAE-E72909B9B60B}" dt="2023-09-14T21:27:57.606" v="1549" actId="478"/>
          <ac:picMkLst>
            <pc:docMk/>
            <pc:sldMk cId="2859153677" sldId="1210"/>
            <ac:picMk id="5" creationId="{5950B97F-47C1-DB4B-9A89-A53D99E92030}"/>
          </ac:picMkLst>
        </pc:picChg>
        <pc:picChg chg="del">
          <ac:chgData name="Franz MULLER" userId="79454339-e177-4ea3-bc97-d1e6b529622b" providerId="ADAL" clId="{0D497945-B4BB-4CEE-BAAE-E72909B9B60B}" dt="2023-09-14T21:28:17.524" v="1559" actId="478"/>
          <ac:picMkLst>
            <pc:docMk/>
            <pc:sldMk cId="2859153677" sldId="1210"/>
            <ac:picMk id="34" creationId="{E7396534-AA40-1B4F-BEFB-ADAAAE910712}"/>
          </ac:picMkLst>
        </pc:picChg>
        <pc:picChg chg="del">
          <ac:chgData name="Franz MULLER" userId="79454339-e177-4ea3-bc97-d1e6b529622b" providerId="ADAL" clId="{0D497945-B4BB-4CEE-BAAE-E72909B9B60B}" dt="2023-09-14T21:28:16.699" v="1558" actId="478"/>
          <ac:picMkLst>
            <pc:docMk/>
            <pc:sldMk cId="2859153677" sldId="1210"/>
            <ac:picMk id="35" creationId="{28024D70-1EDD-BE48-8294-04E44F69C2F3}"/>
          </ac:picMkLst>
        </pc:picChg>
        <pc:cxnChg chg="del">
          <ac:chgData name="Franz MULLER" userId="79454339-e177-4ea3-bc97-d1e6b529622b" providerId="ADAL" clId="{0D497945-B4BB-4CEE-BAAE-E72909B9B60B}" dt="2023-09-14T21:28:18.295" v="1560" actId="478"/>
          <ac:cxnSpMkLst>
            <pc:docMk/>
            <pc:sldMk cId="2859153677" sldId="1210"/>
            <ac:cxnSpMk id="32" creationId="{4CB78A67-E33F-F341-9F7F-69871F97013D}"/>
          </ac:cxnSpMkLst>
        </pc:cxnChg>
        <pc:cxnChg chg="del">
          <ac:chgData name="Franz MULLER" userId="79454339-e177-4ea3-bc97-d1e6b529622b" providerId="ADAL" clId="{0D497945-B4BB-4CEE-BAAE-E72909B9B60B}" dt="2023-09-14T21:28:16.230" v="1557" actId="478"/>
          <ac:cxnSpMkLst>
            <pc:docMk/>
            <pc:sldMk cId="2859153677" sldId="1210"/>
            <ac:cxnSpMk id="36" creationId="{584A5F5A-53A0-6442-B1B2-32399224E4C2}"/>
          </ac:cxnSpMkLst>
        </pc:cxnChg>
      </pc:sldChg>
      <pc:sldChg chg="addSp delSp modSp add del mod">
        <pc:chgData name="Franz MULLER" userId="79454339-e177-4ea3-bc97-d1e6b529622b" providerId="ADAL" clId="{0D497945-B4BB-4CEE-BAAE-E72909B9B60B}" dt="2023-09-20T21:40:03.907" v="5610" actId="47"/>
        <pc:sldMkLst>
          <pc:docMk/>
          <pc:sldMk cId="3547215524" sldId="1212"/>
        </pc:sldMkLst>
        <pc:spChg chg="del">
          <ac:chgData name="Franz MULLER" userId="79454339-e177-4ea3-bc97-d1e6b529622b" providerId="ADAL" clId="{0D497945-B4BB-4CEE-BAAE-E72909B9B60B}" dt="2023-09-14T21:28:37.966" v="1567" actId="478"/>
          <ac:spMkLst>
            <pc:docMk/>
            <pc:sldMk cId="3547215524" sldId="1212"/>
            <ac:spMk id="47" creationId="{10E5F1C0-2683-964B-B5A6-C3E2AA8161F5}"/>
          </ac:spMkLst>
        </pc:spChg>
        <pc:spChg chg="del">
          <ac:chgData name="Franz MULLER" userId="79454339-e177-4ea3-bc97-d1e6b529622b" providerId="ADAL" clId="{0D497945-B4BB-4CEE-BAAE-E72909B9B60B}" dt="2023-09-14T21:28:45.192" v="1572" actId="478"/>
          <ac:spMkLst>
            <pc:docMk/>
            <pc:sldMk cId="3547215524" sldId="1212"/>
            <ac:spMk id="48" creationId="{6E0A9815-1D9E-3041-96DB-0EEB6BDE5D3D}"/>
          </ac:spMkLst>
        </pc:spChg>
        <pc:picChg chg="add del mod ord">
          <ac:chgData name="Franz MULLER" userId="79454339-e177-4ea3-bc97-d1e6b529622b" providerId="ADAL" clId="{0D497945-B4BB-4CEE-BAAE-E72909B9B60B}" dt="2023-09-14T21:28:35.856" v="1566" actId="478"/>
          <ac:picMkLst>
            <pc:docMk/>
            <pc:sldMk cId="3547215524" sldId="1212"/>
            <ac:picMk id="2" creationId="{76F9A091-879B-82A0-5035-7724E28A73B8}"/>
          </ac:picMkLst>
        </pc:picChg>
        <pc:picChg chg="del">
          <ac:chgData name="Franz MULLER" userId="79454339-e177-4ea3-bc97-d1e6b529622b" providerId="ADAL" clId="{0D497945-B4BB-4CEE-BAAE-E72909B9B60B}" dt="2023-09-14T21:28:27.662" v="1562" actId="478"/>
          <ac:picMkLst>
            <pc:docMk/>
            <pc:sldMk cId="3547215524" sldId="1212"/>
            <ac:picMk id="8" creationId="{19A10447-94FF-794B-BE79-C418838DD68C}"/>
          </ac:picMkLst>
        </pc:picChg>
        <pc:picChg chg="del">
          <ac:chgData name="Franz MULLER" userId="79454339-e177-4ea3-bc97-d1e6b529622b" providerId="ADAL" clId="{0D497945-B4BB-4CEE-BAAE-E72909B9B60B}" dt="2023-09-14T21:28:40.066" v="1569" actId="478"/>
          <ac:picMkLst>
            <pc:docMk/>
            <pc:sldMk cId="3547215524" sldId="1212"/>
            <ac:picMk id="49" creationId="{8B17E340-FEC3-0D41-8DDA-E181985DC5BC}"/>
          </ac:picMkLst>
        </pc:picChg>
        <pc:picChg chg="del">
          <ac:chgData name="Franz MULLER" userId="79454339-e177-4ea3-bc97-d1e6b529622b" providerId="ADAL" clId="{0D497945-B4BB-4CEE-BAAE-E72909B9B60B}" dt="2023-09-14T21:28:39.448" v="1568" actId="478"/>
          <ac:picMkLst>
            <pc:docMk/>
            <pc:sldMk cId="3547215524" sldId="1212"/>
            <ac:picMk id="51" creationId="{AD33C806-C1B1-5C46-9609-0E232369374F}"/>
          </ac:picMkLst>
        </pc:picChg>
        <pc:cxnChg chg="del">
          <ac:chgData name="Franz MULLER" userId="79454339-e177-4ea3-bc97-d1e6b529622b" providerId="ADAL" clId="{0D497945-B4BB-4CEE-BAAE-E72909B9B60B}" dt="2023-09-14T21:28:42.842" v="1571" actId="478"/>
          <ac:cxnSpMkLst>
            <pc:docMk/>
            <pc:sldMk cId="3547215524" sldId="1212"/>
            <ac:cxnSpMk id="50" creationId="{D221728C-8CDC-7E4F-9994-FD19CF00B321}"/>
          </ac:cxnSpMkLst>
        </pc:cxnChg>
        <pc:cxnChg chg="del">
          <ac:chgData name="Franz MULLER" userId="79454339-e177-4ea3-bc97-d1e6b529622b" providerId="ADAL" clId="{0D497945-B4BB-4CEE-BAAE-E72909B9B60B}" dt="2023-09-14T21:28:42.017" v="1570" actId="478"/>
          <ac:cxnSpMkLst>
            <pc:docMk/>
            <pc:sldMk cId="3547215524" sldId="1212"/>
            <ac:cxnSpMk id="52" creationId="{0F5D6D7A-B39B-4644-A7F2-0D1E97C37B06}"/>
          </ac:cxnSpMkLst>
        </pc:cxnChg>
      </pc:sldChg>
      <pc:sldChg chg="addSp delSp modSp add mod">
        <pc:chgData name="Franz MULLER" userId="79454339-e177-4ea3-bc97-d1e6b529622b" providerId="ADAL" clId="{0D497945-B4BB-4CEE-BAAE-E72909B9B60B}" dt="2023-09-22T17:24:37.081" v="6236"/>
        <pc:sldMkLst>
          <pc:docMk/>
          <pc:sldMk cId="2604695353" sldId="1214"/>
        </pc:sldMkLst>
        <pc:spChg chg="del">
          <ac:chgData name="Franz MULLER" userId="79454339-e177-4ea3-bc97-d1e6b529622b" providerId="ADAL" clId="{0D497945-B4BB-4CEE-BAAE-E72909B9B60B}" dt="2023-09-22T16:30:51.316" v="6223" actId="478"/>
          <ac:spMkLst>
            <pc:docMk/>
            <pc:sldMk cId="2604695353" sldId="1214"/>
            <ac:spMk id="26" creationId="{8BD7E1EA-5D38-5B4B-9686-7922FD6AD2E0}"/>
          </ac:spMkLst>
        </pc:spChg>
        <pc:spChg chg="mod">
          <ac:chgData name="Franz MULLER" userId="79454339-e177-4ea3-bc97-d1e6b529622b" providerId="ADAL" clId="{0D497945-B4BB-4CEE-BAAE-E72909B9B60B}" dt="2023-09-22T16:30:44.294" v="6221" actId="2711"/>
          <ac:spMkLst>
            <pc:docMk/>
            <pc:sldMk cId="2604695353" sldId="1214"/>
            <ac:spMk id="27" creationId="{8AF53198-38F8-3E41-A994-F161455F9710}"/>
          </ac:spMkLst>
        </pc:spChg>
        <pc:spChg chg="del">
          <ac:chgData name="Franz MULLER" userId="79454339-e177-4ea3-bc97-d1e6b529622b" providerId="ADAL" clId="{0D497945-B4BB-4CEE-BAAE-E72909B9B60B}" dt="2023-09-22T16:30:55.386" v="6227" actId="478"/>
          <ac:spMkLst>
            <pc:docMk/>
            <pc:sldMk cId="2604695353" sldId="1214"/>
            <ac:spMk id="28" creationId="{BE305F69-A33E-2343-AF25-729847BC74CD}"/>
          </ac:spMkLst>
        </pc:spChg>
        <pc:spChg chg="mod">
          <ac:chgData name="Franz MULLER" userId="79454339-e177-4ea3-bc97-d1e6b529622b" providerId="ADAL" clId="{0D497945-B4BB-4CEE-BAAE-E72909B9B60B}" dt="2023-09-22T16:29:56.530" v="6208" actId="6549"/>
          <ac:spMkLst>
            <pc:docMk/>
            <pc:sldMk cId="2604695353" sldId="1214"/>
            <ac:spMk id="31" creationId="{DC16B9FA-CC1B-E94E-A2B9-FA5C513926C0}"/>
          </ac:spMkLst>
        </pc:spChg>
        <pc:spChg chg="mod">
          <ac:chgData name="Franz MULLER" userId="79454339-e177-4ea3-bc97-d1e6b529622b" providerId="ADAL" clId="{0D497945-B4BB-4CEE-BAAE-E72909B9B60B}" dt="2023-09-22T16:30:38.158" v="6220" actId="2711"/>
          <ac:spMkLst>
            <pc:docMk/>
            <pc:sldMk cId="2604695353" sldId="1214"/>
            <ac:spMk id="34" creationId="{91DB7971-B1AD-1C4C-BAF6-29CB49712798}"/>
          </ac:spMkLst>
        </pc:spChg>
        <pc:spChg chg="mod">
          <ac:chgData name="Franz MULLER" userId="79454339-e177-4ea3-bc97-d1e6b529622b" providerId="ADAL" clId="{0D497945-B4BB-4CEE-BAAE-E72909B9B60B}" dt="2023-09-22T16:30:47.369" v="6222" actId="2711"/>
          <ac:spMkLst>
            <pc:docMk/>
            <pc:sldMk cId="2604695353" sldId="1214"/>
            <ac:spMk id="37" creationId="{B98979E2-48DE-B844-979D-C91F29134DDC}"/>
          </ac:spMkLst>
        </pc:spChg>
        <pc:picChg chg="add del mod ord">
          <ac:chgData name="Franz MULLER" userId="79454339-e177-4ea3-bc97-d1e6b529622b" providerId="ADAL" clId="{0D497945-B4BB-4CEE-BAAE-E72909B9B60B}" dt="2023-09-22T16:30:53.843" v="6226" actId="478"/>
          <ac:picMkLst>
            <pc:docMk/>
            <pc:sldMk cId="2604695353" sldId="1214"/>
            <ac:picMk id="2" creationId="{0E78C455-B146-C386-543B-54A42C45417B}"/>
          </ac:picMkLst>
        </pc:picChg>
        <pc:picChg chg="mod">
          <ac:chgData name="Franz MULLER" userId="79454339-e177-4ea3-bc97-d1e6b529622b" providerId="ADAL" clId="{0D497945-B4BB-4CEE-BAAE-E72909B9B60B}" dt="2023-09-22T17:24:27.547" v="6234"/>
          <ac:picMkLst>
            <pc:docMk/>
            <pc:sldMk cId="2604695353" sldId="1214"/>
            <ac:picMk id="6" creationId="{B361248C-7066-C344-B298-ADBA1662CDA3}"/>
          </ac:picMkLst>
        </pc:picChg>
        <pc:picChg chg="mod">
          <ac:chgData name="Franz MULLER" userId="79454339-e177-4ea3-bc97-d1e6b529622b" providerId="ADAL" clId="{0D497945-B4BB-4CEE-BAAE-E72909B9B60B}" dt="2023-09-22T17:24:37.081" v="6236"/>
          <ac:picMkLst>
            <pc:docMk/>
            <pc:sldMk cId="2604695353" sldId="1214"/>
            <ac:picMk id="8" creationId="{CC847326-DA12-8141-A04A-E244F548ABDA}"/>
          </ac:picMkLst>
        </pc:picChg>
        <pc:picChg chg="mod">
          <ac:chgData name="Franz MULLER" userId="79454339-e177-4ea3-bc97-d1e6b529622b" providerId="ADAL" clId="{0D497945-B4BB-4CEE-BAAE-E72909B9B60B}" dt="2023-09-22T17:24:31.331" v="6235"/>
          <ac:picMkLst>
            <pc:docMk/>
            <pc:sldMk cId="2604695353" sldId="1214"/>
            <ac:picMk id="12" creationId="{98E1D13B-2528-984A-8C6F-1D34215A2924}"/>
          </ac:picMkLst>
        </pc:picChg>
        <pc:picChg chg="del">
          <ac:chgData name="Franz MULLER" userId="79454339-e177-4ea3-bc97-d1e6b529622b" providerId="ADAL" clId="{0D497945-B4BB-4CEE-BAAE-E72909B9B60B}" dt="2023-09-22T16:29:12.781" v="6188" actId="478"/>
          <ac:picMkLst>
            <pc:docMk/>
            <pc:sldMk cId="2604695353" sldId="1214"/>
            <ac:picMk id="19" creationId="{C652166A-120F-604A-BC7F-84CB217805F7}"/>
          </ac:picMkLst>
        </pc:picChg>
        <pc:picChg chg="del">
          <ac:chgData name="Franz MULLER" userId="79454339-e177-4ea3-bc97-d1e6b529622b" providerId="ADAL" clId="{0D497945-B4BB-4CEE-BAAE-E72909B9B60B}" dt="2023-09-22T16:30:52.298" v="6224" actId="478"/>
          <ac:picMkLst>
            <pc:docMk/>
            <pc:sldMk cId="2604695353" sldId="1214"/>
            <ac:picMk id="30" creationId="{1A6D7B6D-7311-544E-BF6E-3BCED21CAC27}"/>
          </ac:picMkLst>
        </pc:picChg>
        <pc:picChg chg="del">
          <ac:chgData name="Franz MULLER" userId="79454339-e177-4ea3-bc97-d1e6b529622b" providerId="ADAL" clId="{0D497945-B4BB-4CEE-BAAE-E72909B9B60B}" dt="2023-09-22T16:30:57.127" v="6229" actId="478"/>
          <ac:picMkLst>
            <pc:docMk/>
            <pc:sldMk cId="2604695353" sldId="1214"/>
            <ac:picMk id="32" creationId="{DED19717-96A5-4F41-B3C0-525EA57F8112}"/>
          </ac:picMkLst>
        </pc:picChg>
        <pc:cxnChg chg="mod">
          <ac:chgData name="Franz MULLER" userId="79454339-e177-4ea3-bc97-d1e6b529622b" providerId="ADAL" clId="{0D497945-B4BB-4CEE-BAAE-E72909B9B60B}" dt="2023-09-22T16:31:03.261" v="6231" actId="13822"/>
          <ac:cxnSpMkLst>
            <pc:docMk/>
            <pc:sldMk cId="2604695353" sldId="1214"/>
            <ac:cxnSpMk id="4" creationId="{E46B9588-E47D-A04D-8F9C-C5900C5228E7}"/>
          </ac:cxnSpMkLst>
        </pc:cxnChg>
        <pc:cxnChg chg="del">
          <ac:chgData name="Franz MULLER" userId="79454339-e177-4ea3-bc97-d1e6b529622b" providerId="ADAL" clId="{0D497945-B4BB-4CEE-BAAE-E72909B9B60B}" dt="2023-09-22T16:30:59.364" v="6230" actId="478"/>
          <ac:cxnSpMkLst>
            <pc:docMk/>
            <pc:sldMk cId="2604695353" sldId="1214"/>
            <ac:cxnSpMk id="29" creationId="{C5890577-2E60-EF4A-9052-258DE6D9D5F6}"/>
          </ac:cxnSpMkLst>
        </pc:cxnChg>
        <pc:cxnChg chg="del">
          <ac:chgData name="Franz MULLER" userId="79454339-e177-4ea3-bc97-d1e6b529622b" providerId="ADAL" clId="{0D497945-B4BB-4CEE-BAAE-E72909B9B60B}" dt="2023-09-22T16:30:56.441" v="6228" actId="478"/>
          <ac:cxnSpMkLst>
            <pc:docMk/>
            <pc:sldMk cId="2604695353" sldId="1214"/>
            <ac:cxnSpMk id="33" creationId="{A01C5F74-E795-BF48-83AF-1675C3C03F66}"/>
          </ac:cxnSpMkLst>
        </pc:cxnChg>
      </pc:sldChg>
      <pc:sldChg chg="addSp delSp modSp add del mod">
        <pc:chgData name="Franz MULLER" userId="79454339-e177-4ea3-bc97-d1e6b529622b" providerId="ADAL" clId="{0D497945-B4BB-4CEE-BAAE-E72909B9B60B}" dt="2023-09-20T21:39:59.646" v="5606" actId="47"/>
        <pc:sldMkLst>
          <pc:docMk/>
          <pc:sldMk cId="2142270368" sldId="1215"/>
        </pc:sldMkLst>
        <pc:spChg chg="mod">
          <ac:chgData name="Franz MULLER" userId="79454339-e177-4ea3-bc97-d1e6b529622b" providerId="ADAL" clId="{0D497945-B4BB-4CEE-BAAE-E72909B9B60B}" dt="2023-09-14T20:51:10.519" v="957" actId="6549"/>
          <ac:spMkLst>
            <pc:docMk/>
            <pc:sldMk cId="2142270368" sldId="1215"/>
            <ac:spMk id="20" creationId="{BABEA733-CFFC-E84E-89CF-148C4BB82E7B}"/>
          </ac:spMkLst>
        </pc:spChg>
        <pc:spChg chg="mod">
          <ac:chgData name="Franz MULLER" userId="79454339-e177-4ea3-bc97-d1e6b529622b" providerId="ADAL" clId="{0D497945-B4BB-4CEE-BAAE-E72909B9B60B}" dt="2023-09-14T20:51:25.646" v="961" actId="113"/>
          <ac:spMkLst>
            <pc:docMk/>
            <pc:sldMk cId="2142270368" sldId="1215"/>
            <ac:spMk id="31" creationId="{DC16B9FA-CC1B-E94E-A2B9-FA5C513926C0}"/>
          </ac:spMkLst>
        </pc:spChg>
        <pc:spChg chg="mod">
          <ac:chgData name="Franz MULLER" userId="79454339-e177-4ea3-bc97-d1e6b529622b" providerId="ADAL" clId="{0D497945-B4BB-4CEE-BAAE-E72909B9B60B}" dt="2023-09-14T20:51:29.847" v="963" actId="113"/>
          <ac:spMkLst>
            <pc:docMk/>
            <pc:sldMk cId="2142270368" sldId="1215"/>
            <ac:spMk id="32" creationId="{C39F77E6-1172-144B-BB09-7DB0BB2AEFAE}"/>
          </ac:spMkLst>
        </pc:spChg>
        <pc:spChg chg="mod">
          <ac:chgData name="Franz MULLER" userId="79454339-e177-4ea3-bc97-d1e6b529622b" providerId="ADAL" clId="{0D497945-B4BB-4CEE-BAAE-E72909B9B60B}" dt="2023-09-14T20:51:34.638" v="965" actId="113"/>
          <ac:spMkLst>
            <pc:docMk/>
            <pc:sldMk cId="2142270368" sldId="1215"/>
            <ac:spMk id="33" creationId="{2D3F28F5-5743-7447-88EE-E37C5A634107}"/>
          </ac:spMkLst>
        </pc:spChg>
        <pc:spChg chg="del">
          <ac:chgData name="Franz MULLER" userId="79454339-e177-4ea3-bc97-d1e6b529622b" providerId="ADAL" clId="{0D497945-B4BB-4CEE-BAAE-E72909B9B60B}" dt="2023-09-14T20:50:45.207" v="883" actId="478"/>
          <ac:spMkLst>
            <pc:docMk/>
            <pc:sldMk cId="2142270368" sldId="1215"/>
            <ac:spMk id="36" creationId="{EBC4AC58-ADC3-1C4C-B9D5-4007F7854FC6}"/>
          </ac:spMkLst>
        </pc:spChg>
        <pc:picChg chg="add del">
          <ac:chgData name="Franz MULLER" userId="79454339-e177-4ea3-bc97-d1e6b529622b" providerId="ADAL" clId="{0D497945-B4BB-4CEE-BAAE-E72909B9B60B}" dt="2023-09-14T20:51:13.928" v="959" actId="478"/>
          <ac:picMkLst>
            <pc:docMk/>
            <pc:sldMk cId="2142270368" sldId="1215"/>
            <ac:picMk id="35" creationId="{AC4FD967-EB10-AC47-864E-D64F90ACC2A5}"/>
          </ac:picMkLst>
        </pc:picChg>
        <pc:picChg chg="del">
          <ac:chgData name="Franz MULLER" userId="79454339-e177-4ea3-bc97-d1e6b529622b" providerId="ADAL" clId="{0D497945-B4BB-4CEE-BAAE-E72909B9B60B}" dt="2023-09-14T20:50:43.292" v="882" actId="478"/>
          <ac:picMkLst>
            <pc:docMk/>
            <pc:sldMk cId="2142270368" sldId="1215"/>
            <ac:picMk id="37" creationId="{A78B0922-B6F5-1840-8AC7-10ED776320AC}"/>
          </ac:picMkLst>
        </pc:picChg>
        <pc:picChg chg="del">
          <ac:chgData name="Franz MULLER" userId="79454339-e177-4ea3-bc97-d1e6b529622b" providerId="ADAL" clId="{0D497945-B4BB-4CEE-BAAE-E72909B9B60B}" dt="2023-09-14T20:50:52.903" v="888" actId="478"/>
          <ac:picMkLst>
            <pc:docMk/>
            <pc:sldMk cId="2142270368" sldId="1215"/>
            <ac:picMk id="39" creationId="{C38BDD67-98BD-9443-8560-5C533BF8E78E}"/>
          </ac:picMkLst>
        </pc:picChg>
        <pc:cxnChg chg="del">
          <ac:chgData name="Franz MULLER" userId="79454339-e177-4ea3-bc97-d1e6b529622b" providerId="ADAL" clId="{0D497945-B4BB-4CEE-BAAE-E72909B9B60B}" dt="2023-09-14T20:50:47.177" v="884" actId="478"/>
          <ac:cxnSpMkLst>
            <pc:docMk/>
            <pc:sldMk cId="2142270368" sldId="1215"/>
            <ac:cxnSpMk id="38" creationId="{A780280D-78EF-DF4C-AB89-56AAA531E00E}"/>
          </ac:cxnSpMkLst>
        </pc:cxnChg>
        <pc:cxnChg chg="del">
          <ac:chgData name="Franz MULLER" userId="79454339-e177-4ea3-bc97-d1e6b529622b" providerId="ADAL" clId="{0D497945-B4BB-4CEE-BAAE-E72909B9B60B}" dt="2023-09-14T20:50:51.902" v="887" actId="478"/>
          <ac:cxnSpMkLst>
            <pc:docMk/>
            <pc:sldMk cId="2142270368" sldId="1215"/>
            <ac:cxnSpMk id="40" creationId="{D323D2EA-AA05-BC48-A9B9-4B69260B9841}"/>
          </ac:cxnSpMkLst>
        </pc:cxnChg>
      </pc:sldChg>
      <pc:sldChg chg="add">
        <pc:chgData name="Franz MULLER" userId="79454339-e177-4ea3-bc97-d1e6b529622b" providerId="ADAL" clId="{0D497945-B4BB-4CEE-BAAE-E72909B9B60B}" dt="2023-09-22T18:11:56.677" v="6868"/>
        <pc:sldMkLst>
          <pc:docMk/>
          <pc:sldMk cId="2708048075" sldId="1216"/>
        </pc:sldMkLst>
      </pc:sldChg>
      <pc:sldChg chg="add del">
        <pc:chgData name="Franz MULLER" userId="79454339-e177-4ea3-bc97-d1e6b529622b" providerId="ADAL" clId="{0D497945-B4BB-4CEE-BAAE-E72909B9B60B}" dt="2023-09-22T16:25:05.740" v="6159" actId="47"/>
        <pc:sldMkLst>
          <pc:docMk/>
          <pc:sldMk cId="635598527" sldId="1265"/>
        </pc:sldMkLst>
      </pc:sldChg>
      <pc:sldChg chg="add del">
        <pc:chgData name="Franz MULLER" userId="79454339-e177-4ea3-bc97-d1e6b529622b" providerId="ADAL" clId="{0D497945-B4BB-4CEE-BAAE-E72909B9B60B}" dt="2023-09-22T16:25:07.276" v="6161" actId="47"/>
        <pc:sldMkLst>
          <pc:docMk/>
          <pc:sldMk cId="2660576766" sldId="1266"/>
        </pc:sldMkLst>
      </pc:sldChg>
      <pc:sldChg chg="addSp delSp modSp add mod ord">
        <pc:chgData name="Franz MULLER" userId="79454339-e177-4ea3-bc97-d1e6b529622b" providerId="ADAL" clId="{0D497945-B4BB-4CEE-BAAE-E72909B9B60B}" dt="2023-09-22T16:27:27.261" v="6183" actId="478"/>
        <pc:sldMkLst>
          <pc:docMk/>
          <pc:sldMk cId="446057455" sldId="3146"/>
        </pc:sldMkLst>
        <pc:spChg chg="add del mod">
          <ac:chgData name="Franz MULLER" userId="79454339-e177-4ea3-bc97-d1e6b529622b" providerId="ADAL" clId="{0D497945-B4BB-4CEE-BAAE-E72909B9B60B}" dt="2023-09-20T21:34:46.021" v="5561"/>
          <ac:spMkLst>
            <pc:docMk/>
            <pc:sldMk cId="446057455" sldId="3146"/>
            <ac:spMk id="2" creationId="{F0E21588-113E-4038-CF78-92040A8F4DD4}"/>
          </ac:spMkLst>
        </pc:spChg>
        <pc:spChg chg="add del mod">
          <ac:chgData name="Franz MULLER" userId="79454339-e177-4ea3-bc97-d1e6b529622b" providerId="ADAL" clId="{0D497945-B4BB-4CEE-BAAE-E72909B9B60B}" dt="2023-09-22T16:27:27.261" v="6183" actId="478"/>
          <ac:spMkLst>
            <pc:docMk/>
            <pc:sldMk cId="446057455" sldId="3146"/>
            <ac:spMk id="3" creationId="{737CB1EF-DB48-5FBD-409E-0899B9734AA6}"/>
          </ac:spMkLst>
        </pc:spChg>
        <pc:spChg chg="mod ord">
          <ac:chgData name="Franz MULLER" userId="79454339-e177-4ea3-bc97-d1e6b529622b" providerId="ADAL" clId="{0D497945-B4BB-4CEE-BAAE-E72909B9B60B}" dt="2023-09-22T11:53:33.370" v="5984" actId="166"/>
          <ac:spMkLst>
            <pc:docMk/>
            <pc:sldMk cId="446057455" sldId="3146"/>
            <ac:spMk id="13" creationId="{76750BD4-C216-7146-9AD9-5F2D23DF4D4F}"/>
          </ac:spMkLst>
        </pc:spChg>
        <pc:spChg chg="mod ord">
          <ac:chgData name="Franz MULLER" userId="79454339-e177-4ea3-bc97-d1e6b529622b" providerId="ADAL" clId="{0D497945-B4BB-4CEE-BAAE-E72909B9B60B}" dt="2023-09-22T11:55:02.352" v="6032" actId="1038"/>
          <ac:spMkLst>
            <pc:docMk/>
            <pc:sldMk cId="446057455" sldId="3146"/>
            <ac:spMk id="14" creationId="{7B028E4B-DA68-DB44-B02D-039EB5EDF1AC}"/>
          </ac:spMkLst>
        </pc:spChg>
        <pc:spChg chg="mod ord">
          <ac:chgData name="Franz MULLER" userId="79454339-e177-4ea3-bc97-d1e6b529622b" providerId="ADAL" clId="{0D497945-B4BB-4CEE-BAAE-E72909B9B60B}" dt="2023-09-22T11:54:56.879" v="6025" actId="1038"/>
          <ac:spMkLst>
            <pc:docMk/>
            <pc:sldMk cId="446057455" sldId="3146"/>
            <ac:spMk id="15" creationId="{07BDFBFA-E16F-0C4F-9442-A688C8FBC6A4}"/>
          </ac:spMkLst>
        </pc:spChg>
        <pc:spChg chg="ord">
          <ac:chgData name="Franz MULLER" userId="79454339-e177-4ea3-bc97-d1e6b529622b" providerId="ADAL" clId="{0D497945-B4BB-4CEE-BAAE-E72909B9B60B}" dt="2023-09-22T11:53:33.370" v="5984" actId="166"/>
          <ac:spMkLst>
            <pc:docMk/>
            <pc:sldMk cId="446057455" sldId="3146"/>
            <ac:spMk id="16" creationId="{72F65926-4873-7848-BB8A-5B54FAEC2353}"/>
          </ac:spMkLst>
        </pc:spChg>
        <pc:spChg chg="mod ord">
          <ac:chgData name="Franz MULLER" userId="79454339-e177-4ea3-bc97-d1e6b529622b" providerId="ADAL" clId="{0D497945-B4BB-4CEE-BAAE-E72909B9B60B}" dt="2023-09-22T11:53:33.370" v="5984" actId="166"/>
          <ac:spMkLst>
            <pc:docMk/>
            <pc:sldMk cId="446057455" sldId="3146"/>
            <ac:spMk id="20" creationId="{97E4254A-E4D9-0F4F-9653-0EAF647DF7F1}"/>
          </ac:spMkLst>
        </pc:spChg>
        <pc:spChg chg="mod ord">
          <ac:chgData name="Franz MULLER" userId="79454339-e177-4ea3-bc97-d1e6b529622b" providerId="ADAL" clId="{0D497945-B4BB-4CEE-BAAE-E72909B9B60B}" dt="2023-09-22T11:55:02.352" v="6032" actId="1038"/>
          <ac:spMkLst>
            <pc:docMk/>
            <pc:sldMk cId="446057455" sldId="3146"/>
            <ac:spMk id="21" creationId="{195753B5-FB8E-A645-B402-44656EAB8659}"/>
          </ac:spMkLst>
        </pc:spChg>
        <pc:spChg chg="mod ord">
          <ac:chgData name="Franz MULLER" userId="79454339-e177-4ea3-bc97-d1e6b529622b" providerId="ADAL" clId="{0D497945-B4BB-4CEE-BAAE-E72909B9B60B}" dt="2023-09-22T11:54:56.879" v="6025" actId="1038"/>
          <ac:spMkLst>
            <pc:docMk/>
            <pc:sldMk cId="446057455" sldId="3146"/>
            <ac:spMk id="22" creationId="{9DCAB336-74F8-DA42-945A-E5D518FEFDEF}"/>
          </ac:spMkLst>
        </pc:spChg>
        <pc:spChg chg="ord">
          <ac:chgData name="Franz MULLER" userId="79454339-e177-4ea3-bc97-d1e6b529622b" providerId="ADAL" clId="{0D497945-B4BB-4CEE-BAAE-E72909B9B60B}" dt="2023-09-22T11:53:33.370" v="5984" actId="166"/>
          <ac:spMkLst>
            <pc:docMk/>
            <pc:sldMk cId="446057455" sldId="3146"/>
            <ac:spMk id="23" creationId="{50E41226-3096-4642-AE41-11A5E9843DF4}"/>
          </ac:spMkLst>
        </pc:spChg>
        <pc:spChg chg="mod ord">
          <ac:chgData name="Franz MULLER" userId="79454339-e177-4ea3-bc97-d1e6b529622b" providerId="ADAL" clId="{0D497945-B4BB-4CEE-BAAE-E72909B9B60B}" dt="2023-09-22T16:26:58.290" v="6180" actId="1076"/>
          <ac:spMkLst>
            <pc:docMk/>
            <pc:sldMk cId="446057455" sldId="3146"/>
            <ac:spMk id="32" creationId="{96181BBC-55AA-CF4B-A8AC-E76382AE0A5A}"/>
          </ac:spMkLst>
        </pc:spChg>
        <pc:picChg chg="add del mod">
          <ac:chgData name="Franz MULLER" userId="79454339-e177-4ea3-bc97-d1e6b529622b" providerId="ADAL" clId="{0D497945-B4BB-4CEE-BAAE-E72909B9B60B}" dt="2023-09-22T16:26:23.136" v="6175" actId="478"/>
          <ac:picMkLst>
            <pc:docMk/>
            <pc:sldMk cId="446057455" sldId="3146"/>
            <ac:picMk id="4" creationId="{AA72355D-B910-6859-2783-F94909A9063F}"/>
          </ac:picMkLst>
        </pc:picChg>
        <pc:picChg chg="add mod ord">
          <ac:chgData name="Franz MULLER" userId="79454339-e177-4ea3-bc97-d1e6b529622b" providerId="ADAL" clId="{0D497945-B4BB-4CEE-BAAE-E72909B9B60B}" dt="2023-09-22T16:26:30.035" v="6177" actId="167"/>
          <ac:picMkLst>
            <pc:docMk/>
            <pc:sldMk cId="446057455" sldId="3146"/>
            <ac:picMk id="5" creationId="{5BCB0898-69F5-6071-4C9B-2CA06E632E7F}"/>
          </ac:picMkLst>
        </pc:picChg>
        <pc:picChg chg="del">
          <ac:chgData name="Franz MULLER" userId="79454339-e177-4ea3-bc97-d1e6b529622b" providerId="ADAL" clId="{0D497945-B4BB-4CEE-BAAE-E72909B9B60B}" dt="2023-09-21T22:34:48.281" v="5731" actId="478"/>
          <ac:picMkLst>
            <pc:docMk/>
            <pc:sldMk cId="446057455" sldId="3146"/>
            <ac:picMk id="31" creationId="{EBFB377D-CF16-BF4F-831C-01A04592743F}"/>
          </ac:picMkLst>
        </pc:picChg>
      </pc:sldChg>
      <pc:sldChg chg="delSp modSp add del mod ord">
        <pc:chgData name="Franz MULLER" userId="79454339-e177-4ea3-bc97-d1e6b529622b" providerId="ADAL" clId="{0D497945-B4BB-4CEE-BAAE-E72909B9B60B}" dt="2023-09-22T11:50:53.714" v="5973" actId="47"/>
        <pc:sldMkLst>
          <pc:docMk/>
          <pc:sldMk cId="3326794832" sldId="9196"/>
        </pc:sldMkLst>
        <pc:spChg chg="mod">
          <ac:chgData name="Franz MULLER" userId="79454339-e177-4ea3-bc97-d1e6b529622b" providerId="ADAL" clId="{0D497945-B4BB-4CEE-BAAE-E72909B9B60B}" dt="2023-09-20T14:53:50.918" v="3175"/>
          <ac:spMkLst>
            <pc:docMk/>
            <pc:sldMk cId="3326794832" sldId="9196"/>
            <ac:spMk id="7" creationId="{24F3F76A-30C0-4849-A06B-FDB7539F2607}"/>
          </ac:spMkLst>
        </pc:spChg>
        <pc:spChg chg="mod">
          <ac:chgData name="Franz MULLER" userId="79454339-e177-4ea3-bc97-d1e6b529622b" providerId="ADAL" clId="{0D497945-B4BB-4CEE-BAAE-E72909B9B60B}" dt="2023-09-20T14:54:49.628" v="3239" actId="20577"/>
          <ac:spMkLst>
            <pc:docMk/>
            <pc:sldMk cId="3326794832" sldId="9196"/>
            <ac:spMk id="10" creationId="{091C5F8E-633C-4778-8792-CF7F65A60C80}"/>
          </ac:spMkLst>
        </pc:spChg>
        <pc:picChg chg="mod">
          <ac:chgData name="Franz MULLER" userId="79454339-e177-4ea3-bc97-d1e6b529622b" providerId="ADAL" clId="{0D497945-B4BB-4CEE-BAAE-E72909B9B60B}" dt="2023-09-20T14:54:03.391" v="3177" actId="1076"/>
          <ac:picMkLst>
            <pc:docMk/>
            <pc:sldMk cId="3326794832" sldId="9196"/>
            <ac:picMk id="6" creationId="{2E0EA776-0A3B-4980-A456-DA17333F0D1E}"/>
          </ac:picMkLst>
        </pc:picChg>
        <pc:picChg chg="del">
          <ac:chgData name="Franz MULLER" userId="79454339-e177-4ea3-bc97-d1e6b529622b" providerId="ADAL" clId="{0D497945-B4BB-4CEE-BAAE-E72909B9B60B}" dt="2023-09-20T13:14:57.467" v="2688" actId="478"/>
          <ac:picMkLst>
            <pc:docMk/>
            <pc:sldMk cId="3326794832" sldId="9196"/>
            <ac:picMk id="12" creationId="{2DE1833E-67FF-447A-AE08-FC5CFC6554A1}"/>
          </ac:picMkLst>
        </pc:picChg>
        <pc:cxnChg chg="del">
          <ac:chgData name="Franz MULLER" userId="79454339-e177-4ea3-bc97-d1e6b529622b" providerId="ADAL" clId="{0D497945-B4BB-4CEE-BAAE-E72909B9B60B}" dt="2023-09-20T13:15:00.511" v="2689" actId="478"/>
          <ac:cxnSpMkLst>
            <pc:docMk/>
            <pc:sldMk cId="3326794832" sldId="9196"/>
            <ac:cxnSpMk id="15" creationId="{D2666B2D-97BD-4843-B36E-8302C6D7C21D}"/>
          </ac:cxnSpMkLst>
        </pc:cxnChg>
      </pc:sldChg>
      <pc:sldChg chg="addSp delSp modSp add mod">
        <pc:chgData name="Franz MULLER" userId="79454339-e177-4ea3-bc97-d1e6b529622b" providerId="ADAL" clId="{0D497945-B4BB-4CEE-BAAE-E72909B9B60B}" dt="2023-09-22T16:22:37.167" v="6153" actId="20577"/>
        <pc:sldMkLst>
          <pc:docMk/>
          <pc:sldMk cId="3736548232" sldId="9202"/>
        </pc:sldMkLst>
        <pc:spChg chg="add del mod">
          <ac:chgData name="Franz MULLER" userId="79454339-e177-4ea3-bc97-d1e6b529622b" providerId="ADAL" clId="{0D497945-B4BB-4CEE-BAAE-E72909B9B60B}" dt="2023-09-22T11:47:39.141" v="5829" actId="478"/>
          <ac:spMkLst>
            <pc:docMk/>
            <pc:sldMk cId="3736548232" sldId="9202"/>
            <ac:spMk id="5" creationId="{FCD6CD26-067B-C9E9-B29E-DAC52D218B73}"/>
          </ac:spMkLst>
        </pc:spChg>
        <pc:spChg chg="add mod">
          <ac:chgData name="Franz MULLER" userId="79454339-e177-4ea3-bc97-d1e6b529622b" providerId="ADAL" clId="{0D497945-B4BB-4CEE-BAAE-E72909B9B60B}" dt="2023-09-22T11:51:19.882" v="5975" actId="1076"/>
          <ac:spMkLst>
            <pc:docMk/>
            <pc:sldMk cId="3736548232" sldId="9202"/>
            <ac:spMk id="6" creationId="{AC818B96-3CBB-C1C9-8F88-BE36E163E87C}"/>
          </ac:spMkLst>
        </pc:spChg>
        <pc:spChg chg="add mod">
          <ac:chgData name="Franz MULLER" userId="79454339-e177-4ea3-bc97-d1e6b529622b" providerId="ADAL" clId="{0D497945-B4BB-4CEE-BAAE-E72909B9B60B}" dt="2023-09-22T16:22:37.167" v="6153" actId="20577"/>
          <ac:spMkLst>
            <pc:docMk/>
            <pc:sldMk cId="3736548232" sldId="9202"/>
            <ac:spMk id="8" creationId="{8D7966B2-B431-ECAB-D299-D4F113436575}"/>
          </ac:spMkLst>
        </pc:spChg>
        <pc:spChg chg="del">
          <ac:chgData name="Franz MULLER" userId="79454339-e177-4ea3-bc97-d1e6b529622b" providerId="ADAL" clId="{0D497945-B4BB-4CEE-BAAE-E72909B9B60B}" dt="2023-09-22T11:47:36.351" v="5828" actId="478"/>
          <ac:spMkLst>
            <pc:docMk/>
            <pc:sldMk cId="3736548232" sldId="9202"/>
            <ac:spMk id="33" creationId="{00000000-0000-0000-0000-000000000000}"/>
          </ac:spMkLst>
        </pc:spChg>
        <pc:spChg chg="del mod">
          <ac:chgData name="Franz MULLER" userId="79454339-e177-4ea3-bc97-d1e6b529622b" providerId="ADAL" clId="{0D497945-B4BB-4CEE-BAAE-E72909B9B60B}" dt="2023-09-22T11:48:49.243" v="5954" actId="478"/>
          <ac:spMkLst>
            <pc:docMk/>
            <pc:sldMk cId="3736548232" sldId="9202"/>
            <ac:spMk id="67" creationId="{45A1A02E-2AE1-43B9-8F45-C6CEE88EBB0D}"/>
          </ac:spMkLst>
        </pc:spChg>
        <pc:spChg chg="del mod">
          <ac:chgData name="Franz MULLER" userId="79454339-e177-4ea3-bc97-d1e6b529622b" providerId="ADAL" clId="{0D497945-B4BB-4CEE-BAAE-E72909B9B60B}" dt="2023-09-22T11:48:40.779" v="5951"/>
          <ac:spMkLst>
            <pc:docMk/>
            <pc:sldMk cId="3736548232" sldId="9202"/>
            <ac:spMk id="68" creationId="{636B7D4F-5480-4BCC-8E22-72940B96F7F9}"/>
          </ac:spMkLst>
        </pc:spChg>
        <pc:spChg chg="del mod">
          <ac:chgData name="Franz MULLER" userId="79454339-e177-4ea3-bc97-d1e6b529622b" providerId="ADAL" clId="{0D497945-B4BB-4CEE-BAAE-E72909B9B60B}" dt="2023-09-22T11:48:32.251" v="5947" actId="478"/>
          <ac:spMkLst>
            <pc:docMk/>
            <pc:sldMk cId="3736548232" sldId="9202"/>
            <ac:spMk id="69" creationId="{74A30DF5-F8C4-49AD-A895-974E0F62B771}"/>
          </ac:spMkLst>
        </pc:spChg>
        <pc:spChg chg="mod">
          <ac:chgData name="Franz MULLER" userId="79454339-e177-4ea3-bc97-d1e6b529622b" providerId="ADAL" clId="{0D497945-B4BB-4CEE-BAAE-E72909B9B60B}" dt="2023-09-22T11:48:18.729" v="5945" actId="14100"/>
          <ac:spMkLst>
            <pc:docMk/>
            <pc:sldMk cId="3736548232" sldId="9202"/>
            <ac:spMk id="71" creationId="{346C3DFA-19EB-4CA6-AFFC-9C66276B0A02}"/>
          </ac:spMkLst>
        </pc:spChg>
        <pc:spChg chg="mod">
          <ac:chgData name="Franz MULLER" userId="79454339-e177-4ea3-bc97-d1e6b529622b" providerId="ADAL" clId="{0D497945-B4BB-4CEE-BAAE-E72909B9B60B}" dt="2023-09-22T11:49:30.841" v="5956" actId="1076"/>
          <ac:spMkLst>
            <pc:docMk/>
            <pc:sldMk cId="3736548232" sldId="9202"/>
            <ac:spMk id="91" creationId="{00000000-0000-0000-0000-000000000000}"/>
          </ac:spMkLst>
        </pc:spChg>
        <pc:spChg chg="mod">
          <ac:chgData name="Franz MULLER" userId="79454339-e177-4ea3-bc97-d1e6b529622b" providerId="ADAL" clId="{0D497945-B4BB-4CEE-BAAE-E72909B9B60B}" dt="2023-09-22T11:49:30.841" v="5956" actId="1076"/>
          <ac:spMkLst>
            <pc:docMk/>
            <pc:sldMk cId="3736548232" sldId="9202"/>
            <ac:spMk id="92" creationId="{00000000-0000-0000-0000-000000000000}"/>
          </ac:spMkLst>
        </pc:spChg>
        <pc:spChg chg="mod">
          <ac:chgData name="Franz MULLER" userId="79454339-e177-4ea3-bc97-d1e6b529622b" providerId="ADAL" clId="{0D497945-B4BB-4CEE-BAAE-E72909B9B60B}" dt="2023-09-22T11:49:30.841" v="5956" actId="1076"/>
          <ac:spMkLst>
            <pc:docMk/>
            <pc:sldMk cId="3736548232" sldId="9202"/>
            <ac:spMk id="93" creationId="{00000000-0000-0000-0000-000000000000}"/>
          </ac:spMkLst>
        </pc:spChg>
        <pc:spChg chg="del mod">
          <ac:chgData name="Franz MULLER" userId="79454339-e177-4ea3-bc97-d1e6b529622b" providerId="ADAL" clId="{0D497945-B4BB-4CEE-BAAE-E72909B9B60B}" dt="2023-09-22T11:49:31.875" v="5957" actId="478"/>
          <ac:spMkLst>
            <pc:docMk/>
            <pc:sldMk cId="3736548232" sldId="9202"/>
            <ac:spMk id="101" creationId="{00000000-0000-0000-0000-000000000000}"/>
          </ac:spMkLst>
        </pc:spChg>
        <pc:grpChg chg="mod">
          <ac:chgData name="Franz MULLER" userId="79454339-e177-4ea3-bc97-d1e6b529622b" providerId="ADAL" clId="{0D497945-B4BB-4CEE-BAAE-E72909B9B60B}" dt="2023-09-22T12:09:07.964" v="6048" actId="1076"/>
          <ac:grpSpMkLst>
            <pc:docMk/>
            <pc:sldMk cId="3736548232" sldId="9202"/>
            <ac:grpSpMk id="2" creationId="{FA8B36A1-4577-6646-992D-3318CB2B1834}"/>
          </ac:grpSpMkLst>
        </pc:grpChg>
        <pc:grpChg chg="mod">
          <ac:chgData name="Franz MULLER" userId="79454339-e177-4ea3-bc97-d1e6b529622b" providerId="ADAL" clId="{0D497945-B4BB-4CEE-BAAE-E72909B9B60B}" dt="2023-09-22T11:48:26.542" v="5946" actId="1076"/>
          <ac:grpSpMkLst>
            <pc:docMk/>
            <pc:sldMk cId="3736548232" sldId="9202"/>
            <ac:grpSpMk id="72" creationId="{9678C6AE-066F-40C8-B033-193543E0FA56}"/>
          </ac:grpSpMkLst>
        </pc:grpChg>
        <pc:grpChg chg="del mod">
          <ac:chgData name="Franz MULLER" userId="79454339-e177-4ea3-bc97-d1e6b529622b" providerId="ADAL" clId="{0D497945-B4BB-4CEE-BAAE-E72909B9B60B}" dt="2023-09-22T11:49:31.875" v="5957" actId="478"/>
          <ac:grpSpMkLst>
            <pc:docMk/>
            <pc:sldMk cId="3736548232" sldId="9202"/>
            <ac:grpSpMk id="90" creationId="{00000000-0000-0000-0000-000000000000}"/>
          </ac:grpSpMkLst>
        </pc:grpChg>
      </pc:sldChg>
      <pc:sldChg chg="add">
        <pc:chgData name="Franz MULLER" userId="79454339-e177-4ea3-bc97-d1e6b529622b" providerId="ADAL" clId="{0D497945-B4BB-4CEE-BAAE-E72909B9B60B}" dt="2023-09-14T01:54:29.509" v="75"/>
        <pc:sldMkLst>
          <pc:docMk/>
          <pc:sldMk cId="2241170636" sldId="2134808164"/>
        </pc:sldMkLst>
      </pc:sldChg>
      <pc:sldChg chg="modSp add del mod">
        <pc:chgData name="Franz MULLER" userId="79454339-e177-4ea3-bc97-d1e6b529622b" providerId="ADAL" clId="{0D497945-B4BB-4CEE-BAAE-E72909B9B60B}" dt="2023-09-20T12:50:46.438" v="2621" actId="47"/>
        <pc:sldMkLst>
          <pc:docMk/>
          <pc:sldMk cId="225791183" sldId="2134808635"/>
        </pc:sldMkLst>
        <pc:spChg chg="mod">
          <ac:chgData name="Franz MULLER" userId="79454339-e177-4ea3-bc97-d1e6b529622b" providerId="ADAL" clId="{0D497945-B4BB-4CEE-BAAE-E72909B9B60B}" dt="2023-09-20T12:49:57.260" v="2619" actId="1076"/>
          <ac:spMkLst>
            <pc:docMk/>
            <pc:sldMk cId="225791183" sldId="2134808635"/>
            <ac:spMk id="46" creationId="{C9E085C8-DCF4-41B1-A1DA-153E26EF3C21}"/>
          </ac:spMkLst>
        </pc:spChg>
      </pc:sldChg>
      <pc:sldChg chg="del">
        <pc:chgData name="Franz MULLER" userId="79454339-e177-4ea3-bc97-d1e6b529622b" providerId="ADAL" clId="{0D497945-B4BB-4CEE-BAAE-E72909B9B60B}" dt="2023-09-22T16:25:20.372" v="6162" actId="47"/>
        <pc:sldMkLst>
          <pc:docMk/>
          <pc:sldMk cId="3507056898" sldId="2146846668"/>
        </pc:sldMkLst>
      </pc:sldChg>
      <pc:sldChg chg="add del">
        <pc:chgData name="Franz MULLER" userId="79454339-e177-4ea3-bc97-d1e6b529622b" providerId="ADAL" clId="{0D497945-B4BB-4CEE-BAAE-E72909B9B60B}" dt="2023-09-20T22:12:09.924" v="5708" actId="47"/>
        <pc:sldMkLst>
          <pc:docMk/>
          <pc:sldMk cId="552106348" sldId="2146846790"/>
        </pc:sldMkLst>
      </pc:sldChg>
      <pc:sldChg chg="addSp delSp modSp add del mod">
        <pc:chgData name="Franz MULLER" userId="79454339-e177-4ea3-bc97-d1e6b529622b" providerId="ADAL" clId="{0D497945-B4BB-4CEE-BAAE-E72909B9B60B}" dt="2023-09-22T17:42:02.151" v="6566" actId="47"/>
        <pc:sldMkLst>
          <pc:docMk/>
          <pc:sldMk cId="1635542138" sldId="2146846798"/>
        </pc:sldMkLst>
        <pc:spChg chg="del">
          <ac:chgData name="Franz MULLER" userId="79454339-e177-4ea3-bc97-d1e6b529622b" providerId="ADAL" clId="{0D497945-B4BB-4CEE-BAAE-E72909B9B60B}" dt="2023-09-22T17:38:53.509" v="6539" actId="478"/>
          <ac:spMkLst>
            <pc:docMk/>
            <pc:sldMk cId="1635542138" sldId="2146846798"/>
            <ac:spMk id="20" creationId="{9431A548-B479-60BB-6AAD-C55DA4737712}"/>
          </ac:spMkLst>
        </pc:spChg>
        <pc:spChg chg="del">
          <ac:chgData name="Franz MULLER" userId="79454339-e177-4ea3-bc97-d1e6b529622b" providerId="ADAL" clId="{0D497945-B4BB-4CEE-BAAE-E72909B9B60B}" dt="2023-09-22T17:39:12.325" v="6541" actId="478"/>
          <ac:spMkLst>
            <pc:docMk/>
            <pc:sldMk cId="1635542138" sldId="2146846798"/>
            <ac:spMk id="21" creationId="{C7B1E32F-3EFE-E620-F465-D6BE30D8B1FB}"/>
          </ac:spMkLst>
        </pc:spChg>
        <pc:spChg chg="mod">
          <ac:chgData name="Franz MULLER" userId="79454339-e177-4ea3-bc97-d1e6b529622b" providerId="ADAL" clId="{0D497945-B4BB-4CEE-BAAE-E72909B9B60B}" dt="2023-09-22T17:38:33.461" v="6534" actId="1076"/>
          <ac:spMkLst>
            <pc:docMk/>
            <pc:sldMk cId="1635542138" sldId="2146846798"/>
            <ac:spMk id="23" creationId="{7449BA94-1C06-8E88-8E9C-A6EB6EA99E43}"/>
          </ac:spMkLst>
        </pc:spChg>
        <pc:graphicFrameChg chg="del mod">
          <ac:chgData name="Franz MULLER" userId="79454339-e177-4ea3-bc97-d1e6b529622b" providerId="ADAL" clId="{0D497945-B4BB-4CEE-BAAE-E72909B9B60B}" dt="2023-09-22T17:39:10.252" v="6540" actId="478"/>
          <ac:graphicFrameMkLst>
            <pc:docMk/>
            <pc:sldMk cId="1635542138" sldId="2146846798"/>
            <ac:graphicFrameMk id="11" creationId="{52545218-FF58-DC7D-0D9E-032F098ABB96}"/>
          </ac:graphicFrameMkLst>
        </pc:graphicFrameChg>
        <pc:picChg chg="add mod">
          <ac:chgData name="Franz MULLER" userId="79454339-e177-4ea3-bc97-d1e6b529622b" providerId="ADAL" clId="{0D497945-B4BB-4CEE-BAAE-E72909B9B60B}" dt="2023-09-22T17:39:22.156" v="6543" actId="1076"/>
          <ac:picMkLst>
            <pc:docMk/>
            <pc:sldMk cId="1635542138" sldId="2146846798"/>
            <ac:picMk id="3" creationId="{FC378A96-7DCD-7482-7AC9-95A4D9084A1E}"/>
          </ac:picMkLst>
        </pc:picChg>
        <pc:cxnChg chg="del">
          <ac:chgData name="Franz MULLER" userId="79454339-e177-4ea3-bc97-d1e6b529622b" providerId="ADAL" clId="{0D497945-B4BB-4CEE-BAAE-E72909B9B60B}" dt="2023-09-22T17:38:48.840" v="6538" actId="478"/>
          <ac:cxnSpMkLst>
            <pc:docMk/>
            <pc:sldMk cId="1635542138" sldId="2146846798"/>
            <ac:cxnSpMk id="610" creationId="{56C3C384-101A-4872-8C58-B63C9257BDA6}"/>
          </ac:cxnSpMkLst>
        </pc:cxnChg>
      </pc:sldChg>
      <pc:sldChg chg="add">
        <pc:chgData name="Franz MULLER" userId="79454339-e177-4ea3-bc97-d1e6b529622b" providerId="ADAL" clId="{0D497945-B4BB-4CEE-BAAE-E72909B9B60B}" dt="2023-09-22T19:04:03.964" v="7390"/>
        <pc:sldMkLst>
          <pc:docMk/>
          <pc:sldMk cId="3682739576" sldId="2146846854"/>
        </pc:sldMkLst>
      </pc:sldChg>
      <pc:sldChg chg="delSp add del mod">
        <pc:chgData name="Franz MULLER" userId="79454339-e177-4ea3-bc97-d1e6b529622b" providerId="ADAL" clId="{0D497945-B4BB-4CEE-BAAE-E72909B9B60B}" dt="2023-09-20T22:07:12.696" v="5619" actId="47"/>
        <pc:sldMkLst>
          <pc:docMk/>
          <pc:sldMk cId="3589248484" sldId="2146846855"/>
        </pc:sldMkLst>
        <pc:spChg chg="del">
          <ac:chgData name="Franz MULLER" userId="79454339-e177-4ea3-bc97-d1e6b529622b" providerId="ADAL" clId="{0D497945-B4BB-4CEE-BAAE-E72909B9B60B}" dt="2023-09-20T20:40:49.452" v="5330" actId="478"/>
          <ac:spMkLst>
            <pc:docMk/>
            <pc:sldMk cId="3589248484" sldId="2146846855"/>
            <ac:spMk id="10" creationId="{42D6E008-D501-B375-AAF8-70BA658F60FF}"/>
          </ac:spMkLst>
        </pc:spChg>
        <pc:spChg chg="del">
          <ac:chgData name="Franz MULLER" userId="79454339-e177-4ea3-bc97-d1e6b529622b" providerId="ADAL" clId="{0D497945-B4BB-4CEE-BAAE-E72909B9B60B}" dt="2023-09-20T20:40:45.269" v="5329" actId="478"/>
          <ac:spMkLst>
            <pc:docMk/>
            <pc:sldMk cId="3589248484" sldId="2146846855"/>
            <ac:spMk id="30" creationId="{C2DF7349-1644-4C12-DD02-90F473448135}"/>
          </ac:spMkLst>
        </pc:spChg>
      </pc:sldChg>
      <pc:sldChg chg="add">
        <pc:chgData name="Franz MULLER" userId="79454339-e177-4ea3-bc97-d1e6b529622b" providerId="ADAL" clId="{0D497945-B4BB-4CEE-BAAE-E72909B9B60B}" dt="2023-09-22T19:03:30.427" v="7389"/>
        <pc:sldMkLst>
          <pc:docMk/>
          <pc:sldMk cId="1513416491" sldId="2146846857"/>
        </pc:sldMkLst>
      </pc:sldChg>
      <pc:sldChg chg="del">
        <pc:chgData name="Franz MULLER" userId="79454339-e177-4ea3-bc97-d1e6b529622b" providerId="ADAL" clId="{0D497945-B4BB-4CEE-BAAE-E72909B9B60B}" dt="2023-09-22T16:25:36.700" v="6167" actId="47"/>
        <pc:sldMkLst>
          <pc:docMk/>
          <pc:sldMk cId="3236767760" sldId="2146846865"/>
        </pc:sldMkLst>
      </pc:sldChg>
      <pc:sldChg chg="del">
        <pc:chgData name="Franz MULLER" userId="79454339-e177-4ea3-bc97-d1e6b529622b" providerId="ADAL" clId="{0D497945-B4BB-4CEE-BAAE-E72909B9B60B}" dt="2023-09-20T22:18:52.337" v="5709" actId="47"/>
        <pc:sldMkLst>
          <pc:docMk/>
          <pc:sldMk cId="267017413" sldId="2147470070"/>
        </pc:sldMkLst>
      </pc:sldChg>
      <pc:sldChg chg="modSp add del mod ord">
        <pc:chgData name="Franz MULLER" userId="79454339-e177-4ea3-bc97-d1e6b529622b" providerId="ADAL" clId="{0D497945-B4BB-4CEE-BAAE-E72909B9B60B}" dt="2023-09-20T16:54:30.955" v="3699" actId="47"/>
        <pc:sldMkLst>
          <pc:docMk/>
          <pc:sldMk cId="3471592051" sldId="2147470080"/>
        </pc:sldMkLst>
        <pc:spChg chg="mod">
          <ac:chgData name="Franz MULLER" userId="79454339-e177-4ea3-bc97-d1e6b529622b" providerId="ADAL" clId="{0D497945-B4BB-4CEE-BAAE-E72909B9B60B}" dt="2023-09-20T16:49:46.138" v="3675" actId="20577"/>
          <ac:spMkLst>
            <pc:docMk/>
            <pc:sldMk cId="3471592051" sldId="2147470080"/>
            <ac:spMk id="3" creationId="{0DA5B9BF-9169-4BA3-9AD8-B9630501B08D}"/>
          </ac:spMkLst>
        </pc:spChg>
        <pc:spChg chg="mod">
          <ac:chgData name="Franz MULLER" userId="79454339-e177-4ea3-bc97-d1e6b529622b" providerId="ADAL" clId="{0D497945-B4BB-4CEE-BAAE-E72909B9B60B}" dt="2023-09-20T16:54:22.915" v="3698" actId="20577"/>
          <ac:spMkLst>
            <pc:docMk/>
            <pc:sldMk cId="3471592051" sldId="2147470080"/>
            <ac:spMk id="10" creationId="{7B0C6FBE-C91D-476F-9A8A-9ACB81734565}"/>
          </ac:spMkLst>
        </pc:spChg>
      </pc:sldChg>
      <pc:sldChg chg="addSp delSp modSp mod">
        <pc:chgData name="Franz MULLER" userId="79454339-e177-4ea3-bc97-d1e6b529622b" providerId="ADAL" clId="{0D497945-B4BB-4CEE-BAAE-E72909B9B60B}" dt="2023-09-20T12:47:23.704" v="2591" actId="167"/>
        <pc:sldMkLst>
          <pc:docMk/>
          <pc:sldMk cId="486354542" sldId="2147470263"/>
        </pc:sldMkLst>
        <pc:spChg chg="del">
          <ac:chgData name="Franz MULLER" userId="79454339-e177-4ea3-bc97-d1e6b529622b" providerId="ADAL" clId="{0D497945-B4BB-4CEE-BAAE-E72909B9B60B}" dt="2023-09-14T01:50:59.859" v="15" actId="478"/>
          <ac:spMkLst>
            <pc:docMk/>
            <pc:sldMk cId="486354542" sldId="2147470263"/>
            <ac:spMk id="2" creationId="{D895E690-8844-C96B-8C7D-A894C7AEECA1}"/>
          </ac:spMkLst>
        </pc:spChg>
        <pc:spChg chg="mod">
          <ac:chgData name="Franz MULLER" userId="79454339-e177-4ea3-bc97-d1e6b529622b" providerId="ADAL" clId="{0D497945-B4BB-4CEE-BAAE-E72909B9B60B}" dt="2023-09-14T14:12:29.210" v="158" actId="1076"/>
          <ac:spMkLst>
            <pc:docMk/>
            <pc:sldMk cId="486354542" sldId="2147470263"/>
            <ac:spMk id="3" creationId="{6406CA26-5B74-23AD-72D7-DDB2BE8922BD}"/>
          </ac:spMkLst>
        </pc:spChg>
        <pc:spChg chg="mod">
          <ac:chgData name="Franz MULLER" userId="79454339-e177-4ea3-bc97-d1e6b529622b" providerId="ADAL" clId="{0D497945-B4BB-4CEE-BAAE-E72909B9B60B}" dt="2023-09-14T14:12:58.464" v="162" actId="207"/>
          <ac:spMkLst>
            <pc:docMk/>
            <pc:sldMk cId="486354542" sldId="2147470263"/>
            <ac:spMk id="5" creationId="{A45B408D-CD86-25A5-0C0F-DD8B4704D91A}"/>
          </ac:spMkLst>
        </pc:spChg>
        <pc:spChg chg="del mod">
          <ac:chgData name="Franz MULLER" userId="79454339-e177-4ea3-bc97-d1e6b529622b" providerId="ADAL" clId="{0D497945-B4BB-4CEE-BAAE-E72909B9B60B}" dt="2023-09-14T13:23:14.886" v="77" actId="478"/>
          <ac:spMkLst>
            <pc:docMk/>
            <pc:sldMk cId="486354542" sldId="2147470263"/>
            <ac:spMk id="7" creationId="{47E2E1F3-6A10-A54F-5BC4-56FB793CD490}"/>
          </ac:spMkLst>
        </pc:spChg>
        <pc:spChg chg="mod">
          <ac:chgData name="Franz MULLER" userId="79454339-e177-4ea3-bc97-d1e6b529622b" providerId="ADAL" clId="{0D497945-B4BB-4CEE-BAAE-E72909B9B60B}" dt="2023-09-14T20:53:58.642" v="1220" actId="207"/>
          <ac:spMkLst>
            <pc:docMk/>
            <pc:sldMk cId="486354542" sldId="2147470263"/>
            <ac:spMk id="8" creationId="{5734E038-1E7B-91B5-1B4D-33B985B0ACFB}"/>
          </ac:spMkLst>
        </pc:spChg>
        <pc:spChg chg="del mod">
          <ac:chgData name="Franz MULLER" userId="79454339-e177-4ea3-bc97-d1e6b529622b" providerId="ADAL" clId="{0D497945-B4BB-4CEE-BAAE-E72909B9B60B}" dt="2023-09-14T01:51:20.692" v="34" actId="478"/>
          <ac:spMkLst>
            <pc:docMk/>
            <pc:sldMk cId="486354542" sldId="2147470263"/>
            <ac:spMk id="9" creationId="{C30A4B4B-8E56-DE9A-C2D5-2F6AE84C7D4F}"/>
          </ac:spMkLst>
        </pc:spChg>
        <pc:graphicFrameChg chg="add del mod">
          <ac:chgData name="Franz MULLER" userId="79454339-e177-4ea3-bc97-d1e6b529622b" providerId="ADAL" clId="{0D497945-B4BB-4CEE-BAAE-E72909B9B60B}" dt="2023-09-14T14:36:36.954" v="191"/>
          <ac:graphicFrameMkLst>
            <pc:docMk/>
            <pc:sldMk cId="486354542" sldId="2147470263"/>
            <ac:graphicFrameMk id="6" creationId="{1D4415BE-F3FC-4BC8-A2C9-9BB16CBCB631}"/>
          </ac:graphicFrameMkLst>
        </pc:graphicFrameChg>
        <pc:picChg chg="add del mod ord">
          <ac:chgData name="Franz MULLER" userId="79454339-e177-4ea3-bc97-d1e6b529622b" providerId="ADAL" clId="{0D497945-B4BB-4CEE-BAAE-E72909B9B60B}" dt="2023-09-20T12:46:58.558" v="2589" actId="478"/>
          <ac:picMkLst>
            <pc:docMk/>
            <pc:sldMk cId="486354542" sldId="2147470263"/>
            <ac:picMk id="2" creationId="{FF0F5520-E68A-10D6-DFD7-AEC9487D4B5F}"/>
          </ac:picMkLst>
        </pc:picChg>
        <pc:picChg chg="del">
          <ac:chgData name="Franz MULLER" userId="79454339-e177-4ea3-bc97-d1e6b529622b" providerId="ADAL" clId="{0D497945-B4BB-4CEE-BAAE-E72909B9B60B}" dt="2023-09-14T01:48:44.892" v="0" actId="478"/>
          <ac:picMkLst>
            <pc:docMk/>
            <pc:sldMk cId="486354542" sldId="2147470263"/>
            <ac:picMk id="4" creationId="{39FC3179-3007-9EDE-6E3E-8E584264B9A1}"/>
          </ac:picMkLst>
        </pc:picChg>
        <pc:picChg chg="add mod ord">
          <ac:chgData name="Franz MULLER" userId="79454339-e177-4ea3-bc97-d1e6b529622b" providerId="ADAL" clId="{0D497945-B4BB-4CEE-BAAE-E72909B9B60B}" dt="2023-09-20T12:47:23.704" v="2591" actId="167"/>
          <ac:picMkLst>
            <pc:docMk/>
            <pc:sldMk cId="486354542" sldId="2147470263"/>
            <ac:picMk id="4" creationId="{8B0481EE-831D-9898-6512-3D64A7E33CF8}"/>
          </ac:picMkLst>
        </pc:picChg>
        <pc:picChg chg="add del mod">
          <ac:chgData name="Franz MULLER" userId="79454339-e177-4ea3-bc97-d1e6b529622b" providerId="ADAL" clId="{0D497945-B4BB-4CEE-BAAE-E72909B9B60B}" dt="2023-09-14T01:49:09.134" v="4"/>
          <ac:picMkLst>
            <pc:docMk/>
            <pc:sldMk cId="486354542" sldId="2147470263"/>
            <ac:picMk id="1026" creationId="{FEF824D5-C919-D4F3-DE37-58DE46CE8DC9}"/>
          </ac:picMkLst>
        </pc:picChg>
        <pc:picChg chg="add del mod">
          <ac:chgData name="Franz MULLER" userId="79454339-e177-4ea3-bc97-d1e6b529622b" providerId="ADAL" clId="{0D497945-B4BB-4CEE-BAAE-E72909B9B60B}" dt="2023-09-14T01:50:25.626" v="9" actId="478"/>
          <ac:picMkLst>
            <pc:docMk/>
            <pc:sldMk cId="486354542" sldId="2147470263"/>
            <ac:picMk id="1028" creationId="{EDBCED2F-099C-361C-4057-93F5EEBF8CD6}"/>
          </ac:picMkLst>
        </pc:picChg>
        <pc:picChg chg="add del mod">
          <ac:chgData name="Franz MULLER" userId="79454339-e177-4ea3-bc97-d1e6b529622b" providerId="ADAL" clId="{0D497945-B4BB-4CEE-BAAE-E72909B9B60B}" dt="2023-09-14T14:10:03.350" v="143" actId="478"/>
          <ac:picMkLst>
            <pc:docMk/>
            <pc:sldMk cId="486354542" sldId="2147470263"/>
            <ac:picMk id="1030" creationId="{D2353136-BC7C-5AFF-D971-71FED158BD97}"/>
          </ac:picMkLst>
        </pc:picChg>
        <pc:picChg chg="add del mod">
          <ac:chgData name="Franz MULLER" userId="79454339-e177-4ea3-bc97-d1e6b529622b" providerId="ADAL" clId="{0D497945-B4BB-4CEE-BAAE-E72909B9B60B}" dt="2023-09-14T14:11:13.361" v="148"/>
          <ac:picMkLst>
            <pc:docMk/>
            <pc:sldMk cId="486354542" sldId="2147470263"/>
            <ac:picMk id="1032" creationId="{3ABABC72-32F6-E6CA-23CF-12ED4CB4A9DE}"/>
          </ac:picMkLst>
        </pc:picChg>
        <pc:picChg chg="add del">
          <ac:chgData name="Franz MULLER" userId="79454339-e177-4ea3-bc97-d1e6b529622b" providerId="ADAL" clId="{0D497945-B4BB-4CEE-BAAE-E72909B9B60B}" dt="2023-09-14T14:11:23.063" v="150"/>
          <ac:picMkLst>
            <pc:docMk/>
            <pc:sldMk cId="486354542" sldId="2147470263"/>
            <ac:picMk id="1034" creationId="{F2B865F5-CFF0-F404-03E2-E41C1531A44A}"/>
          </ac:picMkLst>
        </pc:picChg>
        <pc:picChg chg="add del mod">
          <ac:chgData name="Franz MULLER" userId="79454339-e177-4ea3-bc97-d1e6b529622b" providerId="ADAL" clId="{0D497945-B4BB-4CEE-BAAE-E72909B9B60B}" dt="2023-09-14T14:11:38.002" v="153" actId="478"/>
          <ac:picMkLst>
            <pc:docMk/>
            <pc:sldMk cId="486354542" sldId="2147470263"/>
            <ac:picMk id="1036" creationId="{AD3A6CB1-A414-1002-ED1B-6535DD0BC933}"/>
          </ac:picMkLst>
        </pc:picChg>
        <pc:picChg chg="add del mod">
          <ac:chgData name="Franz MULLER" userId="79454339-e177-4ea3-bc97-d1e6b529622b" providerId="ADAL" clId="{0D497945-B4BB-4CEE-BAAE-E72909B9B60B}" dt="2023-09-14T20:54:02.898" v="1221" actId="478"/>
          <ac:picMkLst>
            <pc:docMk/>
            <pc:sldMk cId="486354542" sldId="2147470263"/>
            <ac:picMk id="1038" creationId="{C5E03D5B-AEE8-B646-50BC-DB29BD92E83D}"/>
          </ac:picMkLst>
        </pc:picChg>
      </pc:sldChg>
      <pc:sldChg chg="del">
        <pc:chgData name="Franz MULLER" userId="79454339-e177-4ea3-bc97-d1e6b529622b" providerId="ADAL" clId="{0D497945-B4BB-4CEE-BAAE-E72909B9B60B}" dt="2023-09-14T14:17:36.102" v="164" actId="47"/>
        <pc:sldMkLst>
          <pc:docMk/>
          <pc:sldMk cId="2235301783" sldId="2147470269"/>
        </pc:sldMkLst>
      </pc:sldChg>
      <pc:sldChg chg="del">
        <pc:chgData name="Franz MULLER" userId="79454339-e177-4ea3-bc97-d1e6b529622b" providerId="ADAL" clId="{0D497945-B4BB-4CEE-BAAE-E72909B9B60B}" dt="2023-09-22T16:25:41.862" v="6170" actId="47"/>
        <pc:sldMkLst>
          <pc:docMk/>
          <pc:sldMk cId="3590243111" sldId="2147470278"/>
        </pc:sldMkLst>
      </pc:sldChg>
      <pc:sldChg chg="modSp add del mod">
        <pc:chgData name="Franz MULLER" userId="79454339-e177-4ea3-bc97-d1e6b529622b" providerId="ADAL" clId="{0D497945-B4BB-4CEE-BAAE-E72909B9B60B}" dt="2023-09-22T17:26:34.918" v="6239" actId="47"/>
        <pc:sldMkLst>
          <pc:docMk/>
          <pc:sldMk cId="4037146902" sldId="2147470279"/>
        </pc:sldMkLst>
        <pc:spChg chg="mod">
          <ac:chgData name="Franz MULLER" userId="79454339-e177-4ea3-bc97-d1e6b529622b" providerId="ADAL" clId="{0D497945-B4BB-4CEE-BAAE-E72909B9B60B}" dt="2023-09-22T17:26:29.391" v="6238" actId="1076"/>
          <ac:spMkLst>
            <pc:docMk/>
            <pc:sldMk cId="4037146902" sldId="2147470279"/>
            <ac:spMk id="26" creationId="{FE852472-69D2-6197-6919-A6CBF88C8939}"/>
          </ac:spMkLst>
        </pc:spChg>
      </pc:sldChg>
      <pc:sldChg chg="del">
        <pc:chgData name="Franz MULLER" userId="79454339-e177-4ea3-bc97-d1e6b529622b" providerId="ADAL" clId="{0D497945-B4BB-4CEE-BAAE-E72909B9B60B}" dt="2023-09-22T16:25:40.110" v="6169" actId="47"/>
        <pc:sldMkLst>
          <pc:docMk/>
          <pc:sldMk cId="1993839440" sldId="2147470280"/>
        </pc:sldMkLst>
      </pc:sldChg>
      <pc:sldChg chg="add del">
        <pc:chgData name="Franz MULLER" userId="79454339-e177-4ea3-bc97-d1e6b529622b" providerId="ADAL" clId="{0D497945-B4BB-4CEE-BAAE-E72909B9B60B}" dt="2023-09-22T16:25:55.339" v="6174" actId="47"/>
        <pc:sldMkLst>
          <pc:docMk/>
          <pc:sldMk cId="3201177997" sldId="2147470282"/>
        </pc:sldMkLst>
      </pc:sldChg>
      <pc:sldChg chg="del">
        <pc:chgData name="Franz MULLER" userId="79454339-e177-4ea3-bc97-d1e6b529622b" providerId="ADAL" clId="{0D497945-B4BB-4CEE-BAAE-E72909B9B60B}" dt="2023-09-22T16:25:34.847" v="6166" actId="47"/>
        <pc:sldMkLst>
          <pc:docMk/>
          <pc:sldMk cId="528720624" sldId="2147470285"/>
        </pc:sldMkLst>
      </pc:sldChg>
      <pc:sldChg chg="add">
        <pc:chgData name="Franz MULLER" userId="79454339-e177-4ea3-bc97-d1e6b529622b" providerId="ADAL" clId="{0D497945-B4BB-4CEE-BAAE-E72909B9B60B}" dt="2023-09-22T18:12:25.272" v="6870"/>
        <pc:sldMkLst>
          <pc:docMk/>
          <pc:sldMk cId="385487468" sldId="2147470286"/>
        </pc:sldMkLst>
      </pc:sldChg>
      <pc:sldChg chg="add del">
        <pc:chgData name="Franz MULLER" userId="79454339-e177-4ea3-bc97-d1e6b529622b" providerId="ADAL" clId="{0D497945-B4BB-4CEE-BAAE-E72909B9B60B}" dt="2023-09-22T18:12:20.401" v="6869" actId="2696"/>
        <pc:sldMkLst>
          <pc:docMk/>
          <pc:sldMk cId="2907367919" sldId="2147470286"/>
        </pc:sldMkLst>
      </pc:sldChg>
      <pc:sldChg chg="add del">
        <pc:chgData name="Franz MULLER" userId="79454339-e177-4ea3-bc97-d1e6b529622b" providerId="ADAL" clId="{0D497945-B4BB-4CEE-BAAE-E72909B9B60B}" dt="2023-09-22T18:12:20.401" v="6869" actId="2696"/>
        <pc:sldMkLst>
          <pc:docMk/>
          <pc:sldMk cId="85945629" sldId="2147470288"/>
        </pc:sldMkLst>
      </pc:sldChg>
      <pc:sldChg chg="delSp add mod">
        <pc:chgData name="Franz MULLER" userId="79454339-e177-4ea3-bc97-d1e6b529622b" providerId="ADAL" clId="{0D497945-B4BB-4CEE-BAAE-E72909B9B60B}" dt="2023-09-22T18:32:15.607" v="6871" actId="478"/>
        <pc:sldMkLst>
          <pc:docMk/>
          <pc:sldMk cId="562068840" sldId="2147470288"/>
        </pc:sldMkLst>
        <pc:graphicFrameChg chg="del">
          <ac:chgData name="Franz MULLER" userId="79454339-e177-4ea3-bc97-d1e6b529622b" providerId="ADAL" clId="{0D497945-B4BB-4CEE-BAAE-E72909B9B60B}" dt="2023-09-22T18:32:15.607" v="6871" actId="478"/>
          <ac:graphicFrameMkLst>
            <pc:docMk/>
            <pc:sldMk cId="562068840" sldId="2147470288"/>
            <ac:graphicFrameMk id="23" creationId="{B0593333-B675-6A30-015C-4364B939A807}"/>
          </ac:graphicFrameMkLst>
        </pc:graphicFrameChg>
      </pc:sldChg>
      <pc:sldChg chg="add del">
        <pc:chgData name="Franz MULLER" userId="79454339-e177-4ea3-bc97-d1e6b529622b" providerId="ADAL" clId="{0D497945-B4BB-4CEE-BAAE-E72909B9B60B}" dt="2023-09-22T18:12:20.401" v="6869" actId="2696"/>
        <pc:sldMkLst>
          <pc:docMk/>
          <pc:sldMk cId="1013723472" sldId="2147470289"/>
        </pc:sldMkLst>
      </pc:sldChg>
      <pc:sldChg chg="add">
        <pc:chgData name="Franz MULLER" userId="79454339-e177-4ea3-bc97-d1e6b529622b" providerId="ADAL" clId="{0D497945-B4BB-4CEE-BAAE-E72909B9B60B}" dt="2023-09-22T18:12:25.272" v="6870"/>
        <pc:sldMkLst>
          <pc:docMk/>
          <pc:sldMk cId="4171712833" sldId="2147470289"/>
        </pc:sldMkLst>
      </pc:sldChg>
      <pc:sldChg chg="del">
        <pc:chgData name="Franz MULLER" userId="79454339-e177-4ea3-bc97-d1e6b529622b" providerId="ADAL" clId="{0D497945-B4BB-4CEE-BAAE-E72909B9B60B}" dt="2023-09-22T16:25:30.882" v="6165" actId="47"/>
        <pc:sldMkLst>
          <pc:docMk/>
          <pc:sldMk cId="13282883" sldId="2147470290"/>
        </pc:sldMkLst>
      </pc:sldChg>
      <pc:sldChg chg="del">
        <pc:chgData name="Franz MULLER" userId="79454339-e177-4ea3-bc97-d1e6b529622b" providerId="ADAL" clId="{0D497945-B4BB-4CEE-BAAE-E72909B9B60B}" dt="2023-09-22T16:25:29.916" v="6164" actId="47"/>
        <pc:sldMkLst>
          <pc:docMk/>
          <pc:sldMk cId="2164025301" sldId="2147470291"/>
        </pc:sldMkLst>
      </pc:sldChg>
      <pc:sldChg chg="del">
        <pc:chgData name="Franz MULLER" userId="79454339-e177-4ea3-bc97-d1e6b529622b" providerId="ADAL" clId="{0D497945-B4BB-4CEE-BAAE-E72909B9B60B}" dt="2023-09-22T16:25:38.652" v="6168" actId="47"/>
        <pc:sldMkLst>
          <pc:docMk/>
          <pc:sldMk cId="585705674" sldId="2147470292"/>
        </pc:sldMkLst>
      </pc:sldChg>
      <pc:sldChg chg="del">
        <pc:chgData name="Franz MULLER" userId="79454339-e177-4ea3-bc97-d1e6b529622b" providerId="ADAL" clId="{0D497945-B4BB-4CEE-BAAE-E72909B9B60B}" dt="2023-09-22T16:25:42.670" v="6171" actId="47"/>
        <pc:sldMkLst>
          <pc:docMk/>
          <pc:sldMk cId="3948222217" sldId="2147470293"/>
        </pc:sldMkLst>
      </pc:sldChg>
      <pc:sldChg chg="add del">
        <pc:chgData name="Franz MULLER" userId="79454339-e177-4ea3-bc97-d1e6b529622b" providerId="ADAL" clId="{0D497945-B4BB-4CEE-BAAE-E72909B9B60B}" dt="2023-09-20T22:18:52.521" v="5710" actId="47"/>
        <pc:sldMkLst>
          <pc:docMk/>
          <pc:sldMk cId="1953699668" sldId="2147470294"/>
        </pc:sldMkLst>
      </pc:sldChg>
      <pc:sldChg chg="add">
        <pc:chgData name="Franz MULLER" userId="79454339-e177-4ea3-bc97-d1e6b529622b" providerId="ADAL" clId="{0D497945-B4BB-4CEE-BAAE-E72909B9B60B}" dt="2023-09-14T14:17:33.359" v="163"/>
        <pc:sldMkLst>
          <pc:docMk/>
          <pc:sldMk cId="4067580194" sldId="2147471847"/>
        </pc:sldMkLst>
      </pc:sldChg>
      <pc:sldChg chg="modSp add del mod ord">
        <pc:chgData name="Franz MULLER" userId="79454339-e177-4ea3-bc97-d1e6b529622b" providerId="ADAL" clId="{0D497945-B4BB-4CEE-BAAE-E72909B9B60B}" dt="2023-09-14T14:36:53.522" v="197" actId="47"/>
        <pc:sldMkLst>
          <pc:docMk/>
          <pc:sldMk cId="2113313482" sldId="2147472834"/>
        </pc:sldMkLst>
        <pc:spChg chg="mod">
          <ac:chgData name="Franz MULLER" userId="79454339-e177-4ea3-bc97-d1e6b529622b" providerId="ADAL" clId="{0D497945-B4BB-4CEE-BAAE-E72909B9B60B}" dt="2023-09-14T14:24:47.141" v="189" actId="20577"/>
          <ac:spMkLst>
            <pc:docMk/>
            <pc:sldMk cId="2113313482" sldId="2147472834"/>
            <ac:spMk id="2" creationId="{C91A8FB4-2A87-FA4A-9FDE-A1BD244BC589}"/>
          </ac:spMkLst>
        </pc:spChg>
      </pc:sldChg>
      <pc:sldChg chg="add del">
        <pc:chgData name="Franz MULLER" userId="79454339-e177-4ea3-bc97-d1e6b529622b" providerId="ADAL" clId="{0D497945-B4BB-4CEE-BAAE-E72909B9B60B}" dt="2023-09-22T16:25:06.696" v="6160" actId="47"/>
        <pc:sldMkLst>
          <pc:docMk/>
          <pc:sldMk cId="3369120945" sldId="2147472838"/>
        </pc:sldMkLst>
      </pc:sldChg>
      <pc:sldChg chg="new del">
        <pc:chgData name="Franz MULLER" userId="79454339-e177-4ea3-bc97-d1e6b529622b" providerId="ADAL" clId="{0D497945-B4BB-4CEE-BAAE-E72909B9B60B}" dt="2023-09-14T18:35:34.309" v="634" actId="680"/>
        <pc:sldMkLst>
          <pc:docMk/>
          <pc:sldMk cId="2227471176" sldId="2147472839"/>
        </pc:sldMkLst>
      </pc:sldChg>
      <pc:sldChg chg="addSp delSp modSp add mod ord">
        <pc:chgData name="Franz MULLER" userId="79454339-e177-4ea3-bc97-d1e6b529622b" providerId="ADAL" clId="{0D497945-B4BB-4CEE-BAAE-E72909B9B60B}" dt="2023-09-22T18:46:03.916" v="7008" actId="108"/>
        <pc:sldMkLst>
          <pc:docMk/>
          <pc:sldMk cId="3491528741" sldId="2147472839"/>
        </pc:sldMkLst>
        <pc:graphicFrameChg chg="del">
          <ac:chgData name="Franz MULLER" userId="79454339-e177-4ea3-bc97-d1e6b529622b" providerId="ADAL" clId="{0D497945-B4BB-4CEE-BAAE-E72909B9B60B}" dt="2023-09-14T18:35:39.558" v="636" actId="478"/>
          <ac:graphicFrameMkLst>
            <pc:docMk/>
            <pc:sldMk cId="3491528741" sldId="2147472839"/>
            <ac:graphicFrameMk id="2" creationId="{F9C30434-7CEE-648A-8AD1-95CF8A23E194}"/>
          </ac:graphicFrameMkLst>
        </pc:graphicFrameChg>
        <pc:graphicFrameChg chg="add mod modGraphic">
          <ac:chgData name="Franz MULLER" userId="79454339-e177-4ea3-bc97-d1e6b529622b" providerId="ADAL" clId="{0D497945-B4BB-4CEE-BAAE-E72909B9B60B}" dt="2023-09-22T18:46:03.916" v="7008" actId="108"/>
          <ac:graphicFrameMkLst>
            <pc:docMk/>
            <pc:sldMk cId="3491528741" sldId="2147472839"/>
            <ac:graphicFrameMk id="3" creationId="{20693DA0-A41F-7956-5BBE-EBA9F28D5B50}"/>
          </ac:graphicFrameMkLst>
        </pc:graphicFrameChg>
        <pc:graphicFrameChg chg="add mod modGraphic">
          <ac:chgData name="Franz MULLER" userId="79454339-e177-4ea3-bc97-d1e6b529622b" providerId="ADAL" clId="{0D497945-B4BB-4CEE-BAAE-E72909B9B60B}" dt="2023-09-22T18:46:01.395" v="7007"/>
          <ac:graphicFrameMkLst>
            <pc:docMk/>
            <pc:sldMk cId="3491528741" sldId="2147472839"/>
            <ac:graphicFrameMk id="4" creationId="{4D97B82A-3CB6-464A-E548-E3839908EC99}"/>
          </ac:graphicFrameMkLst>
        </pc:graphicFrameChg>
        <pc:picChg chg="add del mod">
          <ac:chgData name="Franz MULLER" userId="79454339-e177-4ea3-bc97-d1e6b529622b" providerId="ADAL" clId="{0D497945-B4BB-4CEE-BAAE-E72909B9B60B}" dt="2023-09-22T17:59:54.217" v="6865" actId="478"/>
          <ac:picMkLst>
            <pc:docMk/>
            <pc:sldMk cId="3491528741" sldId="2147472839"/>
            <ac:picMk id="6" creationId="{7422D009-9D42-E8E0-2F65-DB720102147B}"/>
          </ac:picMkLst>
        </pc:picChg>
      </pc:sldChg>
      <pc:sldChg chg="addSp delSp modSp add del mod">
        <pc:chgData name="Franz MULLER" userId="79454339-e177-4ea3-bc97-d1e6b529622b" providerId="ADAL" clId="{0D497945-B4BB-4CEE-BAAE-E72909B9B60B}" dt="2023-09-20T22:11:08.063" v="5648" actId="47"/>
        <pc:sldMkLst>
          <pc:docMk/>
          <pc:sldMk cId="4040313102" sldId="2147472840"/>
        </pc:sldMkLst>
        <pc:spChg chg="add mod">
          <ac:chgData name="Franz MULLER" userId="79454339-e177-4ea3-bc97-d1e6b529622b" providerId="ADAL" clId="{0D497945-B4BB-4CEE-BAAE-E72909B9B60B}" dt="2023-09-14T21:22:22.659" v="1505" actId="1076"/>
          <ac:spMkLst>
            <pc:docMk/>
            <pc:sldMk cId="4040313102" sldId="2147472840"/>
            <ac:spMk id="2" creationId="{1E47156E-6F9E-C3D3-117B-218B4508A0E4}"/>
          </ac:spMkLst>
        </pc:spChg>
        <pc:graphicFrameChg chg="del">
          <ac:chgData name="Franz MULLER" userId="79454339-e177-4ea3-bc97-d1e6b529622b" providerId="ADAL" clId="{0D497945-B4BB-4CEE-BAAE-E72909B9B60B}" dt="2023-09-14T21:16:14.319" v="1450" actId="478"/>
          <ac:graphicFrameMkLst>
            <pc:docMk/>
            <pc:sldMk cId="4040313102" sldId="2147472840"/>
            <ac:graphicFrameMk id="3" creationId="{20693DA0-A41F-7956-5BBE-EBA9F28D5B50}"/>
          </ac:graphicFrameMkLst>
        </pc:graphicFrameChg>
        <pc:graphicFrameChg chg="del">
          <ac:chgData name="Franz MULLER" userId="79454339-e177-4ea3-bc97-d1e6b529622b" providerId="ADAL" clId="{0D497945-B4BB-4CEE-BAAE-E72909B9B60B}" dt="2023-09-14T21:16:11.533" v="1449" actId="478"/>
          <ac:graphicFrameMkLst>
            <pc:docMk/>
            <pc:sldMk cId="4040313102" sldId="2147472840"/>
            <ac:graphicFrameMk id="4" creationId="{4D97B82A-3CB6-464A-E548-E3839908EC99}"/>
          </ac:graphicFrameMkLst>
        </pc:graphicFrameChg>
        <pc:picChg chg="add mod modCrop">
          <ac:chgData name="Franz MULLER" userId="79454339-e177-4ea3-bc97-d1e6b529622b" providerId="ADAL" clId="{0D497945-B4BB-4CEE-BAAE-E72909B9B60B}" dt="2023-09-14T21:21:44.182" v="1485" actId="1076"/>
          <ac:picMkLst>
            <pc:docMk/>
            <pc:sldMk cId="4040313102" sldId="2147472840"/>
            <ac:picMk id="7" creationId="{8E8D7BB4-0583-68A8-9CBC-0CC84E402ABA}"/>
          </ac:picMkLst>
        </pc:picChg>
        <pc:picChg chg="add mod modCrop">
          <ac:chgData name="Franz MULLER" userId="79454339-e177-4ea3-bc97-d1e6b529622b" providerId="ADAL" clId="{0D497945-B4BB-4CEE-BAAE-E72909B9B60B}" dt="2023-09-14T21:21:57.452" v="1493" actId="208"/>
          <ac:picMkLst>
            <pc:docMk/>
            <pc:sldMk cId="4040313102" sldId="2147472840"/>
            <ac:picMk id="9" creationId="{27047F9D-A1DB-8D53-785B-0306BD4BC3F2}"/>
          </ac:picMkLst>
        </pc:picChg>
      </pc:sldChg>
      <pc:sldChg chg="addSp delSp modSp add del mod ord">
        <pc:chgData name="Franz MULLER" userId="79454339-e177-4ea3-bc97-d1e6b529622b" providerId="ADAL" clId="{0D497945-B4BB-4CEE-BAAE-E72909B9B60B}" dt="2023-09-20T20:35:09.288" v="5226" actId="47"/>
        <pc:sldMkLst>
          <pc:docMk/>
          <pc:sldMk cId="1757412628" sldId="2147472841"/>
        </pc:sldMkLst>
        <pc:spChg chg="del">
          <ac:chgData name="Franz MULLER" userId="79454339-e177-4ea3-bc97-d1e6b529622b" providerId="ADAL" clId="{0D497945-B4BB-4CEE-BAAE-E72909B9B60B}" dt="2023-09-15T00:39:00.659" v="1579" actId="478"/>
          <ac:spMkLst>
            <pc:docMk/>
            <pc:sldMk cId="1757412628" sldId="2147472841"/>
            <ac:spMk id="4" creationId="{00E1E503-D104-B9FC-73FD-389BF072F292}"/>
          </ac:spMkLst>
        </pc:spChg>
        <pc:spChg chg="del">
          <ac:chgData name="Franz MULLER" userId="79454339-e177-4ea3-bc97-d1e6b529622b" providerId="ADAL" clId="{0D497945-B4BB-4CEE-BAAE-E72909B9B60B}" dt="2023-09-15T00:39:00.659" v="1579" actId="478"/>
          <ac:spMkLst>
            <pc:docMk/>
            <pc:sldMk cId="1757412628" sldId="2147472841"/>
            <ac:spMk id="5" creationId="{DE21A781-3FC0-454D-F273-0BC93F789197}"/>
          </ac:spMkLst>
        </pc:spChg>
        <pc:spChg chg="del">
          <ac:chgData name="Franz MULLER" userId="79454339-e177-4ea3-bc97-d1e6b529622b" providerId="ADAL" clId="{0D497945-B4BB-4CEE-BAAE-E72909B9B60B}" dt="2023-09-15T00:39:00.659" v="1579" actId="478"/>
          <ac:spMkLst>
            <pc:docMk/>
            <pc:sldMk cId="1757412628" sldId="2147472841"/>
            <ac:spMk id="8" creationId="{367A665C-2BC4-2663-6158-5B17C6B3CD84}"/>
          </ac:spMkLst>
        </pc:spChg>
        <pc:spChg chg="del">
          <ac:chgData name="Franz MULLER" userId="79454339-e177-4ea3-bc97-d1e6b529622b" providerId="ADAL" clId="{0D497945-B4BB-4CEE-BAAE-E72909B9B60B}" dt="2023-09-15T00:39:00.659" v="1579" actId="478"/>
          <ac:spMkLst>
            <pc:docMk/>
            <pc:sldMk cId="1757412628" sldId="2147472841"/>
            <ac:spMk id="11" creationId="{107F15ED-D6C6-56BA-BBA3-B5A34BBD2FB0}"/>
          </ac:spMkLst>
        </pc:spChg>
        <pc:spChg chg="del">
          <ac:chgData name="Franz MULLER" userId="79454339-e177-4ea3-bc97-d1e6b529622b" providerId="ADAL" clId="{0D497945-B4BB-4CEE-BAAE-E72909B9B60B}" dt="2023-09-15T00:39:00.659" v="1579" actId="478"/>
          <ac:spMkLst>
            <pc:docMk/>
            <pc:sldMk cId="1757412628" sldId="2147472841"/>
            <ac:spMk id="18" creationId="{CEFB4677-25EB-EC0B-9540-8374BC66E151}"/>
          </ac:spMkLst>
        </pc:spChg>
        <pc:spChg chg="del">
          <ac:chgData name="Franz MULLER" userId="79454339-e177-4ea3-bc97-d1e6b529622b" providerId="ADAL" clId="{0D497945-B4BB-4CEE-BAAE-E72909B9B60B}" dt="2023-09-15T00:39:05.885" v="1582" actId="478"/>
          <ac:spMkLst>
            <pc:docMk/>
            <pc:sldMk cId="1757412628" sldId="2147472841"/>
            <ac:spMk id="30" creationId="{81B21C55-35B9-8875-06DD-C7664B3A2F9C}"/>
          </ac:spMkLst>
        </pc:spChg>
        <pc:graphicFrameChg chg="add mod">
          <ac:chgData name="Franz MULLER" userId="79454339-e177-4ea3-bc97-d1e6b529622b" providerId="ADAL" clId="{0D497945-B4BB-4CEE-BAAE-E72909B9B60B}" dt="2023-09-20T16:54:03.612" v="3685" actId="1076"/>
          <ac:graphicFrameMkLst>
            <pc:docMk/>
            <pc:sldMk cId="1757412628" sldId="2147472841"/>
            <ac:graphicFrameMk id="2" creationId="{422FB33C-CDBE-F226-CA63-0BB3070D0AD4}"/>
          </ac:graphicFrameMkLst>
        </pc:graphicFrameChg>
        <pc:picChg chg="del">
          <ac:chgData name="Franz MULLER" userId="79454339-e177-4ea3-bc97-d1e6b529622b" providerId="ADAL" clId="{0D497945-B4BB-4CEE-BAAE-E72909B9B60B}" dt="2023-09-15T00:39:06.456" v="1583" actId="478"/>
          <ac:picMkLst>
            <pc:docMk/>
            <pc:sldMk cId="1757412628" sldId="2147472841"/>
            <ac:picMk id="21" creationId="{D24EB908-16F9-E7D7-2BF6-A0B140AF355E}"/>
          </ac:picMkLst>
        </pc:picChg>
        <pc:picChg chg="del">
          <ac:chgData name="Franz MULLER" userId="79454339-e177-4ea3-bc97-d1e6b529622b" providerId="ADAL" clId="{0D497945-B4BB-4CEE-BAAE-E72909B9B60B}" dt="2023-09-15T00:39:00.659" v="1579" actId="478"/>
          <ac:picMkLst>
            <pc:docMk/>
            <pc:sldMk cId="1757412628" sldId="2147472841"/>
            <ac:picMk id="1028" creationId="{C296C5ED-CD52-D15D-7448-EE6B3D3069CA}"/>
          </ac:picMkLst>
        </pc:picChg>
        <pc:picChg chg="del">
          <ac:chgData name="Franz MULLER" userId="79454339-e177-4ea3-bc97-d1e6b529622b" providerId="ADAL" clId="{0D497945-B4BB-4CEE-BAAE-E72909B9B60B}" dt="2023-09-15T00:39:06.814" v="1584" actId="478"/>
          <ac:picMkLst>
            <pc:docMk/>
            <pc:sldMk cId="1757412628" sldId="2147472841"/>
            <ac:picMk id="2052" creationId="{A95DDAAE-9B0A-C549-5343-155FFA782FAA}"/>
          </ac:picMkLst>
        </pc:picChg>
        <pc:picChg chg="mod">
          <ac:chgData name="Franz MULLER" userId="79454339-e177-4ea3-bc97-d1e6b529622b" providerId="ADAL" clId="{0D497945-B4BB-4CEE-BAAE-E72909B9B60B}" dt="2023-09-20T17:10:26.978" v="4865" actId="1076"/>
          <ac:picMkLst>
            <pc:docMk/>
            <pc:sldMk cId="1757412628" sldId="2147472841"/>
            <ac:picMk id="2054" creationId="{5DB2E40D-8AF9-42F6-E1C7-C83DD1024EC3}"/>
          </ac:picMkLst>
        </pc:picChg>
      </pc:sldChg>
      <pc:sldChg chg="addSp delSp modSp add del mod modTransition setBg">
        <pc:chgData name="Franz MULLER" userId="79454339-e177-4ea3-bc97-d1e6b529622b" providerId="ADAL" clId="{0D497945-B4BB-4CEE-BAAE-E72909B9B60B}" dt="2023-09-15T01:55:31.511" v="2262" actId="47"/>
        <pc:sldMkLst>
          <pc:docMk/>
          <pc:sldMk cId="591071562" sldId="2147472842"/>
        </pc:sldMkLst>
        <pc:spChg chg="mod">
          <ac:chgData name="Franz MULLER" userId="79454339-e177-4ea3-bc97-d1e6b529622b" providerId="ADAL" clId="{0D497945-B4BB-4CEE-BAAE-E72909B9B60B}" dt="2023-09-15T01:54:26.811" v="2250" actId="26606"/>
          <ac:spMkLst>
            <pc:docMk/>
            <pc:sldMk cId="591071562" sldId="2147472842"/>
            <ac:spMk id="4" creationId="{00E1E503-D104-B9FC-73FD-389BF072F292}"/>
          </ac:spMkLst>
        </pc:spChg>
        <pc:spChg chg="mod">
          <ac:chgData name="Franz MULLER" userId="79454339-e177-4ea3-bc97-d1e6b529622b" providerId="ADAL" clId="{0D497945-B4BB-4CEE-BAAE-E72909B9B60B}" dt="2023-09-15T01:54:26.811" v="2250" actId="26606"/>
          <ac:spMkLst>
            <pc:docMk/>
            <pc:sldMk cId="591071562" sldId="2147472842"/>
            <ac:spMk id="5" creationId="{DE21A781-3FC0-454D-F273-0BC93F789197}"/>
          </ac:spMkLst>
        </pc:spChg>
        <pc:spChg chg="add mod">
          <ac:chgData name="Franz MULLER" userId="79454339-e177-4ea3-bc97-d1e6b529622b" providerId="ADAL" clId="{0D497945-B4BB-4CEE-BAAE-E72909B9B60B}" dt="2023-09-15T01:54:45.053" v="2259" actId="1076"/>
          <ac:spMkLst>
            <pc:docMk/>
            <pc:sldMk cId="591071562" sldId="2147472842"/>
            <ac:spMk id="7" creationId="{1CAFF834-69D4-1704-29E1-C844D5E71204}"/>
          </ac:spMkLst>
        </pc:spChg>
        <pc:spChg chg="del mod">
          <ac:chgData name="Franz MULLER" userId="79454339-e177-4ea3-bc97-d1e6b529622b" providerId="ADAL" clId="{0D497945-B4BB-4CEE-BAAE-E72909B9B60B}" dt="2023-09-15T01:53:14.691" v="2239" actId="478"/>
          <ac:spMkLst>
            <pc:docMk/>
            <pc:sldMk cId="591071562" sldId="2147472842"/>
            <ac:spMk id="8" creationId="{367A665C-2BC4-2663-6158-5B17C6B3CD84}"/>
          </ac:spMkLst>
        </pc:spChg>
        <pc:spChg chg="del">
          <ac:chgData name="Franz MULLER" userId="79454339-e177-4ea3-bc97-d1e6b529622b" providerId="ADAL" clId="{0D497945-B4BB-4CEE-BAAE-E72909B9B60B}" dt="2023-09-15T01:53:15.344" v="2240" actId="478"/>
          <ac:spMkLst>
            <pc:docMk/>
            <pc:sldMk cId="591071562" sldId="2147472842"/>
            <ac:spMk id="11" creationId="{107F15ED-D6C6-56BA-BBA3-B5A34BBD2FB0}"/>
          </ac:spMkLst>
        </pc:spChg>
        <pc:spChg chg="mod">
          <ac:chgData name="Franz MULLER" userId="79454339-e177-4ea3-bc97-d1e6b529622b" providerId="ADAL" clId="{0D497945-B4BB-4CEE-BAAE-E72909B9B60B}" dt="2023-09-15T01:54:26.811" v="2250" actId="26606"/>
          <ac:spMkLst>
            <pc:docMk/>
            <pc:sldMk cId="591071562" sldId="2147472842"/>
            <ac:spMk id="12" creationId="{00000000-0000-0000-0000-000000000000}"/>
          </ac:spMkLst>
        </pc:spChg>
        <pc:spChg chg="del">
          <ac:chgData name="Franz MULLER" userId="79454339-e177-4ea3-bc97-d1e6b529622b" providerId="ADAL" clId="{0D497945-B4BB-4CEE-BAAE-E72909B9B60B}" dt="2023-09-15T01:53:13.617" v="2237" actId="478"/>
          <ac:spMkLst>
            <pc:docMk/>
            <pc:sldMk cId="591071562" sldId="2147472842"/>
            <ac:spMk id="18" creationId="{CEFB4677-25EB-EC0B-9540-8374BC66E151}"/>
          </ac:spMkLst>
        </pc:spChg>
        <pc:spChg chg="add">
          <ac:chgData name="Franz MULLER" userId="79454339-e177-4ea3-bc97-d1e6b529622b" providerId="ADAL" clId="{0D497945-B4BB-4CEE-BAAE-E72909B9B60B}" dt="2023-09-15T01:54:26.811" v="2250" actId="26606"/>
          <ac:spMkLst>
            <pc:docMk/>
            <pc:sldMk cId="591071562" sldId="2147472842"/>
            <ac:spMk id="2057" creationId="{C7F55EAC-550A-4BDD-9099-3F20B8FA0EBC}"/>
          </ac:spMkLst>
        </pc:spChg>
        <pc:spChg chg="add">
          <ac:chgData name="Franz MULLER" userId="79454339-e177-4ea3-bc97-d1e6b529622b" providerId="ADAL" clId="{0D497945-B4BB-4CEE-BAAE-E72909B9B60B}" dt="2023-09-15T01:54:26.811" v="2250" actId="26606"/>
          <ac:spMkLst>
            <pc:docMk/>
            <pc:sldMk cId="591071562" sldId="2147472842"/>
            <ac:spMk id="2059" creationId="{DC4F5A5F-493F-49AE-89B6-D5AF5EBC8B0E}"/>
          </ac:spMkLst>
        </pc:spChg>
        <pc:picChg chg="add mod">
          <ac:chgData name="Franz MULLER" userId="79454339-e177-4ea3-bc97-d1e6b529622b" providerId="ADAL" clId="{0D497945-B4BB-4CEE-BAAE-E72909B9B60B}" dt="2023-09-15T01:54:26.811" v="2250" actId="26606"/>
          <ac:picMkLst>
            <pc:docMk/>
            <pc:sldMk cId="591071562" sldId="2147472842"/>
            <ac:picMk id="3" creationId="{0B95C2EA-7A78-CD3B-8F6B-ADE8E0773BC4}"/>
          </ac:picMkLst>
        </pc:picChg>
        <pc:picChg chg="mod">
          <ac:chgData name="Franz MULLER" userId="79454339-e177-4ea3-bc97-d1e6b529622b" providerId="ADAL" clId="{0D497945-B4BB-4CEE-BAAE-E72909B9B60B}" dt="2023-09-15T01:54:26.811" v="2250" actId="26606"/>
          <ac:picMkLst>
            <pc:docMk/>
            <pc:sldMk cId="591071562" sldId="2147472842"/>
            <ac:picMk id="21" creationId="{D24EB908-16F9-E7D7-2BF6-A0B140AF355E}"/>
          </ac:picMkLst>
        </pc:picChg>
        <pc:picChg chg="mod">
          <ac:chgData name="Franz MULLER" userId="79454339-e177-4ea3-bc97-d1e6b529622b" providerId="ADAL" clId="{0D497945-B4BB-4CEE-BAAE-E72909B9B60B}" dt="2023-09-15T01:54:26.811" v="2250" actId="26606"/>
          <ac:picMkLst>
            <pc:docMk/>
            <pc:sldMk cId="591071562" sldId="2147472842"/>
            <ac:picMk id="1028" creationId="{C296C5ED-CD52-D15D-7448-EE6B3D3069CA}"/>
          </ac:picMkLst>
        </pc:picChg>
        <pc:picChg chg="mod">
          <ac:chgData name="Franz MULLER" userId="79454339-e177-4ea3-bc97-d1e6b529622b" providerId="ADAL" clId="{0D497945-B4BB-4CEE-BAAE-E72909B9B60B}" dt="2023-09-15T01:54:26.811" v="2250" actId="26606"/>
          <ac:picMkLst>
            <pc:docMk/>
            <pc:sldMk cId="591071562" sldId="2147472842"/>
            <ac:picMk id="2052" creationId="{A95DDAAE-9B0A-C549-5343-155FFA782FAA}"/>
          </ac:picMkLst>
        </pc:picChg>
      </pc:sldChg>
      <pc:sldChg chg="modSp add del mod modTransition">
        <pc:chgData name="Franz MULLER" userId="79454339-e177-4ea3-bc97-d1e6b529622b" providerId="ADAL" clId="{0D497945-B4BB-4CEE-BAAE-E72909B9B60B}" dt="2023-09-15T01:59:27.065" v="2376" actId="47"/>
        <pc:sldMkLst>
          <pc:docMk/>
          <pc:sldMk cId="759075009" sldId="2147472842"/>
        </pc:sldMkLst>
        <pc:picChg chg="mod">
          <ac:chgData name="Franz MULLER" userId="79454339-e177-4ea3-bc97-d1e6b529622b" providerId="ADAL" clId="{0D497945-B4BB-4CEE-BAAE-E72909B9B60B}" dt="2023-09-15T01:59:21.281" v="2374" actId="1076"/>
          <ac:picMkLst>
            <pc:docMk/>
            <pc:sldMk cId="759075009" sldId="2147472842"/>
            <ac:picMk id="21" creationId="{D24EB908-16F9-E7D7-2BF6-A0B140AF355E}"/>
          </ac:picMkLst>
        </pc:picChg>
      </pc:sldChg>
      <pc:sldChg chg="addSp delSp modSp add del mod">
        <pc:chgData name="Franz MULLER" userId="79454339-e177-4ea3-bc97-d1e6b529622b" providerId="ADAL" clId="{0D497945-B4BB-4CEE-BAAE-E72909B9B60B}" dt="2023-09-15T01:04:01.654" v="1995" actId="47"/>
        <pc:sldMkLst>
          <pc:docMk/>
          <pc:sldMk cId="1335872711" sldId="2147472842"/>
        </pc:sldMkLst>
        <pc:spChg chg="add del mod">
          <ac:chgData name="Franz MULLER" userId="79454339-e177-4ea3-bc97-d1e6b529622b" providerId="ADAL" clId="{0D497945-B4BB-4CEE-BAAE-E72909B9B60B}" dt="2023-09-15T01:03:47.592" v="1993"/>
          <ac:spMkLst>
            <pc:docMk/>
            <pc:sldMk cId="1335872711" sldId="2147472842"/>
            <ac:spMk id="2" creationId="{B96BBB72-CD0C-4550-F0E6-04A8F5F4CE61}"/>
          </ac:spMkLst>
        </pc:spChg>
        <pc:spChg chg="mod">
          <ac:chgData name="Franz MULLER" userId="79454339-e177-4ea3-bc97-d1e6b529622b" providerId="ADAL" clId="{0D497945-B4BB-4CEE-BAAE-E72909B9B60B}" dt="2023-09-15T01:03:31.314" v="1988" actId="122"/>
          <ac:spMkLst>
            <pc:docMk/>
            <pc:sldMk cId="1335872711" sldId="2147472842"/>
            <ac:spMk id="8" creationId="{367A665C-2BC4-2663-6158-5B17C6B3CD84}"/>
          </ac:spMkLst>
        </pc:spChg>
        <pc:spChg chg="add del mod">
          <ac:chgData name="Franz MULLER" userId="79454339-e177-4ea3-bc97-d1e6b529622b" providerId="ADAL" clId="{0D497945-B4BB-4CEE-BAAE-E72909B9B60B}" dt="2023-09-15T01:03:47.592" v="1993"/>
          <ac:spMkLst>
            <pc:docMk/>
            <pc:sldMk cId="1335872711" sldId="2147472842"/>
            <ac:spMk id="9" creationId="{BF61A4AD-BD28-BF2D-978E-8E4213BF3206}"/>
          </ac:spMkLst>
        </pc:spChg>
        <pc:spChg chg="del">
          <ac:chgData name="Franz MULLER" userId="79454339-e177-4ea3-bc97-d1e6b529622b" providerId="ADAL" clId="{0D497945-B4BB-4CEE-BAAE-E72909B9B60B}" dt="2023-09-15T01:03:33.664" v="1989" actId="478"/>
          <ac:spMkLst>
            <pc:docMk/>
            <pc:sldMk cId="1335872711" sldId="2147472842"/>
            <ac:spMk id="18" creationId="{CEFB4677-25EB-EC0B-9540-8374BC66E151}"/>
          </ac:spMkLst>
        </pc:spChg>
        <pc:grpChg chg="add del mod">
          <ac:chgData name="Franz MULLER" userId="79454339-e177-4ea3-bc97-d1e6b529622b" providerId="ADAL" clId="{0D497945-B4BB-4CEE-BAAE-E72909B9B60B}" dt="2023-09-15T01:03:47.592" v="1993"/>
          <ac:grpSpMkLst>
            <pc:docMk/>
            <pc:sldMk cId="1335872711" sldId="2147472842"/>
            <ac:grpSpMk id="3" creationId="{C54001EF-6AE8-5818-46E6-018ADE6B245B}"/>
          </ac:grpSpMkLst>
        </pc:grpChg>
        <pc:picChg chg="del">
          <ac:chgData name="Franz MULLER" userId="79454339-e177-4ea3-bc97-d1e6b529622b" providerId="ADAL" clId="{0D497945-B4BB-4CEE-BAAE-E72909B9B60B}" dt="2023-09-15T01:03:35.888" v="1991" actId="478"/>
          <ac:picMkLst>
            <pc:docMk/>
            <pc:sldMk cId="1335872711" sldId="2147472842"/>
            <ac:picMk id="21" creationId="{D24EB908-16F9-E7D7-2BF6-A0B140AF355E}"/>
          </ac:picMkLst>
        </pc:picChg>
        <pc:picChg chg="del">
          <ac:chgData name="Franz MULLER" userId="79454339-e177-4ea3-bc97-d1e6b529622b" providerId="ADAL" clId="{0D497945-B4BB-4CEE-BAAE-E72909B9B60B}" dt="2023-09-15T01:03:35.568" v="1990" actId="478"/>
          <ac:picMkLst>
            <pc:docMk/>
            <pc:sldMk cId="1335872711" sldId="2147472842"/>
            <ac:picMk id="2052" creationId="{A95DDAAE-9B0A-C549-5343-155FFA782FAA}"/>
          </ac:picMkLst>
        </pc:picChg>
        <pc:cxnChg chg="mod">
          <ac:chgData name="Franz MULLER" userId="79454339-e177-4ea3-bc97-d1e6b529622b" providerId="ADAL" clId="{0D497945-B4BB-4CEE-BAAE-E72909B9B60B}" dt="2023-09-15T01:03:45.355" v="1992"/>
          <ac:cxnSpMkLst>
            <pc:docMk/>
            <pc:sldMk cId="1335872711" sldId="2147472842"/>
            <ac:cxnSpMk id="6" creationId="{9BA27328-AB86-8DA2-9BB7-3B4A5795E0D8}"/>
          </ac:cxnSpMkLst>
        </pc:cxnChg>
        <pc:cxnChg chg="mod">
          <ac:chgData name="Franz MULLER" userId="79454339-e177-4ea3-bc97-d1e6b529622b" providerId="ADAL" clId="{0D497945-B4BB-4CEE-BAAE-E72909B9B60B}" dt="2023-09-15T01:03:45.355" v="1992"/>
          <ac:cxnSpMkLst>
            <pc:docMk/>
            <pc:sldMk cId="1335872711" sldId="2147472842"/>
            <ac:cxnSpMk id="7" creationId="{EF471E3A-2F09-846F-3C97-FFCC44111E7C}"/>
          </ac:cxnSpMkLst>
        </pc:cxnChg>
      </pc:sldChg>
      <pc:sldChg chg="addSp delSp modSp add del mod setBg">
        <pc:chgData name="Franz MULLER" userId="79454339-e177-4ea3-bc97-d1e6b529622b" providerId="ADAL" clId="{0D497945-B4BB-4CEE-BAAE-E72909B9B60B}" dt="2023-09-15T02:01:04.464" v="2405" actId="47"/>
        <pc:sldMkLst>
          <pc:docMk/>
          <pc:sldMk cId="1527142154" sldId="2147472842"/>
        </pc:sldMkLst>
        <pc:spChg chg="mod">
          <ac:chgData name="Franz MULLER" userId="79454339-e177-4ea3-bc97-d1e6b529622b" providerId="ADAL" clId="{0D497945-B4BB-4CEE-BAAE-E72909B9B60B}" dt="2023-09-15T02:00:32.912" v="2392" actId="26606"/>
          <ac:spMkLst>
            <pc:docMk/>
            <pc:sldMk cId="1527142154" sldId="2147472842"/>
            <ac:spMk id="4" creationId="{00E1E503-D104-B9FC-73FD-389BF072F292}"/>
          </ac:spMkLst>
        </pc:spChg>
        <pc:spChg chg="mod">
          <ac:chgData name="Franz MULLER" userId="79454339-e177-4ea3-bc97-d1e6b529622b" providerId="ADAL" clId="{0D497945-B4BB-4CEE-BAAE-E72909B9B60B}" dt="2023-09-15T02:00:45.621" v="2396" actId="14100"/>
          <ac:spMkLst>
            <pc:docMk/>
            <pc:sldMk cId="1527142154" sldId="2147472842"/>
            <ac:spMk id="5" creationId="{DE21A781-3FC0-454D-F273-0BC93F789197}"/>
          </ac:spMkLst>
        </pc:spChg>
        <pc:spChg chg="mod">
          <ac:chgData name="Franz MULLER" userId="79454339-e177-4ea3-bc97-d1e6b529622b" providerId="ADAL" clId="{0D497945-B4BB-4CEE-BAAE-E72909B9B60B}" dt="2023-09-15T02:00:53.806" v="2399" actId="1076"/>
          <ac:spMkLst>
            <pc:docMk/>
            <pc:sldMk cId="1527142154" sldId="2147472842"/>
            <ac:spMk id="8" creationId="{367A665C-2BC4-2663-6158-5B17C6B3CD84}"/>
          </ac:spMkLst>
        </pc:spChg>
        <pc:spChg chg="mod">
          <ac:chgData name="Franz MULLER" userId="79454339-e177-4ea3-bc97-d1e6b529622b" providerId="ADAL" clId="{0D497945-B4BB-4CEE-BAAE-E72909B9B60B}" dt="2023-09-15T02:00:51.668" v="2398" actId="1076"/>
          <ac:spMkLst>
            <pc:docMk/>
            <pc:sldMk cId="1527142154" sldId="2147472842"/>
            <ac:spMk id="11" creationId="{107F15ED-D6C6-56BA-BBA3-B5A34BBD2FB0}"/>
          </ac:spMkLst>
        </pc:spChg>
        <pc:spChg chg="mod">
          <ac:chgData name="Franz MULLER" userId="79454339-e177-4ea3-bc97-d1e6b529622b" providerId="ADAL" clId="{0D497945-B4BB-4CEE-BAAE-E72909B9B60B}" dt="2023-09-15T02:00:32.912" v="2392" actId="26606"/>
          <ac:spMkLst>
            <pc:docMk/>
            <pc:sldMk cId="1527142154" sldId="2147472842"/>
            <ac:spMk id="12" creationId="{00000000-0000-0000-0000-000000000000}"/>
          </ac:spMkLst>
        </pc:spChg>
        <pc:spChg chg="del">
          <ac:chgData name="Franz MULLER" userId="79454339-e177-4ea3-bc97-d1e6b529622b" providerId="ADAL" clId="{0D497945-B4BB-4CEE-BAAE-E72909B9B60B}" dt="2023-09-15T02:00:00.318" v="2386" actId="478"/>
          <ac:spMkLst>
            <pc:docMk/>
            <pc:sldMk cId="1527142154" sldId="2147472842"/>
            <ac:spMk id="18" creationId="{CEFB4677-25EB-EC0B-9540-8374BC66E151}"/>
          </ac:spMkLst>
        </pc:spChg>
        <pc:spChg chg="add del">
          <ac:chgData name="Franz MULLER" userId="79454339-e177-4ea3-bc97-d1e6b529622b" providerId="ADAL" clId="{0D497945-B4BB-4CEE-BAAE-E72909B9B60B}" dt="2023-09-15T02:00:32.907" v="2391" actId="26606"/>
          <ac:spMkLst>
            <pc:docMk/>
            <pc:sldMk cId="1527142154" sldId="2147472842"/>
            <ac:spMk id="2057" creationId="{86FF76B9-219D-4469-AF87-0236D29032F1}"/>
          </ac:spMkLst>
        </pc:spChg>
        <pc:spChg chg="add del">
          <ac:chgData name="Franz MULLER" userId="79454339-e177-4ea3-bc97-d1e6b529622b" providerId="ADAL" clId="{0D497945-B4BB-4CEE-BAAE-E72909B9B60B}" dt="2023-09-15T02:00:32.907" v="2391" actId="26606"/>
          <ac:spMkLst>
            <pc:docMk/>
            <pc:sldMk cId="1527142154" sldId="2147472842"/>
            <ac:spMk id="2063" creationId="{2E80C965-DB6D-4F81-9E9E-B027384D0BD6}"/>
          </ac:spMkLst>
        </pc:spChg>
        <pc:spChg chg="add del">
          <ac:chgData name="Franz MULLER" userId="79454339-e177-4ea3-bc97-d1e6b529622b" providerId="ADAL" clId="{0D497945-B4BB-4CEE-BAAE-E72909B9B60B}" dt="2023-09-15T02:00:32.907" v="2391" actId="26606"/>
          <ac:spMkLst>
            <pc:docMk/>
            <pc:sldMk cId="1527142154" sldId="2147472842"/>
            <ac:spMk id="2065" creationId="{633C5E46-DAC5-4661-9C87-22B08E2A512F}"/>
          </ac:spMkLst>
        </pc:spChg>
        <pc:spChg chg="add">
          <ac:chgData name="Franz MULLER" userId="79454339-e177-4ea3-bc97-d1e6b529622b" providerId="ADAL" clId="{0D497945-B4BB-4CEE-BAAE-E72909B9B60B}" dt="2023-09-15T02:00:32.912" v="2392" actId="26606"/>
          <ac:spMkLst>
            <pc:docMk/>
            <pc:sldMk cId="1527142154" sldId="2147472842"/>
            <ac:spMk id="2067" creationId="{0B761509-3B9A-49A6-A84B-C3D86811697D}"/>
          </ac:spMkLst>
        </pc:spChg>
        <pc:spChg chg="add">
          <ac:chgData name="Franz MULLER" userId="79454339-e177-4ea3-bc97-d1e6b529622b" providerId="ADAL" clId="{0D497945-B4BB-4CEE-BAAE-E72909B9B60B}" dt="2023-09-15T02:00:32.912" v="2392" actId="26606"/>
          <ac:spMkLst>
            <pc:docMk/>
            <pc:sldMk cId="1527142154" sldId="2147472842"/>
            <ac:spMk id="2068" creationId="{91DE43FD-EB47-414A-B0AB-169B0FFFA527}"/>
          </ac:spMkLst>
        </pc:spChg>
        <pc:grpChg chg="add del">
          <ac:chgData name="Franz MULLER" userId="79454339-e177-4ea3-bc97-d1e6b529622b" providerId="ADAL" clId="{0D497945-B4BB-4CEE-BAAE-E72909B9B60B}" dt="2023-09-15T02:00:32.907" v="2391" actId="26606"/>
          <ac:grpSpMkLst>
            <pc:docMk/>
            <pc:sldMk cId="1527142154" sldId="2147472842"/>
            <ac:grpSpMk id="2059" creationId="{DB88BD78-87E1-424D-B479-C37D8E41B12E}"/>
          </ac:grpSpMkLst>
        </pc:grpChg>
        <pc:grpChg chg="add">
          <ac:chgData name="Franz MULLER" userId="79454339-e177-4ea3-bc97-d1e6b529622b" providerId="ADAL" clId="{0D497945-B4BB-4CEE-BAAE-E72909B9B60B}" dt="2023-09-15T02:00:32.912" v="2392" actId="26606"/>
          <ac:grpSpMkLst>
            <pc:docMk/>
            <pc:sldMk cId="1527142154" sldId="2147472842"/>
            <ac:grpSpMk id="2069" creationId="{58495BCC-CE77-4CC2-952E-846F41119FD5}"/>
          </ac:grpSpMkLst>
        </pc:grpChg>
        <pc:picChg chg="mod">
          <ac:chgData name="Franz MULLER" userId="79454339-e177-4ea3-bc97-d1e6b529622b" providerId="ADAL" clId="{0D497945-B4BB-4CEE-BAAE-E72909B9B60B}" dt="2023-09-15T02:00:56.063" v="2401" actId="1076"/>
          <ac:picMkLst>
            <pc:docMk/>
            <pc:sldMk cId="1527142154" sldId="2147472842"/>
            <ac:picMk id="21" creationId="{D24EB908-16F9-E7D7-2BF6-A0B140AF355E}"/>
          </ac:picMkLst>
        </pc:picChg>
        <pc:picChg chg="mod">
          <ac:chgData name="Franz MULLER" userId="79454339-e177-4ea3-bc97-d1e6b529622b" providerId="ADAL" clId="{0D497945-B4BB-4CEE-BAAE-E72909B9B60B}" dt="2023-09-15T02:00:45.621" v="2396" actId="14100"/>
          <ac:picMkLst>
            <pc:docMk/>
            <pc:sldMk cId="1527142154" sldId="2147472842"/>
            <ac:picMk id="1028" creationId="{C296C5ED-CD52-D15D-7448-EE6B3D3069CA}"/>
          </ac:picMkLst>
        </pc:picChg>
        <pc:picChg chg="mod">
          <ac:chgData name="Franz MULLER" userId="79454339-e177-4ea3-bc97-d1e6b529622b" providerId="ADAL" clId="{0D497945-B4BB-4CEE-BAAE-E72909B9B60B}" dt="2023-09-15T02:00:57.543" v="2402" actId="14100"/>
          <ac:picMkLst>
            <pc:docMk/>
            <pc:sldMk cId="1527142154" sldId="2147472842"/>
            <ac:picMk id="2052" creationId="{A95DDAAE-9B0A-C549-5343-155FFA782FAA}"/>
          </ac:picMkLst>
        </pc:picChg>
      </pc:sldChg>
      <pc:sldChg chg="modSp add del mod modNotesTx">
        <pc:chgData name="Franz MULLER" userId="79454339-e177-4ea3-bc97-d1e6b529622b" providerId="ADAL" clId="{0D497945-B4BB-4CEE-BAAE-E72909B9B60B}" dt="2023-09-22T18:33:17.845" v="6872" actId="47"/>
        <pc:sldMkLst>
          <pc:docMk/>
          <pc:sldMk cId="3302868838" sldId="2147472842"/>
        </pc:sldMkLst>
        <pc:spChg chg="mod">
          <ac:chgData name="Franz MULLER" userId="79454339-e177-4ea3-bc97-d1e6b529622b" providerId="ADAL" clId="{0D497945-B4BB-4CEE-BAAE-E72909B9B60B}" dt="2023-09-20T14:52:19.731" v="3165" actId="20577"/>
          <ac:spMkLst>
            <pc:docMk/>
            <pc:sldMk cId="3302868838" sldId="2147472842"/>
            <ac:spMk id="2" creationId="{827A5D47-70FF-7DA0-379F-F26B2F5A9525}"/>
          </ac:spMkLst>
        </pc:spChg>
        <pc:spChg chg="mod">
          <ac:chgData name="Franz MULLER" userId="79454339-e177-4ea3-bc97-d1e6b529622b" providerId="ADAL" clId="{0D497945-B4BB-4CEE-BAAE-E72909B9B60B}" dt="2023-09-20T14:52:09.273" v="3163" actId="14100"/>
          <ac:spMkLst>
            <pc:docMk/>
            <pc:sldMk cId="3302868838" sldId="2147472842"/>
            <ac:spMk id="4" creationId="{7169C6DC-E4CA-154D-5274-DA0E37686B8E}"/>
          </ac:spMkLst>
        </pc:spChg>
        <pc:spChg chg="mod">
          <ac:chgData name="Franz MULLER" userId="79454339-e177-4ea3-bc97-d1e6b529622b" providerId="ADAL" clId="{0D497945-B4BB-4CEE-BAAE-E72909B9B60B}" dt="2023-09-22T13:07:18.260" v="6056" actId="14100"/>
          <ac:spMkLst>
            <pc:docMk/>
            <pc:sldMk cId="3302868838" sldId="2147472842"/>
            <ac:spMk id="15" creationId="{DF5AAF16-8083-764E-92A2-9064C9DBDC8D}"/>
          </ac:spMkLst>
        </pc:spChg>
      </pc:sldChg>
      <pc:sldChg chg="addSp delSp modSp add del mod">
        <pc:chgData name="Franz MULLER" userId="79454339-e177-4ea3-bc97-d1e6b529622b" providerId="ADAL" clId="{0D497945-B4BB-4CEE-BAAE-E72909B9B60B}" dt="2023-09-15T01:01:56.316" v="1638" actId="47"/>
        <pc:sldMkLst>
          <pc:docMk/>
          <pc:sldMk cId="3615407045" sldId="2147472842"/>
        </pc:sldMkLst>
        <pc:spChg chg="del mod">
          <ac:chgData name="Franz MULLER" userId="79454339-e177-4ea3-bc97-d1e6b529622b" providerId="ADAL" clId="{0D497945-B4BB-4CEE-BAAE-E72909B9B60B}" dt="2023-09-15T00:58:52.313" v="1634" actId="478"/>
          <ac:spMkLst>
            <pc:docMk/>
            <pc:sldMk cId="3615407045" sldId="2147472842"/>
            <ac:spMk id="8" creationId="{367A665C-2BC4-2663-6158-5B17C6B3CD84}"/>
          </ac:spMkLst>
        </pc:spChg>
        <pc:spChg chg="del">
          <ac:chgData name="Franz MULLER" userId="79454339-e177-4ea3-bc97-d1e6b529622b" providerId="ADAL" clId="{0D497945-B4BB-4CEE-BAAE-E72909B9B60B}" dt="2023-09-15T00:58:54.533" v="1635" actId="478"/>
          <ac:spMkLst>
            <pc:docMk/>
            <pc:sldMk cId="3615407045" sldId="2147472842"/>
            <ac:spMk id="11" creationId="{107F15ED-D6C6-56BA-BBA3-B5A34BBD2FB0}"/>
          </ac:spMkLst>
        </pc:spChg>
        <pc:spChg chg="del">
          <ac:chgData name="Franz MULLER" userId="79454339-e177-4ea3-bc97-d1e6b529622b" providerId="ADAL" clId="{0D497945-B4BB-4CEE-BAAE-E72909B9B60B}" dt="2023-09-15T00:58:56.700" v="1636" actId="478"/>
          <ac:spMkLst>
            <pc:docMk/>
            <pc:sldMk cId="3615407045" sldId="2147472842"/>
            <ac:spMk id="18" creationId="{CEFB4677-25EB-EC0B-9540-8374BC66E151}"/>
          </ac:spMkLst>
        </pc:spChg>
        <pc:picChg chg="add del">
          <ac:chgData name="Franz MULLER" userId="79454339-e177-4ea3-bc97-d1e6b529622b" providerId="ADAL" clId="{0D497945-B4BB-4CEE-BAAE-E72909B9B60B}" dt="2023-09-15T00:58:22.470" v="1597" actId="478"/>
          <ac:picMkLst>
            <pc:docMk/>
            <pc:sldMk cId="3615407045" sldId="2147472842"/>
            <ac:picMk id="5122" creationId="{DD04B6EC-489F-06E1-8329-1FED4D8EA0AB}"/>
          </ac:picMkLst>
        </pc:picChg>
        <pc:picChg chg="add mod">
          <ac:chgData name="Franz MULLER" userId="79454339-e177-4ea3-bc97-d1e6b529622b" providerId="ADAL" clId="{0D497945-B4BB-4CEE-BAAE-E72909B9B60B}" dt="2023-09-15T00:58:59.299" v="1637" actId="1076"/>
          <ac:picMkLst>
            <pc:docMk/>
            <pc:sldMk cId="3615407045" sldId="2147472842"/>
            <ac:picMk id="5124" creationId="{832D9F6E-89DE-64DA-686C-B7C20B3F61D9}"/>
          </ac:picMkLst>
        </pc:picChg>
      </pc:sldChg>
      <pc:sldChg chg="addSp delSp modSp add del mod setBg delDesignElem">
        <pc:chgData name="Franz MULLER" userId="79454339-e177-4ea3-bc97-d1e6b529622b" providerId="ADAL" clId="{0D497945-B4BB-4CEE-BAAE-E72909B9B60B}" dt="2023-09-15T01:58:08.760" v="2278" actId="47"/>
        <pc:sldMkLst>
          <pc:docMk/>
          <pc:sldMk cId="1350266879" sldId="2147472843"/>
        </pc:sldMkLst>
        <pc:spChg chg="mod">
          <ac:chgData name="Franz MULLER" userId="79454339-e177-4ea3-bc97-d1e6b529622b" providerId="ADAL" clId="{0D497945-B4BB-4CEE-BAAE-E72909B9B60B}" dt="2023-09-15T01:56:29.103" v="2273" actId="26606"/>
          <ac:spMkLst>
            <pc:docMk/>
            <pc:sldMk cId="1350266879" sldId="2147472843"/>
            <ac:spMk id="4" creationId="{00E1E503-D104-B9FC-73FD-389BF072F292}"/>
          </ac:spMkLst>
        </pc:spChg>
        <pc:spChg chg="mod">
          <ac:chgData name="Franz MULLER" userId="79454339-e177-4ea3-bc97-d1e6b529622b" providerId="ADAL" clId="{0D497945-B4BB-4CEE-BAAE-E72909B9B60B}" dt="2023-09-15T01:56:29.103" v="2273" actId="26606"/>
          <ac:spMkLst>
            <pc:docMk/>
            <pc:sldMk cId="1350266879" sldId="2147472843"/>
            <ac:spMk id="5" creationId="{DE21A781-3FC0-454D-F273-0BC93F789197}"/>
          </ac:spMkLst>
        </pc:spChg>
        <pc:spChg chg="mod">
          <ac:chgData name="Franz MULLER" userId="79454339-e177-4ea3-bc97-d1e6b529622b" providerId="ADAL" clId="{0D497945-B4BB-4CEE-BAAE-E72909B9B60B}" dt="2023-09-15T01:56:29.103" v="2273" actId="26606"/>
          <ac:spMkLst>
            <pc:docMk/>
            <pc:sldMk cId="1350266879" sldId="2147472843"/>
            <ac:spMk id="7" creationId="{1CAFF834-69D4-1704-29E1-C844D5E71204}"/>
          </ac:spMkLst>
        </pc:spChg>
        <pc:spChg chg="mod">
          <ac:chgData name="Franz MULLER" userId="79454339-e177-4ea3-bc97-d1e6b529622b" providerId="ADAL" clId="{0D497945-B4BB-4CEE-BAAE-E72909B9B60B}" dt="2023-09-15T01:56:29.103" v="2273" actId="26606"/>
          <ac:spMkLst>
            <pc:docMk/>
            <pc:sldMk cId="1350266879" sldId="2147472843"/>
            <ac:spMk id="12" creationId="{00000000-0000-0000-0000-000000000000}"/>
          </ac:spMkLst>
        </pc:spChg>
        <pc:spChg chg="add del">
          <ac:chgData name="Franz MULLER" userId="79454339-e177-4ea3-bc97-d1e6b529622b" providerId="ADAL" clId="{0D497945-B4BB-4CEE-BAAE-E72909B9B60B}" dt="2023-09-15T01:55:34.260" v="2264" actId="26606"/>
          <ac:spMkLst>
            <pc:docMk/>
            <pc:sldMk cId="1350266879" sldId="2147472843"/>
            <ac:spMk id="2054" creationId="{AB8C311F-7253-4AED-9701-7FC0708C41C7}"/>
          </ac:spMkLst>
        </pc:spChg>
        <pc:spChg chg="add del">
          <ac:chgData name="Franz MULLER" userId="79454339-e177-4ea3-bc97-d1e6b529622b" providerId="ADAL" clId="{0D497945-B4BB-4CEE-BAAE-E72909B9B60B}" dt="2023-09-15T01:55:34.260" v="2264" actId="26606"/>
          <ac:spMkLst>
            <pc:docMk/>
            <pc:sldMk cId="1350266879" sldId="2147472843"/>
            <ac:spMk id="2055" creationId="{E2384209-CB15-4CDF-9D31-C44FD9A3F20D}"/>
          </ac:spMkLst>
        </pc:spChg>
        <pc:spChg chg="del">
          <ac:chgData name="Franz MULLER" userId="79454339-e177-4ea3-bc97-d1e6b529622b" providerId="ADAL" clId="{0D497945-B4BB-4CEE-BAAE-E72909B9B60B}" dt="2023-09-15T01:55:24.456" v="2261"/>
          <ac:spMkLst>
            <pc:docMk/>
            <pc:sldMk cId="1350266879" sldId="2147472843"/>
            <ac:spMk id="2057" creationId="{C7F55EAC-550A-4BDD-9099-3F20B8FA0EBC}"/>
          </ac:spMkLst>
        </pc:spChg>
        <pc:spChg chg="del">
          <ac:chgData name="Franz MULLER" userId="79454339-e177-4ea3-bc97-d1e6b529622b" providerId="ADAL" clId="{0D497945-B4BB-4CEE-BAAE-E72909B9B60B}" dt="2023-09-15T01:55:24.456" v="2261"/>
          <ac:spMkLst>
            <pc:docMk/>
            <pc:sldMk cId="1350266879" sldId="2147472843"/>
            <ac:spMk id="2059" creationId="{DC4F5A5F-493F-49AE-89B6-D5AF5EBC8B0E}"/>
          </ac:spMkLst>
        </pc:spChg>
        <pc:spChg chg="add del">
          <ac:chgData name="Franz MULLER" userId="79454339-e177-4ea3-bc97-d1e6b529622b" providerId="ADAL" clId="{0D497945-B4BB-4CEE-BAAE-E72909B9B60B}" dt="2023-09-15T01:55:34.260" v="2264" actId="26606"/>
          <ac:spMkLst>
            <pc:docMk/>
            <pc:sldMk cId="1350266879" sldId="2147472843"/>
            <ac:spMk id="2061" creationId="{2633B3B5-CC90-43F0-8714-D31D1F3F0209}"/>
          </ac:spMkLst>
        </pc:spChg>
        <pc:spChg chg="add del">
          <ac:chgData name="Franz MULLER" userId="79454339-e177-4ea3-bc97-d1e6b529622b" providerId="ADAL" clId="{0D497945-B4BB-4CEE-BAAE-E72909B9B60B}" dt="2023-09-15T01:55:34.260" v="2264" actId="26606"/>
          <ac:spMkLst>
            <pc:docMk/>
            <pc:sldMk cId="1350266879" sldId="2147472843"/>
            <ac:spMk id="2063" creationId="{A8D57A06-A426-446D-B02C-A2DC6B62E45E}"/>
          </ac:spMkLst>
        </pc:spChg>
        <pc:spChg chg="add del">
          <ac:chgData name="Franz MULLER" userId="79454339-e177-4ea3-bc97-d1e6b529622b" providerId="ADAL" clId="{0D497945-B4BB-4CEE-BAAE-E72909B9B60B}" dt="2023-09-15T01:55:45.266" v="2266" actId="26606"/>
          <ac:spMkLst>
            <pc:docMk/>
            <pc:sldMk cId="1350266879" sldId="2147472843"/>
            <ac:spMk id="2065" creationId="{5F879AC3-D4CE-493C-ADC7-06205677F4F8}"/>
          </ac:spMkLst>
        </pc:spChg>
        <pc:spChg chg="add del">
          <ac:chgData name="Franz MULLER" userId="79454339-e177-4ea3-bc97-d1e6b529622b" providerId="ADAL" clId="{0D497945-B4BB-4CEE-BAAE-E72909B9B60B}" dt="2023-09-15T01:55:45.266" v="2266" actId="26606"/>
          <ac:spMkLst>
            <pc:docMk/>
            <pc:sldMk cId="1350266879" sldId="2147472843"/>
            <ac:spMk id="2066" creationId="{736F0DFD-0954-464F-BF12-DD2E6F6E0380}"/>
          </ac:spMkLst>
        </pc:spChg>
        <pc:spChg chg="add del">
          <ac:chgData name="Franz MULLER" userId="79454339-e177-4ea3-bc97-d1e6b529622b" providerId="ADAL" clId="{0D497945-B4BB-4CEE-BAAE-E72909B9B60B}" dt="2023-09-15T01:55:57.529" v="2268" actId="26606"/>
          <ac:spMkLst>
            <pc:docMk/>
            <pc:sldMk cId="1350266879" sldId="2147472843"/>
            <ac:spMk id="2068" creationId="{22F15A2D-2324-487D-A02A-BF46C5C580EB}"/>
          </ac:spMkLst>
        </pc:spChg>
        <pc:spChg chg="add del">
          <ac:chgData name="Franz MULLER" userId="79454339-e177-4ea3-bc97-d1e6b529622b" providerId="ADAL" clId="{0D497945-B4BB-4CEE-BAAE-E72909B9B60B}" dt="2023-09-15T01:55:57.529" v="2268" actId="26606"/>
          <ac:spMkLst>
            <pc:docMk/>
            <pc:sldMk cId="1350266879" sldId="2147472843"/>
            <ac:spMk id="2069" creationId="{17A7F34E-D418-47E2-9F86-2C45BBC31210}"/>
          </ac:spMkLst>
        </pc:spChg>
        <pc:spChg chg="add del">
          <ac:chgData name="Franz MULLER" userId="79454339-e177-4ea3-bc97-d1e6b529622b" providerId="ADAL" clId="{0D497945-B4BB-4CEE-BAAE-E72909B9B60B}" dt="2023-09-15T01:55:57.529" v="2268" actId="26606"/>
          <ac:spMkLst>
            <pc:docMk/>
            <pc:sldMk cId="1350266879" sldId="2147472843"/>
            <ac:spMk id="2070" creationId="{2AEAFA59-923A-4F54-8B49-44C970BCC323}"/>
          </ac:spMkLst>
        </pc:spChg>
        <pc:spChg chg="add del">
          <ac:chgData name="Franz MULLER" userId="79454339-e177-4ea3-bc97-d1e6b529622b" providerId="ADAL" clId="{0D497945-B4BB-4CEE-BAAE-E72909B9B60B}" dt="2023-09-15T01:56:03.988" v="2270" actId="26606"/>
          <ac:spMkLst>
            <pc:docMk/>
            <pc:sldMk cId="1350266879" sldId="2147472843"/>
            <ac:spMk id="2072" creationId="{AB8C311F-7253-4AED-9701-7FC0708C41C7}"/>
          </ac:spMkLst>
        </pc:spChg>
        <pc:spChg chg="add del">
          <ac:chgData name="Franz MULLER" userId="79454339-e177-4ea3-bc97-d1e6b529622b" providerId="ADAL" clId="{0D497945-B4BB-4CEE-BAAE-E72909B9B60B}" dt="2023-09-15T01:56:03.988" v="2270" actId="26606"/>
          <ac:spMkLst>
            <pc:docMk/>
            <pc:sldMk cId="1350266879" sldId="2147472843"/>
            <ac:spMk id="2073" creationId="{E2384209-CB15-4CDF-9D31-C44FD9A3F20D}"/>
          </ac:spMkLst>
        </pc:spChg>
        <pc:spChg chg="add del">
          <ac:chgData name="Franz MULLER" userId="79454339-e177-4ea3-bc97-d1e6b529622b" providerId="ADAL" clId="{0D497945-B4BB-4CEE-BAAE-E72909B9B60B}" dt="2023-09-15T01:56:03.988" v="2270" actId="26606"/>
          <ac:spMkLst>
            <pc:docMk/>
            <pc:sldMk cId="1350266879" sldId="2147472843"/>
            <ac:spMk id="2074" creationId="{2633B3B5-CC90-43F0-8714-D31D1F3F0209}"/>
          </ac:spMkLst>
        </pc:spChg>
        <pc:spChg chg="add del">
          <ac:chgData name="Franz MULLER" userId="79454339-e177-4ea3-bc97-d1e6b529622b" providerId="ADAL" clId="{0D497945-B4BB-4CEE-BAAE-E72909B9B60B}" dt="2023-09-15T01:56:03.988" v="2270" actId="26606"/>
          <ac:spMkLst>
            <pc:docMk/>
            <pc:sldMk cId="1350266879" sldId="2147472843"/>
            <ac:spMk id="2075" creationId="{A8D57A06-A426-446D-B02C-A2DC6B62E45E}"/>
          </ac:spMkLst>
        </pc:spChg>
        <pc:spChg chg="add del">
          <ac:chgData name="Franz MULLER" userId="79454339-e177-4ea3-bc97-d1e6b529622b" providerId="ADAL" clId="{0D497945-B4BB-4CEE-BAAE-E72909B9B60B}" dt="2023-09-15T01:56:29.101" v="2272" actId="26606"/>
          <ac:spMkLst>
            <pc:docMk/>
            <pc:sldMk cId="1350266879" sldId="2147472843"/>
            <ac:spMk id="2077" creationId="{C7F55EAC-550A-4BDD-9099-3F20B8FA0EBC}"/>
          </ac:spMkLst>
        </pc:spChg>
        <pc:spChg chg="add del">
          <ac:chgData name="Franz MULLER" userId="79454339-e177-4ea3-bc97-d1e6b529622b" providerId="ADAL" clId="{0D497945-B4BB-4CEE-BAAE-E72909B9B60B}" dt="2023-09-15T01:56:29.101" v="2272" actId="26606"/>
          <ac:spMkLst>
            <pc:docMk/>
            <pc:sldMk cId="1350266879" sldId="2147472843"/>
            <ac:spMk id="2078" creationId="{DC4F5A5F-493F-49AE-89B6-D5AF5EBC8B0E}"/>
          </ac:spMkLst>
        </pc:spChg>
        <pc:spChg chg="add">
          <ac:chgData name="Franz MULLER" userId="79454339-e177-4ea3-bc97-d1e6b529622b" providerId="ADAL" clId="{0D497945-B4BB-4CEE-BAAE-E72909B9B60B}" dt="2023-09-15T01:56:29.103" v="2273" actId="26606"/>
          <ac:spMkLst>
            <pc:docMk/>
            <pc:sldMk cId="1350266879" sldId="2147472843"/>
            <ac:spMk id="2080" creationId="{22F15A2D-2324-487D-A02A-BF46C5C580EB}"/>
          </ac:spMkLst>
        </pc:spChg>
        <pc:spChg chg="add">
          <ac:chgData name="Franz MULLER" userId="79454339-e177-4ea3-bc97-d1e6b529622b" providerId="ADAL" clId="{0D497945-B4BB-4CEE-BAAE-E72909B9B60B}" dt="2023-09-15T01:56:29.103" v="2273" actId="26606"/>
          <ac:spMkLst>
            <pc:docMk/>
            <pc:sldMk cId="1350266879" sldId="2147472843"/>
            <ac:spMk id="2081" creationId="{17A7F34E-D418-47E2-9F86-2C45BBC31210}"/>
          </ac:spMkLst>
        </pc:spChg>
        <pc:spChg chg="add">
          <ac:chgData name="Franz MULLER" userId="79454339-e177-4ea3-bc97-d1e6b529622b" providerId="ADAL" clId="{0D497945-B4BB-4CEE-BAAE-E72909B9B60B}" dt="2023-09-15T01:56:29.103" v="2273" actId="26606"/>
          <ac:spMkLst>
            <pc:docMk/>
            <pc:sldMk cId="1350266879" sldId="2147472843"/>
            <ac:spMk id="2082" creationId="{2AEAFA59-923A-4F54-8B49-44C970BCC323}"/>
          </ac:spMkLst>
        </pc:spChg>
        <pc:picChg chg="mod">
          <ac:chgData name="Franz MULLER" userId="79454339-e177-4ea3-bc97-d1e6b529622b" providerId="ADAL" clId="{0D497945-B4BB-4CEE-BAAE-E72909B9B60B}" dt="2023-09-15T01:56:29.103" v="2273" actId="26606"/>
          <ac:picMkLst>
            <pc:docMk/>
            <pc:sldMk cId="1350266879" sldId="2147472843"/>
            <ac:picMk id="3" creationId="{0B95C2EA-7A78-CD3B-8F6B-ADE8E0773BC4}"/>
          </ac:picMkLst>
        </pc:picChg>
        <pc:picChg chg="mod">
          <ac:chgData name="Franz MULLER" userId="79454339-e177-4ea3-bc97-d1e6b529622b" providerId="ADAL" clId="{0D497945-B4BB-4CEE-BAAE-E72909B9B60B}" dt="2023-09-15T01:56:29.103" v="2273" actId="26606"/>
          <ac:picMkLst>
            <pc:docMk/>
            <pc:sldMk cId="1350266879" sldId="2147472843"/>
            <ac:picMk id="21" creationId="{D24EB908-16F9-E7D7-2BF6-A0B140AF355E}"/>
          </ac:picMkLst>
        </pc:picChg>
        <pc:picChg chg="mod">
          <ac:chgData name="Franz MULLER" userId="79454339-e177-4ea3-bc97-d1e6b529622b" providerId="ADAL" clId="{0D497945-B4BB-4CEE-BAAE-E72909B9B60B}" dt="2023-09-15T01:56:29.103" v="2273" actId="26606"/>
          <ac:picMkLst>
            <pc:docMk/>
            <pc:sldMk cId="1350266879" sldId="2147472843"/>
            <ac:picMk id="1028" creationId="{C296C5ED-CD52-D15D-7448-EE6B3D3069CA}"/>
          </ac:picMkLst>
        </pc:picChg>
        <pc:picChg chg="mod">
          <ac:chgData name="Franz MULLER" userId="79454339-e177-4ea3-bc97-d1e6b529622b" providerId="ADAL" clId="{0D497945-B4BB-4CEE-BAAE-E72909B9B60B}" dt="2023-09-15T01:56:29.103" v="2273" actId="26606"/>
          <ac:picMkLst>
            <pc:docMk/>
            <pc:sldMk cId="1350266879" sldId="2147472843"/>
            <ac:picMk id="2052" creationId="{A95DDAAE-9B0A-C549-5343-155FFA782FAA}"/>
          </ac:picMkLst>
        </pc:picChg>
      </pc:sldChg>
      <pc:sldChg chg="addSp delSp modSp add del mod setBg delDesignElem">
        <pc:chgData name="Franz MULLER" userId="79454339-e177-4ea3-bc97-d1e6b529622b" providerId="ADAL" clId="{0D497945-B4BB-4CEE-BAAE-E72909B9B60B}" dt="2023-09-15T02:01:19.292" v="2407" actId="47"/>
        <pc:sldMkLst>
          <pc:docMk/>
          <pc:sldMk cId="2109072583" sldId="2147472843"/>
        </pc:sldMkLst>
        <pc:spChg chg="mod">
          <ac:chgData name="Franz MULLER" userId="79454339-e177-4ea3-bc97-d1e6b529622b" providerId="ADAL" clId="{0D497945-B4BB-4CEE-BAAE-E72909B9B60B}" dt="2023-09-15T02:01:11.659" v="2406" actId="26606"/>
          <ac:spMkLst>
            <pc:docMk/>
            <pc:sldMk cId="2109072583" sldId="2147472843"/>
            <ac:spMk id="4" creationId="{00E1E503-D104-B9FC-73FD-389BF072F292}"/>
          </ac:spMkLst>
        </pc:spChg>
        <pc:spChg chg="mod">
          <ac:chgData name="Franz MULLER" userId="79454339-e177-4ea3-bc97-d1e6b529622b" providerId="ADAL" clId="{0D497945-B4BB-4CEE-BAAE-E72909B9B60B}" dt="2023-09-15T02:01:11.659" v="2406" actId="26606"/>
          <ac:spMkLst>
            <pc:docMk/>
            <pc:sldMk cId="2109072583" sldId="2147472843"/>
            <ac:spMk id="5" creationId="{DE21A781-3FC0-454D-F273-0BC93F789197}"/>
          </ac:spMkLst>
        </pc:spChg>
        <pc:spChg chg="mod">
          <ac:chgData name="Franz MULLER" userId="79454339-e177-4ea3-bc97-d1e6b529622b" providerId="ADAL" clId="{0D497945-B4BB-4CEE-BAAE-E72909B9B60B}" dt="2023-09-15T02:01:11.659" v="2406" actId="26606"/>
          <ac:spMkLst>
            <pc:docMk/>
            <pc:sldMk cId="2109072583" sldId="2147472843"/>
            <ac:spMk id="8" creationId="{367A665C-2BC4-2663-6158-5B17C6B3CD84}"/>
          </ac:spMkLst>
        </pc:spChg>
        <pc:spChg chg="mod">
          <ac:chgData name="Franz MULLER" userId="79454339-e177-4ea3-bc97-d1e6b529622b" providerId="ADAL" clId="{0D497945-B4BB-4CEE-BAAE-E72909B9B60B}" dt="2023-09-15T02:01:11.659" v="2406" actId="26606"/>
          <ac:spMkLst>
            <pc:docMk/>
            <pc:sldMk cId="2109072583" sldId="2147472843"/>
            <ac:spMk id="11" creationId="{107F15ED-D6C6-56BA-BBA3-B5A34BBD2FB0}"/>
          </ac:spMkLst>
        </pc:spChg>
        <pc:spChg chg="mod">
          <ac:chgData name="Franz MULLER" userId="79454339-e177-4ea3-bc97-d1e6b529622b" providerId="ADAL" clId="{0D497945-B4BB-4CEE-BAAE-E72909B9B60B}" dt="2023-09-15T02:01:11.659" v="2406" actId="26606"/>
          <ac:spMkLst>
            <pc:docMk/>
            <pc:sldMk cId="2109072583" sldId="2147472843"/>
            <ac:spMk id="12" creationId="{00000000-0000-0000-0000-000000000000}"/>
          </ac:spMkLst>
        </pc:spChg>
        <pc:spChg chg="add">
          <ac:chgData name="Franz MULLER" userId="79454339-e177-4ea3-bc97-d1e6b529622b" providerId="ADAL" clId="{0D497945-B4BB-4CEE-BAAE-E72909B9B60B}" dt="2023-09-15T02:01:11.659" v="2406" actId="26606"/>
          <ac:spMkLst>
            <pc:docMk/>
            <pc:sldMk cId="2109072583" sldId="2147472843"/>
            <ac:spMk id="2057" creationId="{2D2B266D-3625-4584-A5C3-7D3F672CFF30}"/>
          </ac:spMkLst>
        </pc:spChg>
        <pc:spChg chg="add">
          <ac:chgData name="Franz MULLER" userId="79454339-e177-4ea3-bc97-d1e6b529622b" providerId="ADAL" clId="{0D497945-B4BB-4CEE-BAAE-E72909B9B60B}" dt="2023-09-15T02:01:11.659" v="2406" actId="26606"/>
          <ac:spMkLst>
            <pc:docMk/>
            <pc:sldMk cId="2109072583" sldId="2147472843"/>
            <ac:spMk id="2059" creationId="{C463B99A-73EE-4FBB-B7C4-F9F9BCC25C65}"/>
          </ac:spMkLst>
        </pc:spChg>
        <pc:spChg chg="add">
          <ac:chgData name="Franz MULLER" userId="79454339-e177-4ea3-bc97-d1e6b529622b" providerId="ADAL" clId="{0D497945-B4BB-4CEE-BAAE-E72909B9B60B}" dt="2023-09-15T02:01:11.659" v="2406" actId="26606"/>
          <ac:spMkLst>
            <pc:docMk/>
            <pc:sldMk cId="2109072583" sldId="2147472843"/>
            <ac:spMk id="2061" creationId="{A5D2A5D1-BA0D-47D3-B051-DA7743C46E28}"/>
          </ac:spMkLst>
        </pc:spChg>
        <pc:spChg chg="del">
          <ac:chgData name="Franz MULLER" userId="79454339-e177-4ea3-bc97-d1e6b529622b" providerId="ADAL" clId="{0D497945-B4BB-4CEE-BAAE-E72909B9B60B}" dt="2023-09-15T02:01:03.309" v="2404"/>
          <ac:spMkLst>
            <pc:docMk/>
            <pc:sldMk cId="2109072583" sldId="2147472843"/>
            <ac:spMk id="2067" creationId="{0B761509-3B9A-49A6-A84B-C3D86811697D}"/>
          </ac:spMkLst>
        </pc:spChg>
        <pc:spChg chg="del">
          <ac:chgData name="Franz MULLER" userId="79454339-e177-4ea3-bc97-d1e6b529622b" providerId="ADAL" clId="{0D497945-B4BB-4CEE-BAAE-E72909B9B60B}" dt="2023-09-15T02:01:03.309" v="2404"/>
          <ac:spMkLst>
            <pc:docMk/>
            <pc:sldMk cId="2109072583" sldId="2147472843"/>
            <ac:spMk id="2068" creationId="{91DE43FD-EB47-414A-B0AB-169B0FFFA527}"/>
          </ac:spMkLst>
        </pc:spChg>
        <pc:grpChg chg="del">
          <ac:chgData name="Franz MULLER" userId="79454339-e177-4ea3-bc97-d1e6b529622b" providerId="ADAL" clId="{0D497945-B4BB-4CEE-BAAE-E72909B9B60B}" dt="2023-09-15T02:01:03.309" v="2404"/>
          <ac:grpSpMkLst>
            <pc:docMk/>
            <pc:sldMk cId="2109072583" sldId="2147472843"/>
            <ac:grpSpMk id="2069" creationId="{58495BCC-CE77-4CC2-952E-846F41119FD5}"/>
          </ac:grpSpMkLst>
        </pc:grpChg>
        <pc:picChg chg="mod">
          <ac:chgData name="Franz MULLER" userId="79454339-e177-4ea3-bc97-d1e6b529622b" providerId="ADAL" clId="{0D497945-B4BB-4CEE-BAAE-E72909B9B60B}" dt="2023-09-15T02:01:11.659" v="2406" actId="26606"/>
          <ac:picMkLst>
            <pc:docMk/>
            <pc:sldMk cId="2109072583" sldId="2147472843"/>
            <ac:picMk id="21" creationId="{D24EB908-16F9-E7D7-2BF6-A0B140AF355E}"/>
          </ac:picMkLst>
        </pc:picChg>
        <pc:picChg chg="mod">
          <ac:chgData name="Franz MULLER" userId="79454339-e177-4ea3-bc97-d1e6b529622b" providerId="ADAL" clId="{0D497945-B4BB-4CEE-BAAE-E72909B9B60B}" dt="2023-09-15T02:01:11.659" v="2406" actId="26606"/>
          <ac:picMkLst>
            <pc:docMk/>
            <pc:sldMk cId="2109072583" sldId="2147472843"/>
            <ac:picMk id="1028" creationId="{C296C5ED-CD52-D15D-7448-EE6B3D3069CA}"/>
          </ac:picMkLst>
        </pc:picChg>
        <pc:picChg chg="mod">
          <ac:chgData name="Franz MULLER" userId="79454339-e177-4ea3-bc97-d1e6b529622b" providerId="ADAL" clId="{0D497945-B4BB-4CEE-BAAE-E72909B9B60B}" dt="2023-09-15T02:01:11.659" v="2406" actId="26606"/>
          <ac:picMkLst>
            <pc:docMk/>
            <pc:sldMk cId="2109072583" sldId="2147472843"/>
            <ac:picMk id="2052" creationId="{A95DDAAE-9B0A-C549-5343-155FFA782FAA}"/>
          </ac:picMkLst>
        </pc:picChg>
      </pc:sldChg>
      <pc:sldChg chg="modSp add mod modNotesTx">
        <pc:chgData name="Franz MULLER" userId="79454339-e177-4ea3-bc97-d1e6b529622b" providerId="ADAL" clId="{0D497945-B4BB-4CEE-BAAE-E72909B9B60B}" dt="2023-09-20T14:52:49.962" v="3170" actId="1076"/>
        <pc:sldMkLst>
          <pc:docMk/>
          <pc:sldMk cId="2913703264" sldId="2147472843"/>
        </pc:sldMkLst>
        <pc:spChg chg="mod">
          <ac:chgData name="Franz MULLER" userId="79454339-e177-4ea3-bc97-d1e6b529622b" providerId="ADAL" clId="{0D497945-B4BB-4CEE-BAAE-E72909B9B60B}" dt="2023-09-20T14:52:49.962" v="3170" actId="1076"/>
          <ac:spMkLst>
            <pc:docMk/>
            <pc:sldMk cId="2913703264" sldId="2147472843"/>
            <ac:spMk id="21" creationId="{2B22B50D-E930-46C4-82E7-A414AF7AAAF8}"/>
          </ac:spMkLst>
        </pc:spChg>
      </pc:sldChg>
      <pc:sldChg chg="delSp modSp add del mod setBg delDesignElem">
        <pc:chgData name="Franz MULLER" userId="79454339-e177-4ea3-bc97-d1e6b529622b" providerId="ADAL" clId="{0D497945-B4BB-4CEE-BAAE-E72909B9B60B}" dt="2023-09-15T01:59:09.578" v="2372" actId="47"/>
        <pc:sldMkLst>
          <pc:docMk/>
          <pc:sldMk cId="1851592004" sldId="2147472844"/>
        </pc:sldMkLst>
        <pc:spChg chg="mod">
          <ac:chgData name="Franz MULLER" userId="79454339-e177-4ea3-bc97-d1e6b529622b" providerId="ADAL" clId="{0D497945-B4BB-4CEE-BAAE-E72909B9B60B}" dt="2023-09-15T01:58:21.863" v="2357" actId="1037"/>
          <ac:spMkLst>
            <pc:docMk/>
            <pc:sldMk cId="1851592004" sldId="2147472844"/>
            <ac:spMk id="4" creationId="{00E1E503-D104-B9FC-73FD-389BF072F292}"/>
          </ac:spMkLst>
        </pc:spChg>
        <pc:spChg chg="mod">
          <ac:chgData name="Franz MULLER" userId="79454339-e177-4ea3-bc97-d1e6b529622b" providerId="ADAL" clId="{0D497945-B4BB-4CEE-BAAE-E72909B9B60B}" dt="2023-09-15T01:58:21.863" v="2357" actId="1037"/>
          <ac:spMkLst>
            <pc:docMk/>
            <pc:sldMk cId="1851592004" sldId="2147472844"/>
            <ac:spMk id="5" creationId="{DE21A781-3FC0-454D-F273-0BC93F789197}"/>
          </ac:spMkLst>
        </pc:spChg>
        <pc:spChg chg="mod">
          <ac:chgData name="Franz MULLER" userId="79454339-e177-4ea3-bc97-d1e6b529622b" providerId="ADAL" clId="{0D497945-B4BB-4CEE-BAAE-E72909B9B60B}" dt="2023-09-15T01:58:21.863" v="2357" actId="1037"/>
          <ac:spMkLst>
            <pc:docMk/>
            <pc:sldMk cId="1851592004" sldId="2147472844"/>
            <ac:spMk id="7" creationId="{1CAFF834-69D4-1704-29E1-C844D5E71204}"/>
          </ac:spMkLst>
        </pc:spChg>
        <pc:spChg chg="del">
          <ac:chgData name="Franz MULLER" userId="79454339-e177-4ea3-bc97-d1e6b529622b" providerId="ADAL" clId="{0D497945-B4BB-4CEE-BAAE-E72909B9B60B}" dt="2023-09-15T01:58:03.219" v="2275"/>
          <ac:spMkLst>
            <pc:docMk/>
            <pc:sldMk cId="1851592004" sldId="2147472844"/>
            <ac:spMk id="2080" creationId="{22F15A2D-2324-487D-A02A-BF46C5C580EB}"/>
          </ac:spMkLst>
        </pc:spChg>
        <pc:spChg chg="del">
          <ac:chgData name="Franz MULLER" userId="79454339-e177-4ea3-bc97-d1e6b529622b" providerId="ADAL" clId="{0D497945-B4BB-4CEE-BAAE-E72909B9B60B}" dt="2023-09-15T01:58:03.219" v="2275"/>
          <ac:spMkLst>
            <pc:docMk/>
            <pc:sldMk cId="1851592004" sldId="2147472844"/>
            <ac:spMk id="2081" creationId="{17A7F34E-D418-47E2-9F86-2C45BBC31210}"/>
          </ac:spMkLst>
        </pc:spChg>
        <pc:spChg chg="del">
          <ac:chgData name="Franz MULLER" userId="79454339-e177-4ea3-bc97-d1e6b529622b" providerId="ADAL" clId="{0D497945-B4BB-4CEE-BAAE-E72909B9B60B}" dt="2023-09-15T01:58:03.219" v="2275"/>
          <ac:spMkLst>
            <pc:docMk/>
            <pc:sldMk cId="1851592004" sldId="2147472844"/>
            <ac:spMk id="2082" creationId="{2AEAFA59-923A-4F54-8B49-44C970BCC323}"/>
          </ac:spMkLst>
        </pc:spChg>
        <pc:picChg chg="mod">
          <ac:chgData name="Franz MULLER" userId="79454339-e177-4ea3-bc97-d1e6b529622b" providerId="ADAL" clId="{0D497945-B4BB-4CEE-BAAE-E72909B9B60B}" dt="2023-09-15T01:58:35.759" v="2363" actId="1076"/>
          <ac:picMkLst>
            <pc:docMk/>
            <pc:sldMk cId="1851592004" sldId="2147472844"/>
            <ac:picMk id="3" creationId="{0B95C2EA-7A78-CD3B-8F6B-ADE8E0773BC4}"/>
          </ac:picMkLst>
        </pc:picChg>
        <pc:picChg chg="mod">
          <ac:chgData name="Franz MULLER" userId="79454339-e177-4ea3-bc97-d1e6b529622b" providerId="ADAL" clId="{0D497945-B4BB-4CEE-BAAE-E72909B9B60B}" dt="2023-09-15T01:58:25.065" v="2358" actId="1076"/>
          <ac:picMkLst>
            <pc:docMk/>
            <pc:sldMk cId="1851592004" sldId="2147472844"/>
            <ac:picMk id="21" creationId="{D24EB908-16F9-E7D7-2BF6-A0B140AF355E}"/>
          </ac:picMkLst>
        </pc:picChg>
        <pc:picChg chg="mod">
          <ac:chgData name="Franz MULLER" userId="79454339-e177-4ea3-bc97-d1e6b529622b" providerId="ADAL" clId="{0D497945-B4BB-4CEE-BAAE-E72909B9B60B}" dt="2023-09-15T01:58:21.863" v="2357" actId="1037"/>
          <ac:picMkLst>
            <pc:docMk/>
            <pc:sldMk cId="1851592004" sldId="2147472844"/>
            <ac:picMk id="1028" creationId="{C296C5ED-CD52-D15D-7448-EE6B3D3069CA}"/>
          </ac:picMkLst>
        </pc:picChg>
        <pc:picChg chg="mod">
          <ac:chgData name="Franz MULLER" userId="79454339-e177-4ea3-bc97-d1e6b529622b" providerId="ADAL" clId="{0D497945-B4BB-4CEE-BAAE-E72909B9B60B}" dt="2023-09-15T01:58:28.513" v="2359" actId="1076"/>
          <ac:picMkLst>
            <pc:docMk/>
            <pc:sldMk cId="1851592004" sldId="2147472844"/>
            <ac:picMk id="2052" creationId="{A95DDAAE-9B0A-C549-5343-155FFA782FAA}"/>
          </ac:picMkLst>
        </pc:picChg>
      </pc:sldChg>
      <pc:sldChg chg="addSp delSp modSp add mod modTransition modAnim">
        <pc:chgData name="Franz MULLER" userId="79454339-e177-4ea3-bc97-d1e6b529622b" providerId="ADAL" clId="{0D497945-B4BB-4CEE-BAAE-E72909B9B60B}" dt="2023-09-22T18:33:33.660" v="6875" actId="113"/>
        <pc:sldMkLst>
          <pc:docMk/>
          <pc:sldMk cId="3048732496" sldId="2147472844"/>
        </pc:sldMkLst>
        <pc:spChg chg="add mod">
          <ac:chgData name="Franz MULLER" userId="79454339-e177-4ea3-bc97-d1e6b529622b" providerId="ADAL" clId="{0D497945-B4BB-4CEE-BAAE-E72909B9B60B}" dt="2023-09-20T19:35:33.307" v="5187" actId="1076"/>
          <ac:spMkLst>
            <pc:docMk/>
            <pc:sldMk cId="3048732496" sldId="2147472844"/>
            <ac:spMk id="2" creationId="{CCF18E5B-6253-20CA-1E2D-E92FC37C883A}"/>
          </ac:spMkLst>
        </pc:spChg>
        <pc:spChg chg="mod topLvl">
          <ac:chgData name="Franz MULLER" userId="79454339-e177-4ea3-bc97-d1e6b529622b" providerId="ADAL" clId="{0D497945-B4BB-4CEE-BAAE-E72909B9B60B}" dt="2023-09-22T18:33:33.660" v="6875" actId="113"/>
          <ac:spMkLst>
            <pc:docMk/>
            <pc:sldMk cId="3048732496" sldId="2147472844"/>
            <ac:spMk id="32" creationId="{3F9A418A-C08C-674F-B4D1-4337D032DA20}"/>
          </ac:spMkLst>
        </pc:spChg>
        <pc:spChg chg="del">
          <ac:chgData name="Franz MULLER" userId="79454339-e177-4ea3-bc97-d1e6b529622b" providerId="ADAL" clId="{0D497945-B4BB-4CEE-BAAE-E72909B9B60B}" dt="2023-09-20T17:58:31.364" v="4894" actId="478"/>
          <ac:spMkLst>
            <pc:docMk/>
            <pc:sldMk cId="3048732496" sldId="2147472844"/>
            <ac:spMk id="36" creationId="{E9F9150C-A613-4148-8732-6185E991468C}"/>
          </ac:spMkLst>
        </pc:spChg>
        <pc:spChg chg="del topLvl">
          <ac:chgData name="Franz MULLER" userId="79454339-e177-4ea3-bc97-d1e6b529622b" providerId="ADAL" clId="{0D497945-B4BB-4CEE-BAAE-E72909B9B60B}" dt="2023-09-20T17:58:34.554" v="4896" actId="478"/>
          <ac:spMkLst>
            <pc:docMk/>
            <pc:sldMk cId="3048732496" sldId="2147472844"/>
            <ac:spMk id="37" creationId="{C850A5DF-F6EC-2C43-9590-66587D764105}"/>
          </ac:spMkLst>
        </pc:spChg>
        <pc:spChg chg="mod">
          <ac:chgData name="Franz MULLER" userId="79454339-e177-4ea3-bc97-d1e6b529622b" providerId="ADAL" clId="{0D497945-B4BB-4CEE-BAAE-E72909B9B60B}" dt="2023-09-20T17:11:35.920" v="4891" actId="20577"/>
          <ac:spMkLst>
            <pc:docMk/>
            <pc:sldMk cId="3048732496" sldId="2147472844"/>
            <ac:spMk id="42" creationId="{A7D16F14-0FCF-764C-878E-291F06C09DA4}"/>
          </ac:spMkLst>
        </pc:spChg>
        <pc:spChg chg="mod">
          <ac:chgData name="Franz MULLER" userId="79454339-e177-4ea3-bc97-d1e6b529622b" providerId="ADAL" clId="{0D497945-B4BB-4CEE-BAAE-E72909B9B60B}" dt="2023-09-20T17:11:34.116" v="4890" actId="122"/>
          <ac:spMkLst>
            <pc:docMk/>
            <pc:sldMk cId="3048732496" sldId="2147472844"/>
            <ac:spMk id="19472" creationId="{00000000-0000-0000-0000-000000000000}"/>
          </ac:spMkLst>
        </pc:spChg>
        <pc:grpChg chg="del">
          <ac:chgData name="Franz MULLER" userId="79454339-e177-4ea3-bc97-d1e6b529622b" providerId="ADAL" clId="{0D497945-B4BB-4CEE-BAAE-E72909B9B60B}" dt="2023-09-20T17:58:33.089" v="4895" actId="478"/>
          <ac:grpSpMkLst>
            <pc:docMk/>
            <pc:sldMk cId="3048732496" sldId="2147472844"/>
            <ac:grpSpMk id="14" creationId="{31CB7AEC-47CA-D24B-9444-0793B4F3F0FD}"/>
          </ac:grpSpMkLst>
        </pc:grpChg>
        <pc:grpChg chg="del">
          <ac:chgData name="Franz MULLER" userId="79454339-e177-4ea3-bc97-d1e6b529622b" providerId="ADAL" clId="{0D497945-B4BB-4CEE-BAAE-E72909B9B60B}" dt="2023-09-20T17:58:36.741" v="4897" actId="478"/>
          <ac:grpSpMkLst>
            <pc:docMk/>
            <pc:sldMk cId="3048732496" sldId="2147472844"/>
            <ac:grpSpMk id="22" creationId="{7485490F-0FA9-A742-B165-29C01161F86E}"/>
          </ac:grpSpMkLst>
        </pc:grpChg>
        <pc:grpChg chg="del">
          <ac:chgData name="Franz MULLER" userId="79454339-e177-4ea3-bc97-d1e6b529622b" providerId="ADAL" clId="{0D497945-B4BB-4CEE-BAAE-E72909B9B60B}" dt="2023-09-20T17:58:34.554" v="4896" actId="478"/>
          <ac:grpSpMkLst>
            <pc:docMk/>
            <pc:sldMk cId="3048732496" sldId="2147472844"/>
            <ac:grpSpMk id="23" creationId="{CEA28E74-0BDE-A444-A2AB-C7C88B3EBEE1}"/>
          </ac:grpSpMkLst>
        </pc:grpChg>
        <pc:grpChg chg="del">
          <ac:chgData name="Franz MULLER" userId="79454339-e177-4ea3-bc97-d1e6b529622b" providerId="ADAL" clId="{0D497945-B4BB-4CEE-BAAE-E72909B9B60B}" dt="2023-09-20T17:58:31.364" v="4894" actId="478"/>
          <ac:grpSpMkLst>
            <pc:docMk/>
            <pc:sldMk cId="3048732496" sldId="2147472844"/>
            <ac:grpSpMk id="35" creationId="{1D4A5A23-3E0A-F747-9A9A-8D6546ED1323}"/>
          </ac:grpSpMkLst>
        </pc:grpChg>
        <pc:picChg chg="del">
          <ac:chgData name="Franz MULLER" userId="79454339-e177-4ea3-bc97-d1e6b529622b" providerId="ADAL" clId="{0D497945-B4BB-4CEE-BAAE-E72909B9B60B}" dt="2023-09-20T17:58:33.089" v="4895" actId="478"/>
          <ac:picMkLst>
            <pc:docMk/>
            <pc:sldMk cId="3048732496" sldId="2147472844"/>
            <ac:picMk id="5" creationId="{A94251D8-DD13-7041-97A8-43169E09723F}"/>
          </ac:picMkLst>
        </pc:picChg>
      </pc:sldChg>
      <pc:sldChg chg="addSp delSp modSp add mod ord">
        <pc:chgData name="Franz MULLER" userId="79454339-e177-4ea3-bc97-d1e6b529622b" providerId="ADAL" clId="{0D497945-B4BB-4CEE-BAAE-E72909B9B60B}" dt="2023-09-22T17:35:01.076" v="6379" actId="1038"/>
        <pc:sldMkLst>
          <pc:docMk/>
          <pc:sldMk cId="2443885685" sldId="2147472845"/>
        </pc:sldMkLst>
        <pc:spChg chg="mod">
          <ac:chgData name="Franz MULLER" userId="79454339-e177-4ea3-bc97-d1e6b529622b" providerId="ADAL" clId="{0D497945-B4BB-4CEE-BAAE-E72909B9B60B}" dt="2023-09-20T20:50:30.256" v="5468" actId="1076"/>
          <ac:spMkLst>
            <pc:docMk/>
            <pc:sldMk cId="2443885685" sldId="2147472845"/>
            <ac:spMk id="2" creationId="{1E47156E-6F9E-C3D3-117B-218B4508A0E4}"/>
          </ac:spMkLst>
        </pc:spChg>
        <pc:spChg chg="add mod">
          <ac:chgData name="Franz MULLER" userId="79454339-e177-4ea3-bc97-d1e6b529622b" providerId="ADAL" clId="{0D497945-B4BB-4CEE-BAAE-E72909B9B60B}" dt="2023-09-22T17:31:16.278" v="6249" actId="1076"/>
          <ac:spMkLst>
            <pc:docMk/>
            <pc:sldMk cId="2443885685" sldId="2147472845"/>
            <ac:spMk id="10" creationId="{22792480-4D15-021A-55E7-260CF93360AF}"/>
          </ac:spMkLst>
        </pc:spChg>
        <pc:spChg chg="add mod">
          <ac:chgData name="Franz MULLER" userId="79454339-e177-4ea3-bc97-d1e6b529622b" providerId="ADAL" clId="{0D497945-B4BB-4CEE-BAAE-E72909B9B60B}" dt="2023-09-22T17:33:46.976" v="6275" actId="1076"/>
          <ac:spMkLst>
            <pc:docMk/>
            <pc:sldMk cId="2443885685" sldId="2147472845"/>
            <ac:spMk id="13" creationId="{659CCCD6-D77F-9C27-3D62-D41D1CC0CAFD}"/>
          </ac:spMkLst>
        </pc:spChg>
        <pc:spChg chg="add mod">
          <ac:chgData name="Franz MULLER" userId="79454339-e177-4ea3-bc97-d1e6b529622b" providerId="ADAL" clId="{0D497945-B4BB-4CEE-BAAE-E72909B9B60B}" dt="2023-09-22T17:35:01.076" v="6379" actId="1038"/>
          <ac:spMkLst>
            <pc:docMk/>
            <pc:sldMk cId="2443885685" sldId="2147472845"/>
            <ac:spMk id="18" creationId="{7D00F39C-3DF5-00D8-DAA5-4BDBBA7AE747}"/>
          </ac:spMkLst>
        </pc:spChg>
        <pc:picChg chg="add del mod modCrop">
          <ac:chgData name="Franz MULLER" userId="79454339-e177-4ea3-bc97-d1e6b529622b" providerId="ADAL" clId="{0D497945-B4BB-4CEE-BAAE-E72909B9B60B}" dt="2023-09-22T17:32:19.217" v="6255" actId="478"/>
          <ac:picMkLst>
            <pc:docMk/>
            <pc:sldMk cId="2443885685" sldId="2147472845"/>
            <ac:picMk id="4" creationId="{48338042-7664-1A6D-B44E-7EFE9E66F191}"/>
          </ac:picMkLst>
        </pc:picChg>
        <pc:picChg chg="del">
          <ac:chgData name="Franz MULLER" userId="79454339-e177-4ea3-bc97-d1e6b529622b" providerId="ADAL" clId="{0D497945-B4BB-4CEE-BAAE-E72909B9B60B}" dt="2023-09-20T20:31:02.981" v="5203" actId="478"/>
          <ac:picMkLst>
            <pc:docMk/>
            <pc:sldMk cId="2443885685" sldId="2147472845"/>
            <ac:picMk id="7" creationId="{8E8D7BB4-0583-68A8-9CBC-0CC84E402ABA}"/>
          </ac:picMkLst>
        </pc:picChg>
        <pc:picChg chg="add del mod modCrop">
          <ac:chgData name="Franz MULLER" userId="79454339-e177-4ea3-bc97-d1e6b529622b" providerId="ADAL" clId="{0D497945-B4BB-4CEE-BAAE-E72909B9B60B}" dt="2023-09-22T17:30:46.629" v="6240" actId="478"/>
          <ac:picMkLst>
            <pc:docMk/>
            <pc:sldMk cId="2443885685" sldId="2147472845"/>
            <ac:picMk id="8" creationId="{B72BE417-9FCA-C361-4E37-15C23F8B4A01}"/>
          </ac:picMkLst>
        </pc:picChg>
        <pc:picChg chg="del">
          <ac:chgData name="Franz MULLER" userId="79454339-e177-4ea3-bc97-d1e6b529622b" providerId="ADAL" clId="{0D497945-B4BB-4CEE-BAAE-E72909B9B60B}" dt="2023-09-20T20:31:05.124" v="5204" actId="478"/>
          <ac:picMkLst>
            <pc:docMk/>
            <pc:sldMk cId="2443885685" sldId="2147472845"/>
            <ac:picMk id="9" creationId="{27047F9D-A1DB-8D53-785B-0306BD4BC3F2}"/>
          </ac:picMkLst>
        </pc:picChg>
        <pc:picChg chg="add mod modCrop">
          <ac:chgData name="Franz MULLER" userId="79454339-e177-4ea3-bc97-d1e6b529622b" providerId="ADAL" clId="{0D497945-B4BB-4CEE-BAAE-E72909B9B60B}" dt="2023-09-22T17:34:22.914" v="6279" actId="732"/>
          <ac:picMkLst>
            <pc:docMk/>
            <pc:sldMk cId="2443885685" sldId="2147472845"/>
            <ac:picMk id="12" creationId="{56601EFA-7A7B-02C4-5018-9E7EB21EA2E2}"/>
          </ac:picMkLst>
        </pc:picChg>
        <pc:picChg chg="add mod modCrop">
          <ac:chgData name="Franz MULLER" userId="79454339-e177-4ea3-bc97-d1e6b529622b" providerId="ADAL" clId="{0D497945-B4BB-4CEE-BAAE-E72909B9B60B}" dt="2023-09-22T17:32:44.736" v="6265" actId="1076"/>
          <ac:picMkLst>
            <pc:docMk/>
            <pc:sldMk cId="2443885685" sldId="2147472845"/>
            <ac:picMk id="15" creationId="{2E6B7B19-1952-6734-2AD0-BBEFE4D98511}"/>
          </ac:picMkLst>
        </pc:picChg>
        <pc:picChg chg="add mod modCrop">
          <ac:chgData name="Franz MULLER" userId="79454339-e177-4ea3-bc97-d1e6b529622b" providerId="ADAL" clId="{0D497945-B4BB-4CEE-BAAE-E72909B9B60B}" dt="2023-09-22T17:33:55.335" v="6276" actId="732"/>
          <ac:picMkLst>
            <pc:docMk/>
            <pc:sldMk cId="2443885685" sldId="2147472845"/>
            <ac:picMk id="17" creationId="{CDF40B02-A607-B055-7D81-7B976F338245}"/>
          </ac:picMkLst>
        </pc:picChg>
      </pc:sldChg>
      <pc:sldChg chg="addSp delSp modSp add del mod setBg">
        <pc:chgData name="Franz MULLER" userId="79454339-e177-4ea3-bc97-d1e6b529622b" providerId="ADAL" clId="{0D497945-B4BB-4CEE-BAAE-E72909B9B60B}" dt="2023-09-15T01:59:08.064" v="2371" actId="47"/>
        <pc:sldMkLst>
          <pc:docMk/>
          <pc:sldMk cId="3262585772" sldId="2147472845"/>
        </pc:sldMkLst>
        <pc:spChg chg="mod">
          <ac:chgData name="Franz MULLER" userId="79454339-e177-4ea3-bc97-d1e6b529622b" providerId="ADAL" clId="{0D497945-B4BB-4CEE-BAAE-E72909B9B60B}" dt="2023-09-15T01:58:50.510" v="2369" actId="26606"/>
          <ac:spMkLst>
            <pc:docMk/>
            <pc:sldMk cId="3262585772" sldId="2147472845"/>
            <ac:spMk id="4" creationId="{00E1E503-D104-B9FC-73FD-389BF072F292}"/>
          </ac:spMkLst>
        </pc:spChg>
        <pc:spChg chg="mod">
          <ac:chgData name="Franz MULLER" userId="79454339-e177-4ea3-bc97-d1e6b529622b" providerId="ADAL" clId="{0D497945-B4BB-4CEE-BAAE-E72909B9B60B}" dt="2023-09-15T01:58:50.510" v="2369" actId="26606"/>
          <ac:spMkLst>
            <pc:docMk/>
            <pc:sldMk cId="3262585772" sldId="2147472845"/>
            <ac:spMk id="5" creationId="{DE21A781-3FC0-454D-F273-0BC93F789197}"/>
          </ac:spMkLst>
        </pc:spChg>
        <pc:spChg chg="mod">
          <ac:chgData name="Franz MULLER" userId="79454339-e177-4ea3-bc97-d1e6b529622b" providerId="ADAL" clId="{0D497945-B4BB-4CEE-BAAE-E72909B9B60B}" dt="2023-09-15T01:58:50.510" v="2369" actId="26606"/>
          <ac:spMkLst>
            <pc:docMk/>
            <pc:sldMk cId="3262585772" sldId="2147472845"/>
            <ac:spMk id="7" creationId="{1CAFF834-69D4-1704-29E1-C844D5E71204}"/>
          </ac:spMkLst>
        </pc:spChg>
        <pc:spChg chg="mod">
          <ac:chgData name="Franz MULLER" userId="79454339-e177-4ea3-bc97-d1e6b529622b" providerId="ADAL" clId="{0D497945-B4BB-4CEE-BAAE-E72909B9B60B}" dt="2023-09-15T01:58:50.510" v="2369" actId="26606"/>
          <ac:spMkLst>
            <pc:docMk/>
            <pc:sldMk cId="3262585772" sldId="2147472845"/>
            <ac:spMk id="12" creationId="{00000000-0000-0000-0000-000000000000}"/>
          </ac:spMkLst>
        </pc:spChg>
        <pc:spChg chg="add del">
          <ac:chgData name="Franz MULLER" userId="79454339-e177-4ea3-bc97-d1e6b529622b" providerId="ADAL" clId="{0D497945-B4BB-4CEE-BAAE-E72909B9B60B}" dt="2023-09-15T01:58:46.643" v="2366" actId="26606"/>
          <ac:spMkLst>
            <pc:docMk/>
            <pc:sldMk cId="3262585772" sldId="2147472845"/>
            <ac:spMk id="2057" creationId="{C3862298-AF85-4572-BED3-52E573EBD410}"/>
          </ac:spMkLst>
        </pc:spChg>
        <pc:spChg chg="add del">
          <ac:chgData name="Franz MULLER" userId="79454339-e177-4ea3-bc97-d1e6b529622b" providerId="ADAL" clId="{0D497945-B4BB-4CEE-BAAE-E72909B9B60B}" dt="2023-09-15T01:58:46.643" v="2366" actId="26606"/>
          <ac:spMkLst>
            <pc:docMk/>
            <pc:sldMk cId="3262585772" sldId="2147472845"/>
            <ac:spMk id="2059" creationId="{03E485DD-0C12-45BC-A361-28152A03BB93}"/>
          </ac:spMkLst>
        </pc:spChg>
        <pc:spChg chg="add del">
          <ac:chgData name="Franz MULLER" userId="79454339-e177-4ea3-bc97-d1e6b529622b" providerId="ADAL" clId="{0D497945-B4BB-4CEE-BAAE-E72909B9B60B}" dt="2023-09-15T01:58:46.643" v="2366" actId="26606"/>
          <ac:spMkLst>
            <pc:docMk/>
            <pc:sldMk cId="3262585772" sldId="2147472845"/>
            <ac:spMk id="2061" creationId="{6D6B998F-CA62-4EE6-B7E7-046377D4F7EF}"/>
          </ac:spMkLst>
        </pc:spChg>
        <pc:spChg chg="add del">
          <ac:chgData name="Franz MULLER" userId="79454339-e177-4ea3-bc97-d1e6b529622b" providerId="ADAL" clId="{0D497945-B4BB-4CEE-BAAE-E72909B9B60B}" dt="2023-09-15T01:58:50.507" v="2368" actId="26606"/>
          <ac:spMkLst>
            <pc:docMk/>
            <pc:sldMk cId="3262585772" sldId="2147472845"/>
            <ac:spMk id="2063" creationId="{A8D57A06-A426-446D-B02C-A2DC6B62E45E}"/>
          </ac:spMkLst>
        </pc:spChg>
        <pc:spChg chg="add del">
          <ac:chgData name="Franz MULLER" userId="79454339-e177-4ea3-bc97-d1e6b529622b" providerId="ADAL" clId="{0D497945-B4BB-4CEE-BAAE-E72909B9B60B}" dt="2023-09-15T01:58:50.507" v="2368" actId="26606"/>
          <ac:spMkLst>
            <pc:docMk/>
            <pc:sldMk cId="3262585772" sldId="2147472845"/>
            <ac:spMk id="2064" creationId="{AB8C311F-7253-4AED-9701-7FC0708C41C7}"/>
          </ac:spMkLst>
        </pc:spChg>
        <pc:spChg chg="add del">
          <ac:chgData name="Franz MULLER" userId="79454339-e177-4ea3-bc97-d1e6b529622b" providerId="ADAL" clId="{0D497945-B4BB-4CEE-BAAE-E72909B9B60B}" dt="2023-09-15T01:58:50.507" v="2368" actId="26606"/>
          <ac:spMkLst>
            <pc:docMk/>
            <pc:sldMk cId="3262585772" sldId="2147472845"/>
            <ac:spMk id="2065" creationId="{E2384209-CB15-4CDF-9D31-C44FD9A3F20D}"/>
          </ac:spMkLst>
        </pc:spChg>
        <pc:spChg chg="add del">
          <ac:chgData name="Franz MULLER" userId="79454339-e177-4ea3-bc97-d1e6b529622b" providerId="ADAL" clId="{0D497945-B4BB-4CEE-BAAE-E72909B9B60B}" dt="2023-09-15T01:58:50.507" v="2368" actId="26606"/>
          <ac:spMkLst>
            <pc:docMk/>
            <pc:sldMk cId="3262585772" sldId="2147472845"/>
            <ac:spMk id="2066" creationId="{2633B3B5-CC90-43F0-8714-D31D1F3F0209}"/>
          </ac:spMkLst>
        </pc:spChg>
        <pc:spChg chg="add">
          <ac:chgData name="Franz MULLER" userId="79454339-e177-4ea3-bc97-d1e6b529622b" providerId="ADAL" clId="{0D497945-B4BB-4CEE-BAAE-E72909B9B60B}" dt="2023-09-15T01:58:50.510" v="2369" actId="26606"/>
          <ac:spMkLst>
            <pc:docMk/>
            <pc:sldMk cId="3262585772" sldId="2147472845"/>
            <ac:spMk id="2068" creationId="{B649E800-A5C8-49A0-A453-ED537DA3156A}"/>
          </ac:spMkLst>
        </pc:spChg>
        <pc:spChg chg="add">
          <ac:chgData name="Franz MULLER" userId="79454339-e177-4ea3-bc97-d1e6b529622b" providerId="ADAL" clId="{0D497945-B4BB-4CEE-BAAE-E72909B9B60B}" dt="2023-09-15T01:58:50.510" v="2369" actId="26606"/>
          <ac:spMkLst>
            <pc:docMk/>
            <pc:sldMk cId="3262585772" sldId="2147472845"/>
            <ac:spMk id="2069" creationId="{8BA67DD7-B75D-4A30-90A4-EEA9F64AF11B}"/>
          </ac:spMkLst>
        </pc:spChg>
        <pc:grpChg chg="add">
          <ac:chgData name="Franz MULLER" userId="79454339-e177-4ea3-bc97-d1e6b529622b" providerId="ADAL" clId="{0D497945-B4BB-4CEE-BAAE-E72909B9B60B}" dt="2023-09-15T01:58:50.510" v="2369" actId="26606"/>
          <ac:grpSpMkLst>
            <pc:docMk/>
            <pc:sldMk cId="3262585772" sldId="2147472845"/>
            <ac:grpSpMk id="2070" creationId="{E8C5FC48-0A3C-4D6D-A0D5-EEE93213DBBE}"/>
          </ac:grpSpMkLst>
        </pc:grpChg>
        <pc:picChg chg="del mod">
          <ac:chgData name="Franz MULLER" userId="79454339-e177-4ea3-bc97-d1e6b529622b" providerId="ADAL" clId="{0D497945-B4BB-4CEE-BAAE-E72909B9B60B}" dt="2023-09-15T01:59:00.855" v="2370" actId="478"/>
          <ac:picMkLst>
            <pc:docMk/>
            <pc:sldMk cId="3262585772" sldId="2147472845"/>
            <ac:picMk id="3" creationId="{0B95C2EA-7A78-CD3B-8F6B-ADE8E0773BC4}"/>
          </ac:picMkLst>
        </pc:picChg>
        <pc:picChg chg="mod">
          <ac:chgData name="Franz MULLER" userId="79454339-e177-4ea3-bc97-d1e6b529622b" providerId="ADAL" clId="{0D497945-B4BB-4CEE-BAAE-E72909B9B60B}" dt="2023-09-15T01:58:50.510" v="2369" actId="26606"/>
          <ac:picMkLst>
            <pc:docMk/>
            <pc:sldMk cId="3262585772" sldId="2147472845"/>
            <ac:picMk id="21" creationId="{D24EB908-16F9-E7D7-2BF6-A0B140AF355E}"/>
          </ac:picMkLst>
        </pc:picChg>
        <pc:picChg chg="mod">
          <ac:chgData name="Franz MULLER" userId="79454339-e177-4ea3-bc97-d1e6b529622b" providerId="ADAL" clId="{0D497945-B4BB-4CEE-BAAE-E72909B9B60B}" dt="2023-09-15T01:58:50.510" v="2369" actId="26606"/>
          <ac:picMkLst>
            <pc:docMk/>
            <pc:sldMk cId="3262585772" sldId="2147472845"/>
            <ac:picMk id="1028" creationId="{C296C5ED-CD52-D15D-7448-EE6B3D3069CA}"/>
          </ac:picMkLst>
        </pc:picChg>
        <pc:picChg chg="mod">
          <ac:chgData name="Franz MULLER" userId="79454339-e177-4ea3-bc97-d1e6b529622b" providerId="ADAL" clId="{0D497945-B4BB-4CEE-BAAE-E72909B9B60B}" dt="2023-09-15T01:58:50.510" v="2369" actId="26606"/>
          <ac:picMkLst>
            <pc:docMk/>
            <pc:sldMk cId="3262585772" sldId="2147472845"/>
            <ac:picMk id="2052" creationId="{A95DDAAE-9B0A-C549-5343-155FFA782FAA}"/>
          </ac:picMkLst>
        </pc:picChg>
      </pc:sldChg>
      <pc:sldChg chg="addSp delSp modSp add del mod">
        <pc:chgData name="Franz MULLER" userId="79454339-e177-4ea3-bc97-d1e6b529622b" providerId="ADAL" clId="{0D497945-B4BB-4CEE-BAAE-E72909B9B60B}" dt="2023-09-20T22:07:09.961" v="5618" actId="47"/>
        <pc:sldMkLst>
          <pc:docMk/>
          <pc:sldMk cId="329445476" sldId="2147472846"/>
        </pc:sldMkLst>
        <pc:spChg chg="mod">
          <ac:chgData name="Franz MULLER" userId="79454339-e177-4ea3-bc97-d1e6b529622b" providerId="ADAL" clId="{0D497945-B4BB-4CEE-BAAE-E72909B9B60B}" dt="2023-09-20T20:42:52.698" v="5345" actId="20577"/>
          <ac:spMkLst>
            <pc:docMk/>
            <pc:sldMk cId="329445476" sldId="2147472846"/>
            <ac:spMk id="2" creationId="{1E47156E-6F9E-C3D3-117B-218B4508A0E4}"/>
          </ac:spMkLst>
        </pc:spChg>
        <pc:spChg chg="add del mod">
          <ac:chgData name="Franz MULLER" userId="79454339-e177-4ea3-bc97-d1e6b529622b" providerId="ADAL" clId="{0D497945-B4BB-4CEE-BAAE-E72909B9B60B}" dt="2023-09-20T20:42:05.546" v="5336"/>
          <ac:spMkLst>
            <pc:docMk/>
            <pc:sldMk cId="329445476" sldId="2147472846"/>
            <ac:spMk id="7" creationId="{DBBAA0D8-E55E-9DD2-DA33-DC0D8ACAE19E}"/>
          </ac:spMkLst>
        </pc:spChg>
        <pc:spChg chg="add del mod">
          <ac:chgData name="Franz MULLER" userId="79454339-e177-4ea3-bc97-d1e6b529622b" providerId="ADAL" clId="{0D497945-B4BB-4CEE-BAAE-E72909B9B60B}" dt="2023-09-20T20:42:05.546" v="5336"/>
          <ac:spMkLst>
            <pc:docMk/>
            <pc:sldMk cId="329445476" sldId="2147472846"/>
            <ac:spMk id="9" creationId="{1635D8DF-303B-512A-EE03-311E4B76DFB8}"/>
          </ac:spMkLst>
        </pc:spChg>
        <pc:spChg chg="del">
          <ac:chgData name="Franz MULLER" userId="79454339-e177-4ea3-bc97-d1e6b529622b" providerId="ADAL" clId="{0D497945-B4BB-4CEE-BAAE-E72909B9B60B}" dt="2023-09-20T20:41:08.057" v="5332" actId="478"/>
          <ac:spMkLst>
            <pc:docMk/>
            <pc:sldMk cId="329445476" sldId="2147472846"/>
            <ac:spMk id="10" creationId="{22792480-4D15-021A-55E7-260CF93360AF}"/>
          </ac:spMkLst>
        </pc:spChg>
        <pc:spChg chg="add del mod">
          <ac:chgData name="Franz MULLER" userId="79454339-e177-4ea3-bc97-d1e6b529622b" providerId="ADAL" clId="{0D497945-B4BB-4CEE-BAAE-E72909B9B60B}" dt="2023-09-20T20:42:05.546" v="5336"/>
          <ac:spMkLst>
            <pc:docMk/>
            <pc:sldMk cId="329445476" sldId="2147472846"/>
            <ac:spMk id="11" creationId="{D1FAF3A9-20DC-0BC2-AE32-9A518FA514C0}"/>
          </ac:spMkLst>
        </pc:spChg>
        <pc:spChg chg="add del mod">
          <ac:chgData name="Franz MULLER" userId="79454339-e177-4ea3-bc97-d1e6b529622b" providerId="ADAL" clId="{0D497945-B4BB-4CEE-BAAE-E72909B9B60B}" dt="2023-09-20T20:42:05.546" v="5336"/>
          <ac:spMkLst>
            <pc:docMk/>
            <pc:sldMk cId="329445476" sldId="2147472846"/>
            <ac:spMk id="12" creationId="{DBB3643E-D39F-7DBF-2D98-6F91D9DC9D10}"/>
          </ac:spMkLst>
        </pc:spChg>
        <pc:spChg chg="add del mod">
          <ac:chgData name="Franz MULLER" userId="79454339-e177-4ea3-bc97-d1e6b529622b" providerId="ADAL" clId="{0D497945-B4BB-4CEE-BAAE-E72909B9B60B}" dt="2023-09-20T20:42:05.546" v="5336"/>
          <ac:spMkLst>
            <pc:docMk/>
            <pc:sldMk cId="329445476" sldId="2147472846"/>
            <ac:spMk id="13" creationId="{EBEAE64E-4EB8-67CE-E39E-18FB1C77526E}"/>
          </ac:spMkLst>
        </pc:spChg>
        <pc:spChg chg="add mod">
          <ac:chgData name="Franz MULLER" userId="79454339-e177-4ea3-bc97-d1e6b529622b" providerId="ADAL" clId="{0D497945-B4BB-4CEE-BAAE-E72909B9B60B}" dt="2023-09-20T20:52:37.983" v="5506" actId="1076"/>
          <ac:spMkLst>
            <pc:docMk/>
            <pc:sldMk cId="329445476" sldId="2147472846"/>
            <ac:spMk id="16" creationId="{BE518A1A-3804-781C-EBD8-DB5944E84529}"/>
          </ac:spMkLst>
        </pc:spChg>
        <pc:spChg chg="add mod">
          <ac:chgData name="Franz MULLER" userId="79454339-e177-4ea3-bc97-d1e6b529622b" providerId="ADAL" clId="{0D497945-B4BB-4CEE-BAAE-E72909B9B60B}" dt="2023-09-20T20:42:45.080" v="5343" actId="14100"/>
          <ac:spMkLst>
            <pc:docMk/>
            <pc:sldMk cId="329445476" sldId="2147472846"/>
            <ac:spMk id="17" creationId="{CD5563A8-8314-17F9-2034-2D3DBD17D791}"/>
          </ac:spMkLst>
        </pc:spChg>
        <pc:spChg chg="add mod">
          <ac:chgData name="Franz MULLER" userId="79454339-e177-4ea3-bc97-d1e6b529622b" providerId="ADAL" clId="{0D497945-B4BB-4CEE-BAAE-E72909B9B60B}" dt="2023-09-20T20:42:35.225" v="5341" actId="14100"/>
          <ac:spMkLst>
            <pc:docMk/>
            <pc:sldMk cId="329445476" sldId="2147472846"/>
            <ac:spMk id="18" creationId="{E9C967C1-6B53-1D50-5780-EB3A45DA0B2A}"/>
          </ac:spMkLst>
        </pc:spChg>
        <pc:spChg chg="add mod">
          <ac:chgData name="Franz MULLER" userId="79454339-e177-4ea3-bc97-d1e6b529622b" providerId="ADAL" clId="{0D497945-B4BB-4CEE-BAAE-E72909B9B60B}" dt="2023-09-20T20:42:13.983" v="5337"/>
          <ac:spMkLst>
            <pc:docMk/>
            <pc:sldMk cId="329445476" sldId="2147472846"/>
            <ac:spMk id="19" creationId="{D8824A2E-2DAB-E87A-4515-59A44C3FFD89}"/>
          </ac:spMkLst>
        </pc:spChg>
        <pc:spChg chg="add mod">
          <ac:chgData name="Franz MULLER" userId="79454339-e177-4ea3-bc97-d1e6b529622b" providerId="ADAL" clId="{0D497945-B4BB-4CEE-BAAE-E72909B9B60B}" dt="2023-09-20T20:42:13.983" v="5337"/>
          <ac:spMkLst>
            <pc:docMk/>
            <pc:sldMk cId="329445476" sldId="2147472846"/>
            <ac:spMk id="20" creationId="{E53CABB3-3CA6-A519-D1C2-CAD45B44BB64}"/>
          </ac:spMkLst>
        </pc:spChg>
        <pc:spChg chg="add mod">
          <ac:chgData name="Franz MULLER" userId="79454339-e177-4ea3-bc97-d1e6b529622b" providerId="ADAL" clId="{0D497945-B4BB-4CEE-BAAE-E72909B9B60B}" dt="2023-09-20T20:54:32.826" v="5512"/>
          <ac:spMkLst>
            <pc:docMk/>
            <pc:sldMk cId="329445476" sldId="2147472846"/>
            <ac:spMk id="21" creationId="{BAA0C13F-9480-1E2E-A930-92E67A3DD14F}"/>
          </ac:spMkLst>
        </pc:spChg>
        <pc:graphicFrameChg chg="add del mod">
          <ac:chgData name="Franz MULLER" userId="79454339-e177-4ea3-bc97-d1e6b529622b" providerId="ADAL" clId="{0D497945-B4BB-4CEE-BAAE-E72909B9B60B}" dt="2023-09-20T20:42:05.546" v="5336"/>
          <ac:graphicFrameMkLst>
            <pc:docMk/>
            <pc:sldMk cId="329445476" sldId="2147472846"/>
            <ac:graphicFrameMk id="3" creationId="{A41795F2-ED7D-DB50-12CE-3AA814B568DD}"/>
          </ac:graphicFrameMkLst>
        </pc:graphicFrameChg>
        <pc:graphicFrameChg chg="add del mod">
          <ac:chgData name="Franz MULLER" userId="79454339-e177-4ea3-bc97-d1e6b529622b" providerId="ADAL" clId="{0D497945-B4BB-4CEE-BAAE-E72909B9B60B}" dt="2023-09-20T20:42:05.546" v="5336"/>
          <ac:graphicFrameMkLst>
            <pc:docMk/>
            <pc:sldMk cId="329445476" sldId="2147472846"/>
            <ac:graphicFrameMk id="6" creationId="{6062B3C1-E4CF-32E6-71BA-1E1D0D4473DC}"/>
          </ac:graphicFrameMkLst>
        </pc:graphicFrameChg>
        <pc:graphicFrameChg chg="add mod">
          <ac:chgData name="Franz MULLER" userId="79454339-e177-4ea3-bc97-d1e6b529622b" providerId="ADAL" clId="{0D497945-B4BB-4CEE-BAAE-E72909B9B60B}" dt="2023-09-20T20:42:27.936" v="5339" actId="14100"/>
          <ac:graphicFrameMkLst>
            <pc:docMk/>
            <pc:sldMk cId="329445476" sldId="2147472846"/>
            <ac:graphicFrameMk id="14" creationId="{8DE148A5-8FD3-7729-DC76-BFA73BE77064}"/>
          </ac:graphicFrameMkLst>
        </pc:graphicFrameChg>
        <pc:graphicFrameChg chg="add mod">
          <ac:chgData name="Franz MULLER" userId="79454339-e177-4ea3-bc97-d1e6b529622b" providerId="ADAL" clId="{0D497945-B4BB-4CEE-BAAE-E72909B9B60B}" dt="2023-09-20T20:42:30.619" v="5340" actId="14100"/>
          <ac:graphicFrameMkLst>
            <pc:docMk/>
            <pc:sldMk cId="329445476" sldId="2147472846"/>
            <ac:graphicFrameMk id="15" creationId="{864ADC1A-BB79-E47D-41A0-BDB45016C7A5}"/>
          </ac:graphicFrameMkLst>
        </pc:graphicFrameChg>
        <pc:picChg chg="del">
          <ac:chgData name="Franz MULLER" userId="79454339-e177-4ea3-bc97-d1e6b529622b" providerId="ADAL" clId="{0D497945-B4BB-4CEE-BAAE-E72909B9B60B}" dt="2023-09-20T20:41:10.330" v="5333" actId="478"/>
          <ac:picMkLst>
            <pc:docMk/>
            <pc:sldMk cId="329445476" sldId="2147472846"/>
            <ac:picMk id="4" creationId="{48338042-7664-1A6D-B44E-7EFE9E66F191}"/>
          </ac:picMkLst>
        </pc:picChg>
        <pc:picChg chg="del">
          <ac:chgData name="Franz MULLER" userId="79454339-e177-4ea3-bc97-d1e6b529622b" providerId="ADAL" clId="{0D497945-B4BB-4CEE-BAAE-E72909B9B60B}" dt="2023-09-20T20:41:11.812" v="5334" actId="478"/>
          <ac:picMkLst>
            <pc:docMk/>
            <pc:sldMk cId="329445476" sldId="2147472846"/>
            <ac:picMk id="8" creationId="{B72BE417-9FCA-C361-4E37-15C23F8B4A01}"/>
          </ac:picMkLst>
        </pc:picChg>
      </pc:sldChg>
      <pc:sldChg chg="addSp delSp modSp add mod ord">
        <pc:chgData name="Franz MULLER" userId="79454339-e177-4ea3-bc97-d1e6b529622b" providerId="ADAL" clId="{0D497945-B4BB-4CEE-BAAE-E72909B9B60B}" dt="2023-09-22T17:38:12.666" v="6532"/>
        <pc:sldMkLst>
          <pc:docMk/>
          <pc:sldMk cId="2547199711" sldId="2147472847"/>
        </pc:sldMkLst>
        <pc:spChg chg="mod">
          <ac:chgData name="Franz MULLER" userId="79454339-e177-4ea3-bc97-d1e6b529622b" providerId="ADAL" clId="{0D497945-B4BB-4CEE-BAAE-E72909B9B60B}" dt="2023-09-20T20:50:18.362" v="5442" actId="14100"/>
          <ac:spMkLst>
            <pc:docMk/>
            <pc:sldMk cId="2547199711" sldId="2147472847"/>
            <ac:spMk id="2" creationId="{1E47156E-6F9E-C3D3-117B-218B4508A0E4}"/>
          </ac:spMkLst>
        </pc:spChg>
        <pc:spChg chg="mod">
          <ac:chgData name="Franz MULLER" userId="79454339-e177-4ea3-bc97-d1e6b529622b" providerId="ADAL" clId="{0D497945-B4BB-4CEE-BAAE-E72909B9B60B}" dt="2023-09-20T21:31:49.766" v="5526" actId="20577"/>
          <ac:spMkLst>
            <pc:docMk/>
            <pc:sldMk cId="2547199711" sldId="2147472847"/>
            <ac:spMk id="10" creationId="{22792480-4D15-021A-55E7-260CF93360AF}"/>
          </ac:spMkLst>
        </pc:spChg>
        <pc:spChg chg="add mod">
          <ac:chgData name="Franz MULLER" userId="79454339-e177-4ea3-bc97-d1e6b529622b" providerId="ADAL" clId="{0D497945-B4BB-4CEE-BAAE-E72909B9B60B}" dt="2023-09-20T20:51:18.031" v="5500" actId="1076"/>
          <ac:spMkLst>
            <pc:docMk/>
            <pc:sldMk cId="2547199711" sldId="2147472847"/>
            <ac:spMk id="13" creationId="{CDAEF77B-8DE7-684C-F180-0FADA20E0892}"/>
          </ac:spMkLst>
        </pc:spChg>
        <pc:spChg chg="add mod">
          <ac:chgData name="Franz MULLER" userId="79454339-e177-4ea3-bc97-d1e6b529622b" providerId="ADAL" clId="{0D497945-B4BB-4CEE-BAAE-E72909B9B60B}" dt="2023-09-20T21:32:03.752" v="5542" actId="1035"/>
          <ac:spMkLst>
            <pc:docMk/>
            <pc:sldMk cId="2547199711" sldId="2147472847"/>
            <ac:spMk id="15" creationId="{9F6F1B7E-C2EB-BA1D-B22F-BBEA221F9A07}"/>
          </ac:spMkLst>
        </pc:spChg>
        <pc:spChg chg="add mod">
          <ac:chgData name="Franz MULLER" userId="79454339-e177-4ea3-bc97-d1e6b529622b" providerId="ADAL" clId="{0D497945-B4BB-4CEE-BAAE-E72909B9B60B}" dt="2023-09-20T21:32:15.354" v="5555" actId="1036"/>
          <ac:spMkLst>
            <pc:docMk/>
            <pc:sldMk cId="2547199711" sldId="2147472847"/>
            <ac:spMk id="17" creationId="{7C94EA00-14E3-35B3-475B-B59198AA466D}"/>
          </ac:spMkLst>
        </pc:spChg>
        <pc:spChg chg="add mod">
          <ac:chgData name="Franz MULLER" userId="79454339-e177-4ea3-bc97-d1e6b529622b" providerId="ADAL" clId="{0D497945-B4BB-4CEE-BAAE-E72909B9B60B}" dt="2023-09-22T17:35:06.167" v="6380"/>
          <ac:spMkLst>
            <pc:docMk/>
            <pc:sldMk cId="2547199711" sldId="2147472847"/>
            <ac:spMk id="18" creationId="{C4314AC8-249E-B7FB-F139-B324A9D5F078}"/>
          </ac:spMkLst>
        </pc:spChg>
        <pc:picChg chg="del">
          <ac:chgData name="Franz MULLER" userId="79454339-e177-4ea3-bc97-d1e6b529622b" providerId="ADAL" clId="{0D497945-B4BB-4CEE-BAAE-E72909B9B60B}" dt="2023-09-20T20:44:54.942" v="5347" actId="478"/>
          <ac:picMkLst>
            <pc:docMk/>
            <pc:sldMk cId="2547199711" sldId="2147472847"/>
            <ac:picMk id="4" creationId="{48338042-7664-1A6D-B44E-7EFE9E66F191}"/>
          </ac:picMkLst>
        </pc:picChg>
        <pc:picChg chg="add mod modCrop">
          <ac:chgData name="Franz MULLER" userId="79454339-e177-4ea3-bc97-d1e6b529622b" providerId="ADAL" clId="{0D497945-B4BB-4CEE-BAAE-E72909B9B60B}" dt="2023-09-20T20:45:40.804" v="5367" actId="208"/>
          <ac:picMkLst>
            <pc:docMk/>
            <pc:sldMk cId="2547199711" sldId="2147472847"/>
            <ac:picMk id="6" creationId="{F5DA8E4A-2C6B-5D39-0EB3-DB39B62C22FA}"/>
          </ac:picMkLst>
        </pc:picChg>
        <pc:picChg chg="del">
          <ac:chgData name="Franz MULLER" userId="79454339-e177-4ea3-bc97-d1e6b529622b" providerId="ADAL" clId="{0D497945-B4BB-4CEE-BAAE-E72909B9B60B}" dt="2023-09-20T20:45:19.142" v="5356" actId="478"/>
          <ac:picMkLst>
            <pc:docMk/>
            <pc:sldMk cId="2547199711" sldId="2147472847"/>
            <ac:picMk id="8" creationId="{B72BE417-9FCA-C361-4E37-15C23F8B4A01}"/>
          </ac:picMkLst>
        </pc:picChg>
        <pc:picChg chg="add mod modCrop">
          <ac:chgData name="Franz MULLER" userId="79454339-e177-4ea3-bc97-d1e6b529622b" providerId="ADAL" clId="{0D497945-B4BB-4CEE-BAAE-E72909B9B60B}" dt="2023-09-20T21:31:40.515" v="5513" actId="1076"/>
          <ac:picMkLst>
            <pc:docMk/>
            <pc:sldMk cId="2547199711" sldId="2147472847"/>
            <ac:picMk id="9" creationId="{5DE82E3E-FB93-82E2-B7AD-2CDBE9BD6249}"/>
          </ac:picMkLst>
        </pc:picChg>
        <pc:picChg chg="add mod modCrop">
          <ac:chgData name="Franz MULLER" userId="79454339-e177-4ea3-bc97-d1e6b529622b" providerId="ADAL" clId="{0D497945-B4BB-4CEE-BAAE-E72909B9B60B}" dt="2023-09-20T20:48:20.957" v="5381" actId="1076"/>
          <ac:picMkLst>
            <pc:docMk/>
            <pc:sldMk cId="2547199711" sldId="2147472847"/>
            <ac:picMk id="12" creationId="{391A6575-4C17-19FF-A05A-8C2534AC08DE}"/>
          </ac:picMkLst>
        </pc:picChg>
      </pc:sldChg>
      <pc:sldChg chg="add">
        <pc:chgData name="Franz MULLER" userId="79454339-e177-4ea3-bc97-d1e6b529622b" providerId="ADAL" clId="{0D497945-B4BB-4CEE-BAAE-E72909B9B60B}" dt="2023-09-20T21:39:00.625" v="5603"/>
        <pc:sldMkLst>
          <pc:docMk/>
          <pc:sldMk cId="4010273375" sldId="2147472848"/>
        </pc:sldMkLst>
      </pc:sldChg>
      <pc:sldChg chg="add">
        <pc:chgData name="Franz MULLER" userId="79454339-e177-4ea3-bc97-d1e6b529622b" providerId="ADAL" clId="{0D497945-B4BB-4CEE-BAAE-E72909B9B60B}" dt="2023-09-20T21:39:35.807" v="5604"/>
        <pc:sldMkLst>
          <pc:docMk/>
          <pc:sldMk cId="1415563421" sldId="2147472849"/>
        </pc:sldMkLst>
      </pc:sldChg>
      <pc:sldChg chg="add">
        <pc:chgData name="Franz MULLER" userId="79454339-e177-4ea3-bc97-d1e6b529622b" providerId="ADAL" clId="{0D497945-B4BB-4CEE-BAAE-E72909B9B60B}" dt="2023-09-20T21:39:50.350" v="5605"/>
        <pc:sldMkLst>
          <pc:docMk/>
          <pc:sldMk cId="509823858" sldId="2147472850"/>
        </pc:sldMkLst>
      </pc:sldChg>
      <pc:sldChg chg="addSp delSp modSp add mod">
        <pc:chgData name="Franz MULLER" userId="79454339-e177-4ea3-bc97-d1e6b529622b" providerId="ADAL" clId="{0D497945-B4BB-4CEE-BAAE-E72909B9B60B}" dt="2023-09-22T17:53:39.136" v="6605"/>
        <pc:sldMkLst>
          <pc:docMk/>
          <pc:sldMk cId="2142659332" sldId="2147472851"/>
        </pc:sldMkLst>
        <pc:spChg chg="del mod">
          <ac:chgData name="Franz MULLER" userId="79454339-e177-4ea3-bc97-d1e6b529622b" providerId="ADAL" clId="{0D497945-B4BB-4CEE-BAAE-E72909B9B60B}" dt="2023-09-22T17:48:30.441" v="6579" actId="478"/>
          <ac:spMkLst>
            <pc:docMk/>
            <pc:sldMk cId="2142659332" sldId="2147472851"/>
            <ac:spMk id="2" creationId="{1E47156E-6F9E-C3D3-117B-218B4508A0E4}"/>
          </ac:spMkLst>
        </pc:spChg>
        <pc:spChg chg="add del mod">
          <ac:chgData name="Franz MULLER" userId="79454339-e177-4ea3-bc97-d1e6b529622b" providerId="ADAL" clId="{0D497945-B4BB-4CEE-BAAE-E72909B9B60B}" dt="2023-09-22T17:48:48.316" v="6596" actId="1036"/>
          <ac:spMkLst>
            <pc:docMk/>
            <pc:sldMk cId="2142659332" sldId="2147472851"/>
            <ac:spMk id="5" creationId="{FC2FB318-A418-4DDE-8467-42E0FD128085}"/>
          </ac:spMkLst>
        </pc:spChg>
        <pc:spChg chg="add mod">
          <ac:chgData name="Franz MULLER" userId="79454339-e177-4ea3-bc97-d1e6b529622b" providerId="ADAL" clId="{0D497945-B4BB-4CEE-BAAE-E72909B9B60B}" dt="2023-09-22T17:48:38.990" v="6581" actId="1076"/>
          <ac:spMkLst>
            <pc:docMk/>
            <pc:sldMk cId="2142659332" sldId="2147472851"/>
            <ac:spMk id="6" creationId="{7D7971BB-3B2C-6CD9-4160-915D4DC3FD70}"/>
          </ac:spMkLst>
        </pc:spChg>
        <pc:spChg chg="mod">
          <ac:chgData name="Franz MULLER" userId="79454339-e177-4ea3-bc97-d1e6b529622b" providerId="ADAL" clId="{0D497945-B4BB-4CEE-BAAE-E72909B9B60B}" dt="2023-09-22T17:48:48.316" v="6596" actId="1036"/>
          <ac:spMkLst>
            <pc:docMk/>
            <pc:sldMk cId="2142659332" sldId="2147472851"/>
            <ac:spMk id="16" creationId="{BE518A1A-3804-781C-EBD8-DB5944E84529}"/>
          </ac:spMkLst>
        </pc:spChg>
        <pc:spChg chg="mod">
          <ac:chgData name="Franz MULLER" userId="79454339-e177-4ea3-bc97-d1e6b529622b" providerId="ADAL" clId="{0D497945-B4BB-4CEE-BAAE-E72909B9B60B}" dt="2023-09-22T17:48:48.316" v="6596" actId="1036"/>
          <ac:spMkLst>
            <pc:docMk/>
            <pc:sldMk cId="2142659332" sldId="2147472851"/>
            <ac:spMk id="17" creationId="{CD5563A8-8314-17F9-2034-2D3DBD17D791}"/>
          </ac:spMkLst>
        </pc:spChg>
        <pc:spChg chg="add del">
          <ac:chgData name="Franz MULLER" userId="79454339-e177-4ea3-bc97-d1e6b529622b" providerId="ADAL" clId="{0D497945-B4BB-4CEE-BAAE-E72909B9B60B}" dt="2023-09-22T17:36:27.124" v="6509" actId="478"/>
          <ac:spMkLst>
            <pc:docMk/>
            <pc:sldMk cId="2142659332" sldId="2147472851"/>
            <ac:spMk id="18" creationId="{E9C967C1-6B53-1D50-5780-EB3A45DA0B2A}"/>
          </ac:spMkLst>
        </pc:spChg>
        <pc:spChg chg="mod">
          <ac:chgData name="Franz MULLER" userId="79454339-e177-4ea3-bc97-d1e6b529622b" providerId="ADAL" clId="{0D497945-B4BB-4CEE-BAAE-E72909B9B60B}" dt="2023-09-22T17:48:48.316" v="6596" actId="1036"/>
          <ac:spMkLst>
            <pc:docMk/>
            <pc:sldMk cId="2142659332" sldId="2147472851"/>
            <ac:spMk id="19" creationId="{D8824A2E-2DAB-E87A-4515-59A44C3FFD89}"/>
          </ac:spMkLst>
        </pc:spChg>
        <pc:spChg chg="add del">
          <ac:chgData name="Franz MULLER" userId="79454339-e177-4ea3-bc97-d1e6b529622b" providerId="ADAL" clId="{0D497945-B4BB-4CEE-BAAE-E72909B9B60B}" dt="2023-09-22T17:36:53.511" v="6515" actId="478"/>
          <ac:spMkLst>
            <pc:docMk/>
            <pc:sldMk cId="2142659332" sldId="2147472851"/>
            <ac:spMk id="20" creationId="{E53CABB3-3CA6-A519-D1C2-CAD45B44BB64}"/>
          </ac:spMkLst>
        </pc:spChg>
        <pc:spChg chg="add del mod">
          <ac:chgData name="Franz MULLER" userId="79454339-e177-4ea3-bc97-d1e6b529622b" providerId="ADAL" clId="{0D497945-B4BB-4CEE-BAAE-E72909B9B60B}" dt="2023-09-22T17:49:01.060" v="6598" actId="14100"/>
          <ac:spMkLst>
            <pc:docMk/>
            <pc:sldMk cId="2142659332" sldId="2147472851"/>
            <ac:spMk id="21" creationId="{BAA0C13F-9480-1E2E-A930-92E67A3DD14F}"/>
          </ac:spMkLst>
        </pc:spChg>
        <pc:graphicFrameChg chg="mod">
          <ac:chgData name="Franz MULLER" userId="79454339-e177-4ea3-bc97-d1e6b529622b" providerId="ADAL" clId="{0D497945-B4BB-4CEE-BAAE-E72909B9B60B}" dt="2023-09-22T17:48:48.316" v="6596" actId="1036"/>
          <ac:graphicFrameMkLst>
            <pc:docMk/>
            <pc:sldMk cId="2142659332" sldId="2147472851"/>
            <ac:graphicFrameMk id="14" creationId="{8DE148A5-8FD3-7729-DC76-BFA73BE77064}"/>
          </ac:graphicFrameMkLst>
        </pc:graphicFrameChg>
        <pc:graphicFrameChg chg="add del mod">
          <ac:chgData name="Franz MULLER" userId="79454339-e177-4ea3-bc97-d1e6b529622b" providerId="ADAL" clId="{0D497945-B4BB-4CEE-BAAE-E72909B9B60B}" dt="2023-09-22T17:36:50.623" v="6514" actId="478"/>
          <ac:graphicFrameMkLst>
            <pc:docMk/>
            <pc:sldMk cId="2142659332" sldId="2147472851"/>
            <ac:graphicFrameMk id="15" creationId="{864ADC1A-BB79-E47D-41A0-BDB45016C7A5}"/>
          </ac:graphicFrameMkLst>
        </pc:graphicFrameChg>
        <pc:picChg chg="add mod">
          <ac:chgData name="Franz MULLER" userId="79454339-e177-4ea3-bc97-d1e6b529622b" providerId="ADAL" clId="{0D497945-B4BB-4CEE-BAAE-E72909B9B60B}" dt="2023-09-22T17:48:48.316" v="6596" actId="1036"/>
          <ac:picMkLst>
            <pc:docMk/>
            <pc:sldMk cId="2142659332" sldId="2147472851"/>
            <ac:picMk id="4" creationId="{291A7A18-16D3-2B45-E49B-F62022646D52}"/>
          </ac:picMkLst>
        </pc:picChg>
        <pc:picChg chg="add del mod">
          <ac:chgData name="Franz MULLER" userId="79454339-e177-4ea3-bc97-d1e6b529622b" providerId="ADAL" clId="{0D497945-B4BB-4CEE-BAAE-E72909B9B60B}" dt="2023-09-22T17:53:39.136" v="6605"/>
          <ac:picMkLst>
            <pc:docMk/>
            <pc:sldMk cId="2142659332" sldId="2147472851"/>
            <ac:picMk id="8" creationId="{4623FBAB-12ED-C231-38D1-47FE0196A103}"/>
          </ac:picMkLst>
        </pc:picChg>
      </pc:sldChg>
      <pc:sldChg chg="add del">
        <pc:chgData name="Franz MULLER" userId="79454339-e177-4ea3-bc97-d1e6b529622b" providerId="ADAL" clId="{0D497945-B4BB-4CEE-BAAE-E72909B9B60B}" dt="2023-09-20T22:06:01.962" v="5616" actId="47"/>
        <pc:sldMkLst>
          <pc:docMk/>
          <pc:sldMk cId="2962008920" sldId="2147472851"/>
        </pc:sldMkLst>
      </pc:sldChg>
      <pc:sldChg chg="add del">
        <pc:chgData name="Franz MULLER" userId="79454339-e177-4ea3-bc97-d1e6b529622b" providerId="ADAL" clId="{0D497945-B4BB-4CEE-BAAE-E72909B9B60B}" dt="2023-09-22T18:12:20.401" v="6869" actId="2696"/>
        <pc:sldMkLst>
          <pc:docMk/>
          <pc:sldMk cId="1020393521" sldId="2147472852"/>
        </pc:sldMkLst>
      </pc:sldChg>
      <pc:sldChg chg="add">
        <pc:chgData name="Franz MULLER" userId="79454339-e177-4ea3-bc97-d1e6b529622b" providerId="ADAL" clId="{0D497945-B4BB-4CEE-BAAE-E72909B9B60B}" dt="2023-09-22T18:12:25.272" v="6870"/>
        <pc:sldMkLst>
          <pc:docMk/>
          <pc:sldMk cId="4153189215" sldId="2147472852"/>
        </pc:sldMkLst>
      </pc:sldChg>
      <pc:sldChg chg="add">
        <pc:chgData name="Franz MULLER" userId="79454339-e177-4ea3-bc97-d1e6b529622b" providerId="ADAL" clId="{0D497945-B4BB-4CEE-BAAE-E72909B9B60B}" dt="2023-09-22T18:12:25.272" v="6870"/>
        <pc:sldMkLst>
          <pc:docMk/>
          <pc:sldMk cId="2272519028" sldId="2147472853"/>
        </pc:sldMkLst>
      </pc:sldChg>
      <pc:sldChg chg="add del">
        <pc:chgData name="Franz MULLER" userId="79454339-e177-4ea3-bc97-d1e6b529622b" providerId="ADAL" clId="{0D497945-B4BB-4CEE-BAAE-E72909B9B60B}" dt="2023-09-22T18:12:20.401" v="6869" actId="2696"/>
        <pc:sldMkLst>
          <pc:docMk/>
          <pc:sldMk cId="4107379085" sldId="2147472853"/>
        </pc:sldMkLst>
      </pc:sldChg>
      <pc:sldChg chg="add ord">
        <pc:chgData name="Franz MULLER" userId="79454339-e177-4ea3-bc97-d1e6b529622b" providerId="ADAL" clId="{0D497945-B4BB-4CEE-BAAE-E72909B9B60B}" dt="2023-09-22T16:27:55.678" v="6186"/>
        <pc:sldMkLst>
          <pc:docMk/>
          <pc:sldMk cId="2075384745" sldId="2147472854"/>
        </pc:sldMkLst>
      </pc:sldChg>
      <pc:sldChg chg="addSp delSp modSp add mod">
        <pc:chgData name="Franz MULLER" userId="79454339-e177-4ea3-bc97-d1e6b529622b" providerId="ADAL" clId="{0D497945-B4BB-4CEE-BAAE-E72909B9B60B}" dt="2023-09-22T17:47:59.981" v="6569" actId="27309"/>
        <pc:sldMkLst>
          <pc:docMk/>
          <pc:sldMk cId="2463075067" sldId="2147472855"/>
        </pc:sldMkLst>
        <pc:spChg chg="mod">
          <ac:chgData name="Franz MULLER" userId="79454339-e177-4ea3-bc97-d1e6b529622b" providerId="ADAL" clId="{0D497945-B4BB-4CEE-BAAE-E72909B9B60B}" dt="2023-09-22T17:39:42.238" v="6546" actId="20577"/>
          <ac:spMkLst>
            <pc:docMk/>
            <pc:sldMk cId="2463075067" sldId="2147472855"/>
            <ac:spMk id="2" creationId="{1E47156E-6F9E-C3D3-117B-218B4508A0E4}"/>
          </ac:spMkLst>
        </pc:spChg>
        <pc:spChg chg="add del mod">
          <ac:chgData name="Franz MULLER" userId="79454339-e177-4ea3-bc97-d1e6b529622b" providerId="ADAL" clId="{0D497945-B4BB-4CEE-BAAE-E72909B9B60B}" dt="2023-09-22T17:40:24.092" v="6553"/>
          <ac:spMkLst>
            <pc:docMk/>
            <pc:sldMk cId="2463075067" sldId="2147472855"/>
            <ac:spMk id="3" creationId="{4971B97B-E5AA-598B-AD48-2EE73CEF3688}"/>
          </ac:spMkLst>
        </pc:spChg>
        <pc:spChg chg="add mod">
          <ac:chgData name="Franz MULLER" userId="79454339-e177-4ea3-bc97-d1e6b529622b" providerId="ADAL" clId="{0D497945-B4BB-4CEE-BAAE-E72909B9B60B}" dt="2023-09-22T17:40:58.987" v="6558" actId="14100"/>
          <ac:spMkLst>
            <pc:docMk/>
            <pc:sldMk cId="2463075067" sldId="2147472855"/>
            <ac:spMk id="9" creationId="{5AFC0573-863C-5799-9934-6C58B8D0E544}"/>
          </ac:spMkLst>
        </pc:spChg>
        <pc:spChg chg="add del">
          <ac:chgData name="Franz MULLER" userId="79454339-e177-4ea3-bc97-d1e6b529622b" providerId="ADAL" clId="{0D497945-B4BB-4CEE-BAAE-E72909B9B60B}" dt="2023-09-22T17:39:55.597" v="6548" actId="478"/>
          <ac:spMkLst>
            <pc:docMk/>
            <pc:sldMk cId="2463075067" sldId="2147472855"/>
            <ac:spMk id="16" creationId="{BE518A1A-3804-781C-EBD8-DB5944E84529}"/>
          </ac:spMkLst>
        </pc:spChg>
        <pc:spChg chg="del">
          <ac:chgData name="Franz MULLER" userId="79454339-e177-4ea3-bc97-d1e6b529622b" providerId="ADAL" clId="{0D497945-B4BB-4CEE-BAAE-E72909B9B60B}" dt="2023-09-22T17:40:07.875" v="6549" actId="478"/>
          <ac:spMkLst>
            <pc:docMk/>
            <pc:sldMk cId="2463075067" sldId="2147472855"/>
            <ac:spMk id="17" creationId="{CD5563A8-8314-17F9-2034-2D3DBD17D791}"/>
          </ac:spMkLst>
        </pc:spChg>
        <pc:spChg chg="mod">
          <ac:chgData name="Franz MULLER" userId="79454339-e177-4ea3-bc97-d1e6b529622b" providerId="ADAL" clId="{0D497945-B4BB-4CEE-BAAE-E72909B9B60B}" dt="2023-09-22T17:41:09.080" v="6560" actId="1076"/>
          <ac:spMkLst>
            <pc:docMk/>
            <pc:sldMk cId="2463075067" sldId="2147472855"/>
            <ac:spMk id="19" creationId="{D8824A2E-2DAB-E87A-4515-59A44C3FFD89}"/>
          </ac:spMkLst>
        </pc:spChg>
        <pc:spChg chg="mod">
          <ac:chgData name="Franz MULLER" userId="79454339-e177-4ea3-bc97-d1e6b529622b" providerId="ADAL" clId="{0D497945-B4BB-4CEE-BAAE-E72909B9B60B}" dt="2023-09-22T17:41:40.091" v="6562" actId="14100"/>
          <ac:spMkLst>
            <pc:docMk/>
            <pc:sldMk cId="2463075067" sldId="2147472855"/>
            <ac:spMk id="21" creationId="{BAA0C13F-9480-1E2E-A930-92E67A3DD14F}"/>
          </ac:spMkLst>
        </pc:spChg>
        <pc:graphicFrameChg chg="add mod">
          <ac:chgData name="Franz MULLER" userId="79454339-e177-4ea3-bc97-d1e6b529622b" providerId="ADAL" clId="{0D497945-B4BB-4CEE-BAAE-E72909B9B60B}" dt="2023-09-22T17:41:03.576" v="6559" actId="14100"/>
          <ac:graphicFrameMkLst>
            <pc:docMk/>
            <pc:sldMk cId="2463075067" sldId="2147472855"/>
            <ac:graphicFrameMk id="7" creationId="{09BB22AA-46C2-440B-0E9C-EC4989E8F792}"/>
          </ac:graphicFrameMkLst>
        </pc:graphicFrameChg>
        <pc:graphicFrameChg chg="add del modGraphic">
          <ac:chgData name="Franz MULLER" userId="79454339-e177-4ea3-bc97-d1e6b529622b" providerId="ADAL" clId="{0D497945-B4BB-4CEE-BAAE-E72909B9B60B}" dt="2023-09-22T17:47:59.981" v="6569" actId="27309"/>
          <ac:graphicFrameMkLst>
            <pc:docMk/>
            <pc:sldMk cId="2463075067" sldId="2147472855"/>
            <ac:graphicFrameMk id="11" creationId="{FAE502BD-7C21-0ECC-323C-95AC34E546B8}"/>
          </ac:graphicFrameMkLst>
        </pc:graphicFrameChg>
        <pc:graphicFrameChg chg="del">
          <ac:chgData name="Franz MULLER" userId="79454339-e177-4ea3-bc97-d1e6b529622b" providerId="ADAL" clId="{0D497945-B4BB-4CEE-BAAE-E72909B9B60B}" dt="2023-09-22T17:40:16.699" v="6550" actId="478"/>
          <ac:graphicFrameMkLst>
            <pc:docMk/>
            <pc:sldMk cId="2463075067" sldId="2147472855"/>
            <ac:graphicFrameMk id="14" creationId="{8DE148A5-8FD3-7729-DC76-BFA73BE77064}"/>
          </ac:graphicFrameMkLst>
        </pc:graphicFrameChg>
        <pc:picChg chg="del">
          <ac:chgData name="Franz MULLER" userId="79454339-e177-4ea3-bc97-d1e6b529622b" providerId="ADAL" clId="{0D497945-B4BB-4CEE-BAAE-E72909B9B60B}" dt="2023-09-22T17:40:22.002" v="6551" actId="478"/>
          <ac:picMkLst>
            <pc:docMk/>
            <pc:sldMk cId="2463075067" sldId="2147472855"/>
            <ac:picMk id="4" creationId="{291A7A18-16D3-2B45-E49B-F62022646D52}"/>
          </ac:picMkLst>
        </pc:picChg>
        <pc:picChg chg="add del mod">
          <ac:chgData name="Franz MULLER" userId="79454339-e177-4ea3-bc97-d1e6b529622b" providerId="ADAL" clId="{0D497945-B4BB-4CEE-BAAE-E72909B9B60B}" dt="2023-09-22T17:40:24.092" v="6553"/>
          <ac:picMkLst>
            <pc:docMk/>
            <pc:sldMk cId="2463075067" sldId="2147472855"/>
            <ac:picMk id="6" creationId="{6CABC654-038A-DFAA-50B4-BBFE61BB7FB5}"/>
          </ac:picMkLst>
        </pc:picChg>
        <pc:picChg chg="add mod">
          <ac:chgData name="Franz MULLER" userId="79454339-e177-4ea3-bc97-d1e6b529622b" providerId="ADAL" clId="{0D497945-B4BB-4CEE-BAAE-E72909B9B60B}" dt="2023-09-22T17:40:53.101" v="6557" actId="1076"/>
          <ac:picMkLst>
            <pc:docMk/>
            <pc:sldMk cId="2463075067" sldId="2147472855"/>
            <ac:picMk id="8" creationId="{BB02F8EE-07F1-BE83-4557-226CF7D60BF6}"/>
          </ac:picMkLst>
        </pc:picChg>
      </pc:sldChg>
      <pc:sldChg chg="addSp delSp modSp add mod">
        <pc:chgData name="Franz MULLER" userId="79454339-e177-4ea3-bc97-d1e6b529622b" providerId="ADAL" clId="{0D497945-B4BB-4CEE-BAAE-E72909B9B60B}" dt="2023-09-22T19:01:56.336" v="7388" actId="1076"/>
        <pc:sldMkLst>
          <pc:docMk/>
          <pc:sldMk cId="3740640797" sldId="2147472856"/>
        </pc:sldMkLst>
        <pc:spChg chg="mod">
          <ac:chgData name="Franz MULLER" userId="79454339-e177-4ea3-bc97-d1e6b529622b" providerId="ADAL" clId="{0D497945-B4BB-4CEE-BAAE-E72909B9B60B}" dt="2023-09-22T18:47:43.661" v="7031" actId="20577"/>
          <ac:spMkLst>
            <pc:docMk/>
            <pc:sldMk cId="3740640797" sldId="2147472856"/>
            <ac:spMk id="13" creationId="{A7FB3028-FD1C-418C-B4AA-8EC2E53916A3}"/>
          </ac:spMkLst>
        </pc:spChg>
        <pc:spChg chg="del">
          <ac:chgData name="Franz MULLER" userId="79454339-e177-4ea3-bc97-d1e6b529622b" providerId="ADAL" clId="{0D497945-B4BB-4CEE-BAAE-E72909B9B60B}" dt="2023-09-22T18:56:35.211" v="7272" actId="478"/>
          <ac:spMkLst>
            <pc:docMk/>
            <pc:sldMk cId="3740640797" sldId="2147472856"/>
            <ac:spMk id="22" creationId="{6ED716FE-4A30-9B12-ADDB-54B997B1F889}"/>
          </ac:spMkLst>
        </pc:spChg>
        <pc:spChg chg="mod">
          <ac:chgData name="Franz MULLER" userId="79454339-e177-4ea3-bc97-d1e6b529622b" providerId="ADAL" clId="{0D497945-B4BB-4CEE-BAAE-E72909B9B60B}" dt="2023-09-22T18:47:59.238" v="7050" actId="20577"/>
          <ac:spMkLst>
            <pc:docMk/>
            <pc:sldMk cId="3740640797" sldId="2147472856"/>
            <ac:spMk id="23" creationId="{0C86F972-8CFE-FBE4-F2FE-4E3291F32DD5}"/>
          </ac:spMkLst>
        </pc:spChg>
        <pc:spChg chg="mod">
          <ac:chgData name="Franz MULLER" userId="79454339-e177-4ea3-bc97-d1e6b529622b" providerId="ADAL" clId="{0D497945-B4BB-4CEE-BAAE-E72909B9B60B}" dt="2023-09-22T18:49:11.690" v="7104" actId="20577"/>
          <ac:spMkLst>
            <pc:docMk/>
            <pc:sldMk cId="3740640797" sldId="2147472856"/>
            <ac:spMk id="25" creationId="{871A2799-E516-CDC7-13D9-F1DBFC58A04C}"/>
          </ac:spMkLst>
        </pc:spChg>
        <pc:spChg chg="mod">
          <ac:chgData name="Franz MULLER" userId="79454339-e177-4ea3-bc97-d1e6b529622b" providerId="ADAL" clId="{0D497945-B4BB-4CEE-BAAE-E72909B9B60B}" dt="2023-09-22T18:48:35.019" v="7071" actId="20577"/>
          <ac:spMkLst>
            <pc:docMk/>
            <pc:sldMk cId="3740640797" sldId="2147472856"/>
            <ac:spMk id="27" creationId="{56CBE167-91D0-BC03-8A5D-74F70738751E}"/>
          </ac:spMkLst>
        </pc:spChg>
        <pc:spChg chg="mod">
          <ac:chgData name="Franz MULLER" userId="79454339-e177-4ea3-bc97-d1e6b529622b" providerId="ADAL" clId="{0D497945-B4BB-4CEE-BAAE-E72909B9B60B}" dt="2023-09-22T18:49:15.903" v="7109" actId="20577"/>
          <ac:spMkLst>
            <pc:docMk/>
            <pc:sldMk cId="3740640797" sldId="2147472856"/>
            <ac:spMk id="30" creationId="{AEEEFF9F-AA58-CF2F-0F8C-F5EC72ED04B7}"/>
          </ac:spMkLst>
        </pc:spChg>
        <pc:spChg chg="mod">
          <ac:chgData name="Franz MULLER" userId="79454339-e177-4ea3-bc97-d1e6b529622b" providerId="ADAL" clId="{0D497945-B4BB-4CEE-BAAE-E72909B9B60B}" dt="2023-09-22T18:49:07.855" v="7099" actId="20577"/>
          <ac:spMkLst>
            <pc:docMk/>
            <pc:sldMk cId="3740640797" sldId="2147472856"/>
            <ac:spMk id="289" creationId="{B8BDC56F-0C5D-F3EE-8CAC-42A330CEE37A}"/>
          </ac:spMkLst>
        </pc:spChg>
        <pc:spChg chg="mod">
          <ac:chgData name="Franz MULLER" userId="79454339-e177-4ea3-bc97-d1e6b529622b" providerId="ADAL" clId="{0D497945-B4BB-4CEE-BAAE-E72909B9B60B}" dt="2023-09-22T18:49:01.239" v="7091" actId="20577"/>
          <ac:spMkLst>
            <pc:docMk/>
            <pc:sldMk cId="3740640797" sldId="2147472856"/>
            <ac:spMk id="291" creationId="{CBF9BACE-D5BC-C3B1-7487-EDF40A73E0BC}"/>
          </ac:spMkLst>
        </pc:spChg>
        <pc:spChg chg="del">
          <ac:chgData name="Franz MULLER" userId="79454339-e177-4ea3-bc97-d1e6b529622b" providerId="ADAL" clId="{0D497945-B4BB-4CEE-BAAE-E72909B9B60B}" dt="2023-09-22T18:56:32.851" v="7271" actId="478"/>
          <ac:spMkLst>
            <pc:docMk/>
            <pc:sldMk cId="3740640797" sldId="2147472856"/>
            <ac:spMk id="293" creationId="{ABF56858-A9B7-B090-7F17-98789FEFDD58}"/>
          </ac:spMkLst>
        </pc:spChg>
        <pc:spChg chg="del">
          <ac:chgData name="Franz MULLER" userId="79454339-e177-4ea3-bc97-d1e6b529622b" providerId="ADAL" clId="{0D497945-B4BB-4CEE-BAAE-E72909B9B60B}" dt="2023-09-22T19:01:08.865" v="7381" actId="478"/>
          <ac:spMkLst>
            <pc:docMk/>
            <pc:sldMk cId="3740640797" sldId="2147472856"/>
            <ac:spMk id="308" creationId="{4DDF7AE8-CF06-446A-A3AA-4AAE919AAB14}"/>
          </ac:spMkLst>
        </pc:spChg>
        <pc:grpChg chg="del">
          <ac:chgData name="Franz MULLER" userId="79454339-e177-4ea3-bc97-d1e6b529622b" providerId="ADAL" clId="{0D497945-B4BB-4CEE-BAAE-E72909B9B60B}" dt="2023-09-22T18:56:32.851" v="7271" actId="478"/>
          <ac:grpSpMkLst>
            <pc:docMk/>
            <pc:sldMk cId="3740640797" sldId="2147472856"/>
            <ac:grpSpMk id="24" creationId="{1F07BED6-5CDD-A416-36AD-3EAB3E772B67}"/>
          </ac:grpSpMkLst>
        </pc:grpChg>
        <pc:graphicFrameChg chg="modGraphic">
          <ac:chgData name="Franz MULLER" userId="79454339-e177-4ea3-bc97-d1e6b529622b" providerId="ADAL" clId="{0D497945-B4BB-4CEE-BAAE-E72909B9B60B}" dt="2023-09-22T18:58:48.726" v="7314" actId="20577"/>
          <ac:graphicFrameMkLst>
            <pc:docMk/>
            <pc:sldMk cId="3740640797" sldId="2147472856"/>
            <ac:graphicFrameMk id="26" creationId="{CAC5FF8B-FEAA-4B21-F3C0-DEEE9516D574}"/>
          </ac:graphicFrameMkLst>
        </pc:graphicFrameChg>
        <pc:graphicFrameChg chg="modGraphic">
          <ac:chgData name="Franz MULLER" userId="79454339-e177-4ea3-bc97-d1e6b529622b" providerId="ADAL" clId="{0D497945-B4BB-4CEE-BAAE-E72909B9B60B}" dt="2023-09-22T18:51:27.998" v="7170" actId="20577"/>
          <ac:graphicFrameMkLst>
            <pc:docMk/>
            <pc:sldMk cId="3740640797" sldId="2147472856"/>
            <ac:graphicFrameMk id="29" creationId="{D3DF60A7-96AF-0155-5823-6AEF01263F3E}"/>
          </ac:graphicFrameMkLst>
        </pc:graphicFrameChg>
        <pc:graphicFrameChg chg="modGraphic">
          <ac:chgData name="Franz MULLER" userId="79454339-e177-4ea3-bc97-d1e6b529622b" providerId="ADAL" clId="{0D497945-B4BB-4CEE-BAAE-E72909B9B60B}" dt="2023-09-22T19:01:03.310" v="7380" actId="20577"/>
          <ac:graphicFrameMkLst>
            <pc:docMk/>
            <pc:sldMk cId="3740640797" sldId="2147472856"/>
            <ac:graphicFrameMk id="31" creationId="{AC6F83B5-0436-B129-7582-AC150271F4AE}"/>
          </ac:graphicFrameMkLst>
        </pc:graphicFrameChg>
        <pc:graphicFrameChg chg="modGraphic">
          <ac:chgData name="Franz MULLER" userId="79454339-e177-4ea3-bc97-d1e6b529622b" providerId="ADAL" clId="{0D497945-B4BB-4CEE-BAAE-E72909B9B60B}" dt="2023-09-22T18:56:28.707" v="7270" actId="20577"/>
          <ac:graphicFrameMkLst>
            <pc:docMk/>
            <pc:sldMk cId="3740640797" sldId="2147472856"/>
            <ac:graphicFrameMk id="290" creationId="{B68D22D3-08C6-EB09-FF3A-65328EC7546B}"/>
          </ac:graphicFrameMkLst>
        </pc:graphicFrameChg>
        <pc:graphicFrameChg chg="modGraphic">
          <ac:chgData name="Franz MULLER" userId="79454339-e177-4ea3-bc97-d1e6b529622b" providerId="ADAL" clId="{0D497945-B4BB-4CEE-BAAE-E72909B9B60B}" dt="2023-09-22T18:53:18.048" v="7212" actId="20577"/>
          <ac:graphicFrameMkLst>
            <pc:docMk/>
            <pc:sldMk cId="3740640797" sldId="2147472856"/>
            <ac:graphicFrameMk id="292" creationId="{67C73ABA-4F92-B13D-47D9-762A88286905}"/>
          </ac:graphicFrameMkLst>
        </pc:graphicFrameChg>
        <pc:picChg chg="add mod">
          <ac:chgData name="Franz MULLER" userId="79454339-e177-4ea3-bc97-d1e6b529622b" providerId="ADAL" clId="{0D497945-B4BB-4CEE-BAAE-E72909B9B60B}" dt="2023-09-22T19:01:54.992" v="7387" actId="1076"/>
          <ac:picMkLst>
            <pc:docMk/>
            <pc:sldMk cId="3740640797" sldId="2147472856"/>
            <ac:picMk id="6" creationId="{17D05864-6A3F-3341-F0E6-5ED580BE3FA1}"/>
          </ac:picMkLst>
        </pc:picChg>
        <pc:picChg chg="add mod">
          <ac:chgData name="Franz MULLER" userId="79454339-e177-4ea3-bc97-d1e6b529622b" providerId="ADAL" clId="{0D497945-B4BB-4CEE-BAAE-E72909B9B60B}" dt="2023-09-22T19:01:56.336" v="7388" actId="1076"/>
          <ac:picMkLst>
            <pc:docMk/>
            <pc:sldMk cId="3740640797" sldId="2147472856"/>
            <ac:picMk id="7" creationId="{395B5131-F17B-D750-43AF-02CEAD7EDA10}"/>
          </ac:picMkLst>
        </pc:picChg>
        <pc:picChg chg="add mod">
          <ac:chgData name="Franz MULLER" userId="79454339-e177-4ea3-bc97-d1e6b529622b" providerId="ADAL" clId="{0D497945-B4BB-4CEE-BAAE-E72909B9B60B}" dt="2023-09-22T18:47:35.143" v="7023" actId="1038"/>
          <ac:picMkLst>
            <pc:docMk/>
            <pc:sldMk cId="3740640797" sldId="2147472856"/>
            <ac:picMk id="1026" creationId="{2211ECDB-9A7D-EAFB-2250-A54BE6EE18D8}"/>
          </ac:picMkLst>
        </pc:picChg>
        <pc:picChg chg="del">
          <ac:chgData name="Franz MULLER" userId="79454339-e177-4ea3-bc97-d1e6b529622b" providerId="ADAL" clId="{0D497945-B4BB-4CEE-BAAE-E72909B9B60B}" dt="2023-09-22T18:47:11.329" v="7010" actId="478"/>
          <ac:picMkLst>
            <pc:docMk/>
            <pc:sldMk cId="3740640797" sldId="2147472856"/>
            <ac:picMk id="4098" creationId="{638FE343-59DE-9C2D-CBE7-FDC6399DB97A}"/>
          </ac:picMkLst>
        </pc:picChg>
      </pc:sldChg>
      <pc:sldChg chg="addSp delSp modSp add mod">
        <pc:chgData name="Franz MULLER" userId="79454339-e177-4ea3-bc97-d1e6b529622b" providerId="ADAL" clId="{0D497945-B4BB-4CEE-BAAE-E72909B9B60B}" dt="2023-09-22T17:59:29.962" v="6864" actId="208"/>
        <pc:sldMkLst>
          <pc:docMk/>
          <pc:sldMk cId="3952875439" sldId="2147472857"/>
        </pc:sldMkLst>
        <pc:spChg chg="mod">
          <ac:chgData name="Franz MULLER" userId="79454339-e177-4ea3-bc97-d1e6b529622b" providerId="ADAL" clId="{0D497945-B4BB-4CEE-BAAE-E72909B9B60B}" dt="2023-09-22T17:53:51.101" v="6618" actId="20577"/>
          <ac:spMkLst>
            <pc:docMk/>
            <pc:sldMk cId="3952875439" sldId="2147472857"/>
            <ac:spMk id="2" creationId="{1E47156E-6F9E-C3D3-117B-218B4508A0E4}"/>
          </ac:spMkLst>
        </pc:spChg>
        <pc:spChg chg="add del mod">
          <ac:chgData name="Franz MULLER" userId="79454339-e177-4ea3-bc97-d1e6b529622b" providerId="ADAL" clId="{0D497945-B4BB-4CEE-BAAE-E72909B9B60B}" dt="2023-09-22T17:56:14.824" v="6836" actId="478"/>
          <ac:spMkLst>
            <pc:docMk/>
            <pc:sldMk cId="3952875439" sldId="2147472857"/>
            <ac:spMk id="8" creationId="{05C7937E-35C2-0002-799E-B71979E062EF}"/>
          </ac:spMkLst>
        </pc:spChg>
        <pc:spChg chg="mod">
          <ac:chgData name="Franz MULLER" userId="79454339-e177-4ea3-bc97-d1e6b529622b" providerId="ADAL" clId="{0D497945-B4BB-4CEE-BAAE-E72909B9B60B}" dt="2023-09-22T17:55:16.468" v="6710" actId="20577"/>
          <ac:spMkLst>
            <pc:docMk/>
            <pc:sldMk cId="3952875439" sldId="2147472857"/>
            <ac:spMk id="10" creationId="{22792480-4D15-021A-55E7-260CF93360AF}"/>
          </ac:spMkLst>
        </pc:spChg>
        <pc:spChg chg="add mod">
          <ac:chgData name="Franz MULLER" userId="79454339-e177-4ea3-bc97-d1e6b529622b" providerId="ADAL" clId="{0D497945-B4BB-4CEE-BAAE-E72909B9B60B}" dt="2023-09-22T17:57:54.921" v="6853" actId="14100"/>
          <ac:spMkLst>
            <pc:docMk/>
            <pc:sldMk cId="3952875439" sldId="2147472857"/>
            <ac:spMk id="11" creationId="{5D1544C3-1791-BE57-CBA9-CA8773C6FDE5}"/>
          </ac:spMkLst>
        </pc:spChg>
        <pc:spChg chg="del mod">
          <ac:chgData name="Franz MULLER" userId="79454339-e177-4ea3-bc97-d1e6b529622b" providerId="ADAL" clId="{0D497945-B4BB-4CEE-BAAE-E72909B9B60B}" dt="2023-09-22T17:57:33.610" v="6841" actId="478"/>
          <ac:spMkLst>
            <pc:docMk/>
            <pc:sldMk cId="3952875439" sldId="2147472857"/>
            <ac:spMk id="13" creationId="{CDAEF77B-8DE7-684C-F180-0FADA20E0892}"/>
          </ac:spMkLst>
        </pc:spChg>
        <pc:spChg chg="del mod">
          <ac:chgData name="Franz MULLER" userId="79454339-e177-4ea3-bc97-d1e6b529622b" providerId="ADAL" clId="{0D497945-B4BB-4CEE-BAAE-E72909B9B60B}" dt="2023-09-22T17:56:16.737" v="6837" actId="478"/>
          <ac:spMkLst>
            <pc:docMk/>
            <pc:sldMk cId="3952875439" sldId="2147472857"/>
            <ac:spMk id="15" creationId="{9F6F1B7E-C2EB-BA1D-B22F-BBEA221F9A07}"/>
          </ac:spMkLst>
        </pc:spChg>
        <pc:spChg chg="del">
          <ac:chgData name="Franz MULLER" userId="79454339-e177-4ea3-bc97-d1e6b529622b" providerId="ADAL" clId="{0D497945-B4BB-4CEE-BAAE-E72909B9B60B}" dt="2023-09-22T17:56:34.582" v="6840" actId="478"/>
          <ac:spMkLst>
            <pc:docMk/>
            <pc:sldMk cId="3952875439" sldId="2147472857"/>
            <ac:spMk id="17" creationId="{7C94EA00-14E3-35B3-475B-B59198AA466D}"/>
          </ac:spMkLst>
        </pc:spChg>
        <pc:picChg chg="add mod modCrop">
          <ac:chgData name="Franz MULLER" userId="79454339-e177-4ea3-bc97-d1e6b529622b" providerId="ADAL" clId="{0D497945-B4BB-4CEE-BAAE-E72909B9B60B}" dt="2023-09-22T17:54:35.611" v="6628" actId="1076"/>
          <ac:picMkLst>
            <pc:docMk/>
            <pc:sldMk cId="3952875439" sldId="2147472857"/>
            <ac:picMk id="3" creationId="{E7B95618-7C5E-BCF3-6BA1-36034168123A}"/>
          </ac:picMkLst>
        </pc:picChg>
        <pc:picChg chg="del">
          <ac:chgData name="Franz MULLER" userId="79454339-e177-4ea3-bc97-d1e6b529622b" providerId="ADAL" clId="{0D497945-B4BB-4CEE-BAAE-E72909B9B60B}" dt="2023-09-22T17:54:32.873" v="6627" actId="478"/>
          <ac:picMkLst>
            <pc:docMk/>
            <pc:sldMk cId="3952875439" sldId="2147472857"/>
            <ac:picMk id="6" creationId="{F5DA8E4A-2C6B-5D39-0EB3-DB39B62C22FA}"/>
          </ac:picMkLst>
        </pc:picChg>
        <pc:picChg chg="add mod modCrop">
          <ac:chgData name="Franz MULLER" userId="79454339-e177-4ea3-bc97-d1e6b529622b" providerId="ADAL" clId="{0D497945-B4BB-4CEE-BAAE-E72909B9B60B}" dt="2023-09-22T17:55:38.867" v="6718" actId="208"/>
          <ac:picMkLst>
            <pc:docMk/>
            <pc:sldMk cId="3952875439" sldId="2147472857"/>
            <ac:picMk id="7" creationId="{F8D5D945-E4C9-3D9E-81FD-8F8E8928F24E}"/>
          </ac:picMkLst>
        </pc:picChg>
        <pc:picChg chg="del">
          <ac:chgData name="Franz MULLER" userId="79454339-e177-4ea3-bc97-d1e6b529622b" providerId="ADAL" clId="{0D497945-B4BB-4CEE-BAAE-E72909B9B60B}" dt="2023-09-22T17:54:53.562" v="6640" actId="478"/>
          <ac:picMkLst>
            <pc:docMk/>
            <pc:sldMk cId="3952875439" sldId="2147472857"/>
            <ac:picMk id="9" creationId="{5DE82E3E-FB93-82E2-B7AD-2CDBE9BD6249}"/>
          </ac:picMkLst>
        </pc:picChg>
        <pc:picChg chg="del">
          <ac:chgData name="Franz MULLER" userId="79454339-e177-4ea3-bc97-d1e6b529622b" providerId="ADAL" clId="{0D497945-B4BB-4CEE-BAAE-E72909B9B60B}" dt="2023-09-22T17:56:31.859" v="6839" actId="478"/>
          <ac:picMkLst>
            <pc:docMk/>
            <pc:sldMk cId="3952875439" sldId="2147472857"/>
            <ac:picMk id="12" creationId="{391A6575-4C17-19FF-A05A-8C2534AC08DE}"/>
          </ac:picMkLst>
        </pc:picChg>
        <pc:picChg chg="add mod modCrop">
          <ac:chgData name="Franz MULLER" userId="79454339-e177-4ea3-bc97-d1e6b529622b" providerId="ADAL" clId="{0D497945-B4BB-4CEE-BAAE-E72909B9B60B}" dt="2023-09-22T17:59:29.962" v="6864" actId="208"/>
          <ac:picMkLst>
            <pc:docMk/>
            <pc:sldMk cId="3952875439" sldId="2147472857"/>
            <ac:picMk id="16" creationId="{D2C8421F-68DD-BDAD-41D1-367C4D1951C2}"/>
          </ac:picMkLst>
        </pc:picChg>
      </pc:sldChg>
      <pc:sldChg chg="addSp delSp modSp add mod">
        <pc:chgData name="Franz MULLER" userId="79454339-e177-4ea3-bc97-d1e6b529622b" providerId="ADAL" clId="{0D497945-B4BB-4CEE-BAAE-E72909B9B60B}" dt="2023-09-22T18:43:44.725" v="6996" actId="1076"/>
        <pc:sldMkLst>
          <pc:docMk/>
          <pc:sldMk cId="3498102352" sldId="2147472858"/>
        </pc:sldMkLst>
        <pc:spChg chg="mod">
          <ac:chgData name="Franz MULLER" userId="79454339-e177-4ea3-bc97-d1e6b529622b" providerId="ADAL" clId="{0D497945-B4BB-4CEE-BAAE-E72909B9B60B}" dt="2023-09-22T18:34:41.639" v="6953" actId="1037"/>
          <ac:spMkLst>
            <pc:docMk/>
            <pc:sldMk cId="3498102352" sldId="2147472858"/>
            <ac:spMk id="2" creationId="{1E47156E-6F9E-C3D3-117B-218B4508A0E4}"/>
          </ac:spMkLst>
        </pc:spChg>
        <pc:spChg chg="mod">
          <ac:chgData name="Franz MULLER" userId="79454339-e177-4ea3-bc97-d1e6b529622b" providerId="ADAL" clId="{0D497945-B4BB-4CEE-BAAE-E72909B9B60B}" dt="2023-09-22T18:41:47.164" v="6976" actId="20577"/>
          <ac:spMkLst>
            <pc:docMk/>
            <pc:sldMk cId="3498102352" sldId="2147472858"/>
            <ac:spMk id="10" creationId="{22792480-4D15-021A-55E7-260CF93360AF}"/>
          </ac:spMkLst>
        </pc:spChg>
        <pc:spChg chg="mod">
          <ac:chgData name="Franz MULLER" userId="79454339-e177-4ea3-bc97-d1e6b529622b" providerId="ADAL" clId="{0D497945-B4BB-4CEE-BAAE-E72909B9B60B}" dt="2023-09-22T18:41:56.014" v="6984" actId="20577"/>
          <ac:spMkLst>
            <pc:docMk/>
            <pc:sldMk cId="3498102352" sldId="2147472858"/>
            <ac:spMk id="11" creationId="{5D1544C3-1791-BE57-CBA9-CA8773C6FDE5}"/>
          </ac:spMkLst>
        </pc:spChg>
        <pc:picChg chg="del">
          <ac:chgData name="Franz MULLER" userId="79454339-e177-4ea3-bc97-d1e6b529622b" providerId="ADAL" clId="{0D497945-B4BB-4CEE-BAAE-E72909B9B60B}" dt="2023-09-22T18:40:25.377" v="6954" actId="478"/>
          <ac:picMkLst>
            <pc:docMk/>
            <pc:sldMk cId="3498102352" sldId="2147472858"/>
            <ac:picMk id="3" creationId="{E7B95618-7C5E-BCF3-6BA1-36034168123A}"/>
          </ac:picMkLst>
        </pc:picChg>
        <pc:picChg chg="add mod modCrop">
          <ac:chgData name="Franz MULLER" userId="79454339-e177-4ea3-bc97-d1e6b529622b" providerId="ADAL" clId="{0D497945-B4BB-4CEE-BAAE-E72909B9B60B}" dt="2023-09-22T18:40:56.698" v="6963" actId="1076"/>
          <ac:picMkLst>
            <pc:docMk/>
            <pc:sldMk cId="3498102352" sldId="2147472858"/>
            <ac:picMk id="6" creationId="{8228174B-7FE4-09D3-F711-6756F1E6FF6B}"/>
          </ac:picMkLst>
        </pc:picChg>
        <pc:picChg chg="del">
          <ac:chgData name="Franz MULLER" userId="79454339-e177-4ea3-bc97-d1e6b529622b" providerId="ADAL" clId="{0D497945-B4BB-4CEE-BAAE-E72909B9B60B}" dt="2023-09-22T18:41:11.637" v="6964" actId="478"/>
          <ac:picMkLst>
            <pc:docMk/>
            <pc:sldMk cId="3498102352" sldId="2147472858"/>
            <ac:picMk id="7" creationId="{F8D5D945-E4C9-3D9E-81FD-8F8E8928F24E}"/>
          </ac:picMkLst>
        </pc:picChg>
        <pc:picChg chg="add mod modCrop">
          <ac:chgData name="Franz MULLER" userId="79454339-e177-4ea3-bc97-d1e6b529622b" providerId="ADAL" clId="{0D497945-B4BB-4CEE-BAAE-E72909B9B60B}" dt="2023-09-22T18:43:44.725" v="6996" actId="1076"/>
          <ac:picMkLst>
            <pc:docMk/>
            <pc:sldMk cId="3498102352" sldId="2147472858"/>
            <ac:picMk id="9" creationId="{0B17BB45-8989-59F2-A26D-7ABF16C6227D}"/>
          </ac:picMkLst>
        </pc:picChg>
        <pc:picChg chg="add mod modCrop">
          <ac:chgData name="Franz MULLER" userId="79454339-e177-4ea3-bc97-d1e6b529622b" providerId="ADAL" clId="{0D497945-B4BB-4CEE-BAAE-E72909B9B60B}" dt="2023-09-22T18:43:42.258" v="6995" actId="1076"/>
          <ac:picMkLst>
            <pc:docMk/>
            <pc:sldMk cId="3498102352" sldId="2147472858"/>
            <ac:picMk id="13" creationId="{BECC5BA9-AB97-3504-B312-23D6605324F7}"/>
          </ac:picMkLst>
        </pc:picChg>
        <pc:picChg chg="del mod">
          <ac:chgData name="Franz MULLER" userId="79454339-e177-4ea3-bc97-d1e6b529622b" providerId="ADAL" clId="{0D497945-B4BB-4CEE-BAAE-E72909B9B60B}" dt="2023-09-22T18:41:59.072" v="6985" actId="478"/>
          <ac:picMkLst>
            <pc:docMk/>
            <pc:sldMk cId="3498102352" sldId="2147472858"/>
            <ac:picMk id="16" creationId="{D2C8421F-68DD-BDAD-41D1-367C4D1951C2}"/>
          </ac:picMkLst>
        </pc:picChg>
      </pc:sldChg>
      <pc:sldMasterChg chg="addSldLayout delSldLayout">
        <pc:chgData name="Franz MULLER" userId="79454339-e177-4ea3-bc97-d1e6b529622b" providerId="ADAL" clId="{0D497945-B4BB-4CEE-BAAE-E72909B9B60B}" dt="2023-09-22T16:25:55.339" v="6174" actId="47"/>
        <pc:sldMasterMkLst>
          <pc:docMk/>
          <pc:sldMasterMk cId="2049554547" sldId="2147483851"/>
        </pc:sldMasterMkLst>
        <pc:sldLayoutChg chg="del">
          <pc:chgData name="Franz MULLER" userId="79454339-e177-4ea3-bc97-d1e6b529622b" providerId="ADAL" clId="{0D497945-B4BB-4CEE-BAAE-E72909B9B60B}" dt="2023-09-22T16:25:23.817" v="6163" actId="47"/>
          <pc:sldLayoutMkLst>
            <pc:docMk/>
            <pc:sldMasterMk cId="2049554547" sldId="2147483851"/>
            <pc:sldLayoutMk cId="24818518" sldId="2147484109"/>
          </pc:sldLayoutMkLst>
        </pc:sldLayoutChg>
        <pc:sldLayoutChg chg="add del">
          <pc:chgData name="Franz MULLER" userId="79454339-e177-4ea3-bc97-d1e6b529622b" providerId="ADAL" clId="{0D497945-B4BB-4CEE-BAAE-E72909B9B60B}" dt="2023-09-22T16:25:55.339" v="6174" actId="47"/>
          <pc:sldLayoutMkLst>
            <pc:docMk/>
            <pc:sldMasterMk cId="2049554547" sldId="2147483851"/>
            <pc:sldLayoutMk cId="3046175904" sldId="2147484111"/>
          </pc:sldLayoutMkLst>
        </pc:sldLayoutChg>
        <pc:sldLayoutChg chg="del">
          <pc:chgData name="Franz MULLER" userId="79454339-e177-4ea3-bc97-d1e6b529622b" providerId="ADAL" clId="{0D497945-B4BB-4CEE-BAAE-E72909B9B60B}" dt="2023-09-22T16:25:40.110" v="6169" actId="47"/>
          <pc:sldLayoutMkLst>
            <pc:docMk/>
            <pc:sldMasterMk cId="2049554547" sldId="2147483851"/>
            <pc:sldLayoutMk cId="4016621955" sldId="2147484112"/>
          </pc:sldLayoutMkLst>
        </pc:sldLayoutChg>
      </pc:sldMasterChg>
      <pc:sldMasterChg chg="delSldLayout">
        <pc:chgData name="Franz MULLER" userId="79454339-e177-4ea3-bc97-d1e6b529622b" providerId="ADAL" clId="{0D497945-B4BB-4CEE-BAAE-E72909B9B60B}" dt="2023-09-20T16:54:30.955" v="3699" actId="47"/>
        <pc:sldMasterMkLst>
          <pc:docMk/>
          <pc:sldMasterMk cId="1601309911" sldId="2147484162"/>
        </pc:sldMasterMkLst>
        <pc:sldLayoutChg chg="del">
          <pc:chgData name="Franz MULLER" userId="79454339-e177-4ea3-bc97-d1e6b529622b" providerId="ADAL" clId="{0D497945-B4BB-4CEE-BAAE-E72909B9B60B}" dt="2023-09-20T16:54:30.955" v="3699" actId="47"/>
          <pc:sldLayoutMkLst>
            <pc:docMk/>
            <pc:sldMasterMk cId="1601309911" sldId="2147484162"/>
            <pc:sldLayoutMk cId="3791805360" sldId="2147484361"/>
          </pc:sldLayoutMkLst>
        </pc:sldLayoutChg>
      </pc:sldMasterChg>
      <pc:sldMasterChg chg="delSp mod">
        <pc:chgData name="Franz MULLER" userId="79454339-e177-4ea3-bc97-d1e6b529622b" providerId="ADAL" clId="{0D497945-B4BB-4CEE-BAAE-E72909B9B60B}" dt="2023-09-22T13:07:21.019" v="6058"/>
        <pc:sldMasterMkLst>
          <pc:docMk/>
          <pc:sldMasterMk cId="3838230897" sldId="2147484230"/>
        </pc:sldMasterMkLst>
        <pc:spChg chg="del">
          <ac:chgData name="Franz MULLER" userId="79454339-e177-4ea3-bc97-d1e6b529622b" providerId="ADAL" clId="{0D497945-B4BB-4CEE-BAAE-E72909B9B60B}" dt="2023-09-22T13:07:21.019" v="6058"/>
          <ac:spMkLst>
            <pc:docMk/>
            <pc:sldMasterMk cId="3838230897" sldId="2147484230"/>
            <ac:spMk id="4" creationId="{16F7E7E6-0374-4F5B-9257-FF1EEE43CB32}"/>
          </ac:spMkLst>
        </pc:spChg>
      </pc:sldMasterChg>
      <pc:sldMasterChg chg="delSp mod">
        <pc:chgData name="Franz MULLER" userId="79454339-e177-4ea3-bc97-d1e6b529622b" providerId="ADAL" clId="{0D497945-B4BB-4CEE-BAAE-E72909B9B60B}" dt="2023-09-22T13:07:21.019" v="6060"/>
        <pc:sldMasterMkLst>
          <pc:docMk/>
          <pc:sldMasterMk cId="480469016" sldId="2147484275"/>
        </pc:sldMasterMkLst>
        <pc:spChg chg="del">
          <ac:chgData name="Franz MULLER" userId="79454339-e177-4ea3-bc97-d1e6b529622b" providerId="ADAL" clId="{0D497945-B4BB-4CEE-BAAE-E72909B9B60B}" dt="2023-09-22T13:07:21.019" v="6060"/>
          <ac:spMkLst>
            <pc:docMk/>
            <pc:sldMasterMk cId="480469016" sldId="2147484275"/>
            <ac:spMk id="4" creationId="{16F7E7E6-0374-4F5B-9257-FF1EEE43CB32}"/>
          </ac:spMkLst>
        </pc:spChg>
      </pc:sldMasterChg>
      <pc:sldMasterChg chg="delSp mod delSldLayout">
        <pc:chgData name="Franz MULLER" userId="79454339-e177-4ea3-bc97-d1e6b529622b" providerId="ADAL" clId="{0D497945-B4BB-4CEE-BAAE-E72909B9B60B}" dt="2023-09-22T13:07:21.019" v="6062"/>
        <pc:sldMasterMkLst>
          <pc:docMk/>
          <pc:sldMasterMk cId="4277279473" sldId="2147484321"/>
        </pc:sldMasterMkLst>
        <pc:spChg chg="del">
          <ac:chgData name="Franz MULLER" userId="79454339-e177-4ea3-bc97-d1e6b529622b" providerId="ADAL" clId="{0D497945-B4BB-4CEE-BAAE-E72909B9B60B}" dt="2023-09-22T13:07:21.019" v="6062"/>
          <ac:spMkLst>
            <pc:docMk/>
            <pc:sldMasterMk cId="4277279473" sldId="2147484321"/>
            <ac:spMk id="3" creationId="{2677753F-480F-4D78-82D1-C7031261220E}"/>
          </ac:spMkLst>
        </pc:spChg>
        <pc:sldLayoutChg chg="del">
          <pc:chgData name="Franz MULLER" userId="79454339-e177-4ea3-bc97-d1e6b529622b" providerId="ADAL" clId="{0D497945-B4BB-4CEE-BAAE-E72909B9B60B}" dt="2023-09-14T14:36:53.522" v="197" actId="47"/>
          <pc:sldLayoutMkLst>
            <pc:docMk/>
            <pc:sldMasterMk cId="4277279473" sldId="2147484321"/>
            <pc:sldLayoutMk cId="1646401719" sldId="2147484352"/>
          </pc:sldLayoutMkLst>
        </pc:sldLayoutChg>
      </pc:sldMasterChg>
      <pc:sldMasterChg chg="del delSldLayout">
        <pc:chgData name="Franz MULLER" userId="79454339-e177-4ea3-bc97-d1e6b529622b" providerId="ADAL" clId="{0D497945-B4BB-4CEE-BAAE-E72909B9B60B}" dt="2023-09-20T12:50:46.438" v="2621" actId="47"/>
        <pc:sldMasterMkLst>
          <pc:docMk/>
          <pc:sldMasterMk cId="321009483" sldId="2147484363"/>
        </pc:sldMasterMkLst>
        <pc:sldLayoutChg chg="del">
          <pc:chgData name="Franz MULLER" userId="79454339-e177-4ea3-bc97-d1e6b529622b" providerId="ADAL" clId="{0D497945-B4BB-4CEE-BAAE-E72909B9B60B}" dt="2023-09-20T12:50:46.438" v="2621" actId="47"/>
          <pc:sldLayoutMkLst>
            <pc:docMk/>
            <pc:sldMasterMk cId="321009483" sldId="2147484363"/>
            <pc:sldLayoutMk cId="127334556" sldId="2147484364"/>
          </pc:sldLayoutMkLst>
        </pc:sldLayoutChg>
        <pc:sldLayoutChg chg="del">
          <pc:chgData name="Franz MULLER" userId="79454339-e177-4ea3-bc97-d1e6b529622b" providerId="ADAL" clId="{0D497945-B4BB-4CEE-BAAE-E72909B9B60B}" dt="2023-09-20T12:50:46.438" v="2621" actId="47"/>
          <pc:sldLayoutMkLst>
            <pc:docMk/>
            <pc:sldMasterMk cId="321009483" sldId="2147484363"/>
            <pc:sldLayoutMk cId="3284438513" sldId="2147484365"/>
          </pc:sldLayoutMkLst>
        </pc:sldLayoutChg>
      </pc:sldMasterChg>
      <pc:sldMasterChg chg="delSp mod delSldLayout">
        <pc:chgData name="Franz MULLER" userId="79454339-e177-4ea3-bc97-d1e6b529622b" providerId="ADAL" clId="{0D497945-B4BB-4CEE-BAAE-E72909B9B60B}" dt="2023-09-22T17:42:02.151" v="6566" actId="47"/>
        <pc:sldMasterMkLst>
          <pc:docMk/>
          <pc:sldMasterMk cId="1291807157" sldId="2147484435"/>
        </pc:sldMasterMkLst>
        <pc:spChg chg="del">
          <ac:chgData name="Franz MULLER" userId="79454339-e177-4ea3-bc97-d1e6b529622b" providerId="ADAL" clId="{0D497945-B4BB-4CEE-BAAE-E72909B9B60B}" dt="2023-09-22T13:07:21.019" v="6064"/>
          <ac:spMkLst>
            <pc:docMk/>
            <pc:sldMasterMk cId="1291807157" sldId="2147484435"/>
            <ac:spMk id="3" creationId="{7FA57AE1-2C1D-430B-A920-08C48C2E386F}"/>
          </ac:spMkLst>
        </pc:spChg>
        <pc:sldLayoutChg chg="del">
          <pc:chgData name="Franz MULLER" userId="79454339-e177-4ea3-bc97-d1e6b529622b" providerId="ADAL" clId="{0D497945-B4BB-4CEE-BAAE-E72909B9B60B}" dt="2023-09-22T16:25:03.251" v="6158" actId="47"/>
          <pc:sldLayoutMkLst>
            <pc:docMk/>
            <pc:sldMasterMk cId="1291807157" sldId="2147484435"/>
            <pc:sldLayoutMk cId="3731756143" sldId="2147484451"/>
          </pc:sldLayoutMkLst>
        </pc:sldLayoutChg>
        <pc:sldLayoutChg chg="del">
          <pc:chgData name="Franz MULLER" userId="79454339-e177-4ea3-bc97-d1e6b529622b" providerId="ADAL" clId="{0D497945-B4BB-4CEE-BAAE-E72909B9B60B}" dt="2023-09-22T17:42:02.151" v="6566" actId="47"/>
          <pc:sldLayoutMkLst>
            <pc:docMk/>
            <pc:sldMasterMk cId="1291807157" sldId="2147484435"/>
            <pc:sldLayoutMk cId="1997825768" sldId="2147484453"/>
          </pc:sldLayoutMkLst>
        </pc:sldLayoutChg>
      </pc:sldMasterChg>
      <pc:sldMasterChg chg="del delSldLayout">
        <pc:chgData name="Franz MULLER" userId="79454339-e177-4ea3-bc97-d1e6b529622b" providerId="ADAL" clId="{0D497945-B4BB-4CEE-BAAE-E72909B9B60B}" dt="2023-09-20T22:12:09.924" v="5708" actId="47"/>
        <pc:sldMasterMkLst>
          <pc:docMk/>
          <pc:sldMasterMk cId="1410152875" sldId="2147484455"/>
        </pc:sldMasterMkLst>
        <pc:sldLayoutChg chg="del">
          <pc:chgData name="Franz MULLER" userId="79454339-e177-4ea3-bc97-d1e6b529622b" providerId="ADAL" clId="{0D497945-B4BB-4CEE-BAAE-E72909B9B60B}" dt="2023-09-20T22:12:09.924" v="5708" actId="47"/>
          <pc:sldLayoutMkLst>
            <pc:docMk/>
            <pc:sldMasterMk cId="1410152875" sldId="2147484455"/>
            <pc:sldLayoutMk cId="848014959" sldId="2147484456"/>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3125160223" sldId="2147484457"/>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4021043883" sldId="2147484458"/>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134545568" sldId="2147484459"/>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2002977163" sldId="2147484460"/>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3785999946" sldId="2147484461"/>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2693244937" sldId="2147484462"/>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1488285530" sldId="2147484463"/>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1150468805" sldId="2147484464"/>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1266219103" sldId="2147484465"/>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3150367927" sldId="2147484466"/>
          </pc:sldLayoutMkLst>
        </pc:sldLayoutChg>
        <pc:sldLayoutChg chg="del">
          <pc:chgData name="Franz MULLER" userId="79454339-e177-4ea3-bc97-d1e6b529622b" providerId="ADAL" clId="{0D497945-B4BB-4CEE-BAAE-E72909B9B60B}" dt="2023-09-20T22:12:09.924" v="5708" actId="47"/>
          <pc:sldLayoutMkLst>
            <pc:docMk/>
            <pc:sldMasterMk cId="1410152875" sldId="2147484455"/>
            <pc:sldLayoutMk cId="1517050299" sldId="2147484467"/>
          </pc:sldLayoutMkLst>
        </pc:sldLayoutChg>
      </pc:sldMasterChg>
      <pc:sldMasterChg chg="delSldLayout">
        <pc:chgData name="Franz MULLER" userId="79454339-e177-4ea3-bc97-d1e6b529622b" providerId="ADAL" clId="{0D497945-B4BB-4CEE-BAAE-E72909B9B60B}" dt="2023-09-22T17:26:34.918" v="6239" actId="47"/>
        <pc:sldMasterMkLst>
          <pc:docMk/>
          <pc:sldMasterMk cId="3774473390" sldId="2147484461"/>
        </pc:sldMasterMkLst>
        <pc:sldLayoutChg chg="del">
          <pc:chgData name="Franz MULLER" userId="79454339-e177-4ea3-bc97-d1e6b529622b" providerId="ADAL" clId="{0D497945-B4BB-4CEE-BAAE-E72909B9B60B}" dt="2023-09-22T17:26:34.918" v="6239" actId="47"/>
          <pc:sldLayoutMkLst>
            <pc:docMk/>
            <pc:sldMasterMk cId="3774473390" sldId="2147484461"/>
            <pc:sldLayoutMk cId="3699383762" sldId="2147484503"/>
          </pc:sldLayoutMkLst>
        </pc:sldLayoutChg>
      </pc:sldMasterChg>
    </pc:docChg>
  </pc:docChgLst>
  <pc:docChgLst>
    <pc:chgData name="Franz MULLER" userId="79454339-e177-4ea3-bc97-d1e6b529622b" providerId="ADAL" clId="{22BF740A-454F-449E-AB60-CF4AE0153812}"/>
    <pc:docChg chg="undo redo custSel modSld">
      <pc:chgData name="Franz MULLER" userId="79454339-e177-4ea3-bc97-d1e6b529622b" providerId="ADAL" clId="{22BF740A-454F-449E-AB60-CF4AE0153812}" dt="2023-06-27T13:18:10.421" v="215" actId="1076"/>
      <pc:docMkLst>
        <pc:docMk/>
      </pc:docMkLst>
      <pc:sldChg chg="addSp delSp modSp mod">
        <pc:chgData name="Franz MULLER" userId="79454339-e177-4ea3-bc97-d1e6b529622b" providerId="ADAL" clId="{22BF740A-454F-449E-AB60-CF4AE0153812}" dt="2023-06-27T13:18:10.421" v="215" actId="1076"/>
        <pc:sldMkLst>
          <pc:docMk/>
          <pc:sldMk cId="3236767760" sldId="2146846865"/>
        </pc:sldMkLst>
        <pc:spChg chg="add del mod">
          <ac:chgData name="Franz MULLER" userId="79454339-e177-4ea3-bc97-d1e6b529622b" providerId="ADAL" clId="{22BF740A-454F-449E-AB60-CF4AE0153812}" dt="2023-06-26T23:10:08.191" v="7" actId="1076"/>
          <ac:spMkLst>
            <pc:docMk/>
            <pc:sldMk cId="3236767760" sldId="2146846865"/>
            <ac:spMk id="6" creationId="{3BAD0E6A-77A3-DE33-74AD-235D64F1039D}"/>
          </ac:spMkLst>
        </pc:spChg>
        <pc:graphicFrameChg chg="mod">
          <ac:chgData name="Franz MULLER" userId="79454339-e177-4ea3-bc97-d1e6b529622b" providerId="ADAL" clId="{22BF740A-454F-449E-AB60-CF4AE0153812}" dt="2023-06-26T23:10:14.534" v="37" actId="1036"/>
          <ac:graphicFrameMkLst>
            <pc:docMk/>
            <pc:sldMk cId="3236767760" sldId="2146846865"/>
            <ac:graphicFrameMk id="7" creationId="{B05ECB45-160A-4805-172A-F3850A495A43}"/>
          </ac:graphicFrameMkLst>
        </pc:graphicFrameChg>
        <pc:graphicFrameChg chg="add mod modGraphic">
          <ac:chgData name="Franz MULLER" userId="79454339-e177-4ea3-bc97-d1e6b529622b" providerId="ADAL" clId="{22BF740A-454F-449E-AB60-CF4AE0153812}" dt="2023-06-27T13:18:10.421" v="215" actId="1076"/>
          <ac:graphicFrameMkLst>
            <pc:docMk/>
            <pc:sldMk cId="3236767760" sldId="2146846865"/>
            <ac:graphicFrameMk id="9" creationId="{FF90A39D-095E-0484-FEC8-3ED5C0E7758D}"/>
          </ac:graphicFrameMkLst>
        </pc:graphicFrameChg>
      </pc:sldChg>
      <pc:sldChg chg="modSp mod delCm">
        <pc:chgData name="Franz MULLER" userId="79454339-e177-4ea3-bc97-d1e6b529622b" providerId="ADAL" clId="{22BF740A-454F-449E-AB60-CF4AE0153812}" dt="2023-06-27T13:16:52.045" v="121" actId="207"/>
        <pc:sldMkLst>
          <pc:docMk/>
          <pc:sldMk cId="486354542" sldId="2147470263"/>
        </pc:sldMkLst>
        <pc:spChg chg="mod">
          <ac:chgData name="Franz MULLER" userId="79454339-e177-4ea3-bc97-d1e6b529622b" providerId="ADAL" clId="{22BF740A-454F-449E-AB60-CF4AE0153812}" dt="2023-06-27T13:16:52.045" v="121" actId="207"/>
          <ac:spMkLst>
            <pc:docMk/>
            <pc:sldMk cId="486354542" sldId="2147470263"/>
            <ac:spMk id="8" creationId="{5734E038-1E7B-91B5-1B4D-33B985B0ACF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272731611015018E-2"/>
          <c:y val="0.11391019717152895"/>
          <c:w val="0.94325167139314092"/>
          <c:h val="0.88608980282847105"/>
        </c:manualLayout>
      </c:layout>
      <c:barChart>
        <c:barDir val="bar"/>
        <c:grouping val="stacked"/>
        <c:varyColors val="0"/>
        <c:ser>
          <c:idx val="0"/>
          <c:order val="0"/>
          <c:tx>
            <c:strRef>
              <c:f>Sheet1!$B$1</c:f>
              <c:strCache>
                <c:ptCount val="1"/>
                <c:pt idx="0">
                  <c:v>Brazi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0.34989465278695331</c:v>
                </c:pt>
                <c:pt idx="1">
                  <c:v>0.32955808091019367</c:v>
                </c:pt>
                <c:pt idx="2">
                  <c:v>0.31867075241982584</c:v>
                </c:pt>
                <c:pt idx="3">
                  <c:v>0.34797618991167395</c:v>
                </c:pt>
              </c:numCache>
            </c:numRef>
          </c:val>
          <c:extLst>
            <c:ext xmlns:c16="http://schemas.microsoft.com/office/drawing/2014/chart" uri="{C3380CC4-5D6E-409C-BE32-E72D297353CC}">
              <c16:uniqueId val="{00000000-7670-4B25-BA0E-0216E9E4803A}"/>
            </c:ext>
          </c:extLst>
        </c:ser>
        <c:ser>
          <c:idx val="1"/>
          <c:order val="1"/>
          <c:tx>
            <c:strRef>
              <c:f>Sheet1!$C$1</c:f>
              <c:strCache>
                <c:ptCount val="1"/>
                <c:pt idx="0">
                  <c:v>Argentina</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0.15933936515874139</c:v>
                </c:pt>
                <c:pt idx="1">
                  <c:v>0.16262948627455368</c:v>
                </c:pt>
                <c:pt idx="2">
                  <c:v>0.17135139221447129</c:v>
                </c:pt>
                <c:pt idx="3">
                  <c:v>0.20432209234506513</c:v>
                </c:pt>
              </c:numCache>
            </c:numRef>
          </c:val>
          <c:extLst>
            <c:ext xmlns:c16="http://schemas.microsoft.com/office/drawing/2014/chart" uri="{C3380CC4-5D6E-409C-BE32-E72D297353CC}">
              <c16:uniqueId val="{00000001-7670-4B25-BA0E-0216E9E4803A}"/>
            </c:ext>
          </c:extLst>
        </c:ser>
        <c:ser>
          <c:idx val="2"/>
          <c:order val="2"/>
          <c:tx>
            <c:strRef>
              <c:f>Sheet1!$D$1</c:f>
              <c:strCache>
                <c:ptCount val="1"/>
                <c:pt idx="0">
                  <c:v>Colombia</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c:formatCode>
                <c:ptCount val="4"/>
                <c:pt idx="0">
                  <c:v>0.19245086731585698</c:v>
                </c:pt>
                <c:pt idx="1">
                  <c:v>0.19254043565266357</c:v>
                </c:pt>
                <c:pt idx="2">
                  <c:v>0.18387037653927399</c:v>
                </c:pt>
                <c:pt idx="3">
                  <c:v>0.16589492897467345</c:v>
                </c:pt>
              </c:numCache>
            </c:numRef>
          </c:val>
          <c:extLst>
            <c:ext xmlns:c16="http://schemas.microsoft.com/office/drawing/2014/chart" uri="{C3380CC4-5D6E-409C-BE32-E72D297353CC}">
              <c16:uniqueId val="{00000002-7670-4B25-BA0E-0216E9E4803A}"/>
            </c:ext>
          </c:extLst>
        </c:ser>
        <c:ser>
          <c:idx val="3"/>
          <c:order val="3"/>
          <c:tx>
            <c:strRef>
              <c:f>Sheet1!$E$1</c:f>
              <c:strCache>
                <c:ptCount val="1"/>
                <c:pt idx="0">
                  <c:v>Peru</c:v>
                </c:pt>
              </c:strCache>
            </c:strRef>
          </c:tx>
          <c:spPr>
            <a:solidFill>
              <a:srgbClr val="007770"/>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c:formatCode>
                <c:ptCount val="4"/>
                <c:pt idx="0">
                  <c:v>8.8481168371798827E-2</c:v>
                </c:pt>
                <c:pt idx="1">
                  <c:v>0.10188790375643869</c:v>
                </c:pt>
                <c:pt idx="2">
                  <c:v>9.8892186658516554E-2</c:v>
                </c:pt>
                <c:pt idx="3">
                  <c:v>8.8672084507121426E-2</c:v>
                </c:pt>
              </c:numCache>
            </c:numRef>
          </c:val>
          <c:extLst>
            <c:ext xmlns:c16="http://schemas.microsoft.com/office/drawing/2014/chart" uri="{C3380CC4-5D6E-409C-BE32-E72D297353CC}">
              <c16:uniqueId val="{00000003-7670-4B25-BA0E-0216E9E4803A}"/>
            </c:ext>
          </c:extLst>
        </c:ser>
        <c:ser>
          <c:idx val="4"/>
          <c:order val="4"/>
          <c:tx>
            <c:strRef>
              <c:f>Sheet1!$F$1</c:f>
              <c:strCache>
                <c:ptCount val="1"/>
                <c:pt idx="0">
                  <c:v>Chil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F$2:$F$5</c:f>
              <c:numCache>
                <c:formatCode>0.0%</c:formatCode>
                <c:ptCount val="4"/>
                <c:pt idx="0">
                  <c:v>7.6444610763933468E-2</c:v>
                </c:pt>
                <c:pt idx="1">
                  <c:v>7.6610530891799963E-2</c:v>
                </c:pt>
                <c:pt idx="2">
                  <c:v>9.1362020578592218E-2</c:v>
                </c:pt>
                <c:pt idx="3">
                  <c:v>8.0733136429661637E-2</c:v>
                </c:pt>
              </c:numCache>
            </c:numRef>
          </c:val>
          <c:extLst>
            <c:ext xmlns:c16="http://schemas.microsoft.com/office/drawing/2014/chart" uri="{C3380CC4-5D6E-409C-BE32-E72D297353CC}">
              <c16:uniqueId val="{00000004-7670-4B25-BA0E-0216E9E4803A}"/>
            </c:ext>
          </c:extLst>
        </c:ser>
        <c:ser>
          <c:idx val="5"/>
          <c:order val="5"/>
          <c:tx>
            <c:strRef>
              <c:f>Sheet1!$G$1</c:f>
              <c:strCache>
                <c:ptCount val="1"/>
                <c:pt idx="0">
                  <c:v>Ecuador</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G$2:$G$5</c:f>
              <c:numCache>
                <c:formatCode>0.0%</c:formatCode>
                <c:ptCount val="4"/>
                <c:pt idx="0">
                  <c:v>5.1322372993030309E-2</c:v>
                </c:pt>
                <c:pt idx="1">
                  <c:v>5.4252977156478623E-2</c:v>
                </c:pt>
                <c:pt idx="2">
                  <c:v>5.6840233989458214E-2</c:v>
                </c:pt>
                <c:pt idx="3">
                  <c:v>4.2129338553401306E-2</c:v>
                </c:pt>
              </c:numCache>
            </c:numRef>
          </c:val>
          <c:extLst>
            <c:ext xmlns:c16="http://schemas.microsoft.com/office/drawing/2014/chart" uri="{C3380CC4-5D6E-409C-BE32-E72D297353CC}">
              <c16:uniqueId val="{00000005-7670-4B25-BA0E-0216E9E4803A}"/>
            </c:ext>
          </c:extLst>
        </c:ser>
        <c:ser>
          <c:idx val="6"/>
          <c:order val="6"/>
          <c:tx>
            <c:strRef>
              <c:f>Sheet1!$H$1</c:f>
              <c:strCache>
                <c:ptCount val="1"/>
                <c:pt idx="0">
                  <c:v>Uruguay</c:v>
                </c:pt>
              </c:strCache>
            </c:strRef>
          </c:tx>
          <c:spPr>
            <a:solidFill>
              <a:srgbClr val="92D050"/>
            </a:solidFill>
            <a:ln>
              <a:noFill/>
            </a:ln>
            <a:effectLst/>
          </c:spPr>
          <c:invertIfNegative val="0"/>
          <c:dLbls>
            <c:dLbl>
              <c:idx val="0"/>
              <c:layout>
                <c:manualLayout>
                  <c:x val="-2.020408390140048E-2"/>
                  <c:y val="8.53949358388395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670-4B25-BA0E-0216E9E4803A}"/>
                </c:ext>
              </c:extLst>
            </c:dLbl>
            <c:dLbl>
              <c:idx val="1"/>
              <c:layout>
                <c:manualLayout>
                  <c:x val="-2.3478677722431469E-2"/>
                  <c:y val="8.48161427615386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70-4B25-BA0E-0216E9E4803A}"/>
                </c:ext>
              </c:extLst>
            </c:dLbl>
            <c:dLbl>
              <c:idx val="2"/>
              <c:layout>
                <c:manualLayout>
                  <c:x val="-2.5010635583558125E-2"/>
                  <c:y val="8.48161427615387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670-4B25-BA0E-0216E9E4803A}"/>
                </c:ext>
              </c:extLst>
            </c:dLbl>
            <c:dLbl>
              <c:idx val="3"/>
              <c:layout>
                <c:manualLayout>
                  <c:x val="-3.2789998945253918E-2"/>
                  <c:y val="8.393369201808187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670-4B25-BA0E-0216E9E4803A}"/>
                </c:ext>
              </c:extLst>
            </c:dLbl>
            <c:spPr>
              <a:solidFill>
                <a:srgbClr val="92D050"/>
              </a:solid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H$2:$H$5</c:f>
              <c:numCache>
                <c:formatCode>0.0%</c:formatCode>
                <c:ptCount val="4"/>
                <c:pt idx="0">
                  <c:v>2.2183828678221724E-2</c:v>
                </c:pt>
                <c:pt idx="1">
                  <c:v>1.7214754523197873E-2</c:v>
                </c:pt>
                <c:pt idx="2">
                  <c:v>1.6274387297993329E-2</c:v>
                </c:pt>
                <c:pt idx="3">
                  <c:v>2.129729772391244E-2</c:v>
                </c:pt>
              </c:numCache>
            </c:numRef>
          </c:val>
          <c:extLst>
            <c:ext xmlns:c16="http://schemas.microsoft.com/office/drawing/2014/chart" uri="{C3380CC4-5D6E-409C-BE32-E72D297353CC}">
              <c16:uniqueId val="{0000000A-7670-4B25-BA0E-0216E9E4803A}"/>
            </c:ext>
          </c:extLst>
        </c:ser>
        <c:ser>
          <c:idx val="7"/>
          <c:order val="7"/>
          <c:tx>
            <c:strRef>
              <c:f>Sheet1!$I$1</c:f>
              <c:strCache>
                <c:ptCount val="1"/>
                <c:pt idx="0">
                  <c:v>Bolivia</c:v>
                </c:pt>
              </c:strCache>
            </c:strRef>
          </c:tx>
          <c:spPr>
            <a:solidFill>
              <a:srgbClr val="A6A6A8"/>
            </a:solidFill>
            <a:ln>
              <a:noFill/>
            </a:ln>
            <a:effectLst/>
          </c:spPr>
          <c:invertIfNegative val="0"/>
          <c:dLbls>
            <c:dLbl>
              <c:idx val="0"/>
              <c:layout>
                <c:manualLayout>
                  <c:x val="-2.6403903808230327E-3"/>
                  <c:y val="8.3249505730190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670-4B25-BA0E-0216E9E4803A}"/>
                </c:ext>
              </c:extLst>
            </c:dLbl>
            <c:dLbl>
              <c:idx val="1"/>
              <c:layout>
                <c:manualLayout>
                  <c:x val="-1.8635657308889613E-3"/>
                  <c:y val="8.03986715585812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70-4B25-BA0E-0216E9E4803A}"/>
                </c:ext>
              </c:extLst>
            </c:dLbl>
            <c:dLbl>
              <c:idx val="2"/>
              <c:layout>
                <c:manualLayout>
                  <c:x val="-2.9744385374440236E-3"/>
                  <c:y val="8.039867155858131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670-4B25-BA0E-0216E9E4803A}"/>
                </c:ext>
              </c:extLst>
            </c:dLbl>
            <c:dLbl>
              <c:idx val="3"/>
              <c:layout>
                <c:manualLayout>
                  <c:x val="-9.6305920868004612E-3"/>
                  <c:y val="8.39326485209471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670-4B25-BA0E-0216E9E4803A}"/>
                </c:ext>
              </c:extLst>
            </c:dLbl>
            <c:spPr>
              <a:solidFill>
                <a:srgbClr val="A6A6A8"/>
              </a:solid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I$2:$I$5</c:f>
              <c:numCache>
                <c:formatCode>0.0%</c:formatCode>
                <c:ptCount val="4"/>
                <c:pt idx="0">
                  <c:v>2.0540325977056854E-2</c:v>
                </c:pt>
                <c:pt idx="1">
                  <c:v>2.0982904915203673E-2</c:v>
                </c:pt>
                <c:pt idx="2">
                  <c:v>2.083183987574011E-2</c:v>
                </c:pt>
                <c:pt idx="3">
                  <c:v>1.4837471387454422E-2</c:v>
                </c:pt>
              </c:numCache>
            </c:numRef>
          </c:val>
          <c:extLst>
            <c:ext xmlns:c16="http://schemas.microsoft.com/office/drawing/2014/chart" uri="{C3380CC4-5D6E-409C-BE32-E72D297353CC}">
              <c16:uniqueId val="{0000000F-7670-4B25-BA0E-0216E9E4803A}"/>
            </c:ext>
          </c:extLst>
        </c:ser>
        <c:ser>
          <c:idx val="8"/>
          <c:order val="8"/>
          <c:tx>
            <c:strRef>
              <c:f>Sheet1!$J$1</c:f>
              <c:strCache>
                <c:ptCount val="1"/>
                <c:pt idx="0">
                  <c:v>Paraguay</c:v>
                </c:pt>
              </c:strCache>
            </c:strRef>
          </c:tx>
          <c:spPr>
            <a:solidFill>
              <a:schemeClr val="accent3">
                <a:lumMod val="60000"/>
              </a:schemeClr>
            </a:solidFill>
            <a:ln>
              <a:noFill/>
            </a:ln>
            <a:effectLst/>
          </c:spPr>
          <c:invertIfNegative val="0"/>
          <c:dLbls>
            <c:dLbl>
              <c:idx val="0"/>
              <c:layout>
                <c:manualLayout>
                  <c:x val="2.0390359131594097E-2"/>
                  <c:y val="8.03527576846607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670-4B25-BA0E-0216E9E4803A}"/>
                </c:ext>
              </c:extLst>
            </c:dLbl>
            <c:dLbl>
              <c:idx val="1"/>
              <c:layout>
                <c:manualLayout>
                  <c:x val="2.4351080274320654E-2"/>
                  <c:y val="8.03990193909595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670-4B25-BA0E-0216E9E4803A}"/>
                </c:ext>
              </c:extLst>
            </c:dLbl>
            <c:dLbl>
              <c:idx val="2"/>
              <c:layout>
                <c:manualLayout>
                  <c:x val="2.218613911641551E-2"/>
                  <c:y val="7.598120035562382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670-4B25-BA0E-0216E9E4803A}"/>
                </c:ext>
              </c:extLst>
            </c:dLbl>
            <c:dLbl>
              <c:idx val="3"/>
              <c:layout>
                <c:manualLayout>
                  <c:x val="1.6092742830911711E-2"/>
                  <c:y val="8.39326485209471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670-4B25-BA0E-0216E9E4803A}"/>
                </c:ext>
              </c:extLst>
            </c:dLbl>
            <c:spPr>
              <a:solidFill>
                <a:srgbClr val="2582C5"/>
              </a:solid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J$2:$J$5</c:f>
              <c:numCache>
                <c:formatCode>0.0%</c:formatCode>
                <c:ptCount val="4"/>
                <c:pt idx="0">
                  <c:v>7.1777851269333144E-3</c:v>
                </c:pt>
                <c:pt idx="1">
                  <c:v>6.7218848981143737E-3</c:v>
                </c:pt>
                <c:pt idx="2">
                  <c:v>6.7622842067159234E-3</c:v>
                </c:pt>
                <c:pt idx="3">
                  <c:v>5.879415926397037E-3</c:v>
                </c:pt>
              </c:numCache>
            </c:numRef>
          </c:val>
          <c:extLst>
            <c:ext xmlns:c16="http://schemas.microsoft.com/office/drawing/2014/chart" uri="{C3380CC4-5D6E-409C-BE32-E72D297353CC}">
              <c16:uniqueId val="{00000014-7670-4B25-BA0E-0216E9E4803A}"/>
            </c:ext>
          </c:extLst>
        </c:ser>
        <c:ser>
          <c:idx val="9"/>
          <c:order val="9"/>
          <c:tx>
            <c:strRef>
              <c:f>Sheet1!$K$1</c:f>
              <c:strCache>
                <c:ptCount val="1"/>
                <c:pt idx="0">
                  <c:v>Others</c:v>
                </c:pt>
              </c:strCache>
            </c:strRef>
          </c:tx>
          <c:spPr>
            <a:solidFill>
              <a:srgbClr val="FFC000"/>
            </a:solidFill>
            <a:ln>
              <a:noFill/>
            </a:ln>
            <a:effectLst/>
          </c:spPr>
          <c:invertIfNegative val="0"/>
          <c:dLbls>
            <c:dLbl>
              <c:idx val="0"/>
              <c:layout>
                <c:manualLayout>
                  <c:x val="2.1171396648446334E-3"/>
                  <c:y val="-6.2036807466900852E-3"/>
                </c:manualLayout>
              </c:layout>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670-4B25-BA0E-0216E9E4803A}"/>
                </c:ext>
              </c:extLst>
            </c:dLbl>
            <c:dLbl>
              <c:idx val="1"/>
              <c:layout>
                <c:manualLayout>
                  <c:x val="2.2326188430950578E-3"/>
                  <c:y val="-3.5337104961970663E-3"/>
                </c:manualLayout>
              </c:layout>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15:layout>
                    <c:manualLayout>
                      <c:w val="4.2089881700279726E-2"/>
                      <c:h val="5.3734438275268782E-2"/>
                    </c:manualLayout>
                  </c15:layout>
                </c:ext>
                <c:ext xmlns:c16="http://schemas.microsoft.com/office/drawing/2014/chart" uri="{C3380CC4-5D6E-409C-BE32-E72D297353CC}">
                  <c16:uniqueId val="{00000016-7670-4B25-BA0E-0216E9E4803A}"/>
                </c:ext>
              </c:extLst>
            </c:dLbl>
            <c:dLbl>
              <c:idx val="2"/>
              <c:layout>
                <c:manualLayout>
                  <c:x val="1.5466121849724895E-3"/>
                  <c:y val="3.5345452966922702E-3"/>
                </c:manualLayout>
              </c:layout>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670-4B25-BA0E-0216E9E4803A}"/>
                </c:ext>
              </c:extLst>
            </c:dLbl>
            <c:dLbl>
              <c:idx val="3"/>
              <c:layout>
                <c:manualLayout>
                  <c:x val="6.3666963955474548E-3"/>
                  <c:y val="-3.5334322293653318E-3"/>
                </c:manualLayout>
              </c:layout>
              <c:spPr>
                <a:solidFill>
                  <a:srgbClr val="FFC000"/>
                </a:solid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670-4B25-BA0E-0216E9E4803A}"/>
                </c:ext>
              </c:extLst>
            </c:dLbl>
            <c:spPr>
              <a:solidFill>
                <a:srgbClr val="FFC000"/>
              </a:solid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K$2:$K$5</c:f>
              <c:numCache>
                <c:formatCode>0.0%</c:formatCode>
                <c:ptCount val="4"/>
                <c:pt idx="0">
                  <c:v>3.2165022827473799E-2</c:v>
                </c:pt>
                <c:pt idx="1">
                  <c:v>3.7601041021355905E-2</c:v>
                </c:pt>
                <c:pt idx="2">
                  <c:v>3.5144526219412525E-2</c:v>
                </c:pt>
                <c:pt idx="3">
                  <c:v>2.825804424063922E-2</c:v>
                </c:pt>
              </c:numCache>
            </c:numRef>
          </c:val>
          <c:extLst>
            <c:ext xmlns:c16="http://schemas.microsoft.com/office/drawing/2014/chart" uri="{C3380CC4-5D6E-409C-BE32-E72D297353CC}">
              <c16:uniqueId val="{00000019-7670-4B25-BA0E-0216E9E4803A}"/>
            </c:ext>
          </c:extLst>
        </c:ser>
        <c:dLbls>
          <c:dLblPos val="inBase"/>
          <c:showLegendKey val="0"/>
          <c:showVal val="1"/>
          <c:showCatName val="0"/>
          <c:showSerName val="0"/>
          <c:showPercent val="0"/>
          <c:showBubbleSize val="0"/>
        </c:dLbls>
        <c:gapWidth val="126"/>
        <c:overlap val="100"/>
        <c:axId val="655997800"/>
        <c:axId val="656003048"/>
      </c:barChart>
      <c:catAx>
        <c:axId val="655997800"/>
        <c:scaling>
          <c:orientation val="maxMin"/>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L"/>
          </a:p>
        </c:txPr>
        <c:crossAx val="656003048"/>
        <c:crosses val="autoZero"/>
        <c:auto val="1"/>
        <c:lblAlgn val="ctr"/>
        <c:lblOffset val="100"/>
        <c:noMultiLvlLbl val="0"/>
      </c:catAx>
      <c:valAx>
        <c:axId val="656003048"/>
        <c:scaling>
          <c:orientation val="minMax"/>
          <c:max val="1"/>
        </c:scaling>
        <c:delete val="1"/>
        <c:axPos val="t"/>
        <c:numFmt formatCode="0.0%" sourceLinked="1"/>
        <c:majorTickMark val="none"/>
        <c:minorTickMark val="none"/>
        <c:tickLblPos val="nextTo"/>
        <c:crossAx val="65599780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s-C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0906973390506496E-2"/>
          <c:y val="6.1012037579691682E-2"/>
          <c:w val="0.91485574763400868"/>
          <c:h val="0.89386159762975492"/>
        </c:manualLayout>
      </c:layout>
      <c:bubbleChart>
        <c:varyColors val="1"/>
        <c:ser>
          <c:idx val="0"/>
          <c:order val="0"/>
          <c:tx>
            <c:strRef>
              <c:f>'Graph '!$B$7:$B$68</c:f>
              <c:strCache>
                <c:ptCount val="62"/>
                <c:pt idx="0">
                  <c:v>Brazil</c:v>
                </c:pt>
                <c:pt idx="1">
                  <c:v>USA</c:v>
                </c:pt>
                <c:pt idx="2">
                  <c:v>Spain</c:v>
                </c:pt>
                <c:pt idx="3">
                  <c:v>Argentina</c:v>
                </c:pt>
                <c:pt idx="4">
                  <c:v>Chile</c:v>
                </c:pt>
                <c:pt idx="5">
                  <c:v>Canada</c:v>
                </c:pt>
                <c:pt idx="6">
                  <c:v>0</c:v>
                </c:pt>
                <c:pt idx="7">
                  <c:v>0</c:v>
                </c:pt>
                <c:pt idx="8">
                  <c:v>0</c:v>
                </c:pt>
                <c:pt idx="9">
                  <c:v>0</c:v>
                </c:pt>
                <c:pt idx="10">
                  <c:v>0</c:v>
                </c:pt>
                <c:pt idx="11">
                  <c:v>0</c:v>
                </c:pt>
                <c:pt idx="12">
                  <c:v>0</c:v>
                </c:pt>
                <c:pt idx="13">
                  <c:v>0</c:v>
                </c:pt>
                <c:pt idx="14">
                  <c:v>0</c:v>
                </c:pt>
              </c:strCache>
            </c:strRef>
          </c:tx>
          <c:invertIfNegative val="0"/>
          <c:dPt>
            <c:idx val="0"/>
            <c:invertIfNegative val="0"/>
            <c:bubble3D val="0"/>
            <c:spPr>
              <a:solidFill>
                <a:schemeClr val="accent1">
                  <a:shade val="33000"/>
                  <a:alpha val="75000"/>
                </a:schemeClr>
              </a:solidFill>
              <a:ln>
                <a:noFill/>
              </a:ln>
              <a:effectLst/>
            </c:spPr>
            <c:extLst>
              <c:ext xmlns:c16="http://schemas.microsoft.com/office/drawing/2014/chart" uri="{C3380CC4-5D6E-409C-BE32-E72D297353CC}">
                <c16:uniqueId val="{00000001-AB11-4731-9851-4D0A2E4801CA}"/>
              </c:ext>
            </c:extLst>
          </c:dPt>
          <c:dPt>
            <c:idx val="1"/>
            <c:invertIfNegative val="0"/>
            <c:bubble3D val="0"/>
            <c:spPr>
              <a:solidFill>
                <a:schemeClr val="accent1">
                  <a:shade val="36000"/>
                  <a:alpha val="75000"/>
                </a:schemeClr>
              </a:solidFill>
              <a:ln>
                <a:noFill/>
              </a:ln>
              <a:effectLst/>
            </c:spPr>
            <c:extLst>
              <c:ext xmlns:c16="http://schemas.microsoft.com/office/drawing/2014/chart" uri="{C3380CC4-5D6E-409C-BE32-E72D297353CC}">
                <c16:uniqueId val="{00000003-AB11-4731-9851-4D0A2E4801CA}"/>
              </c:ext>
            </c:extLst>
          </c:dPt>
          <c:dPt>
            <c:idx val="2"/>
            <c:invertIfNegative val="0"/>
            <c:bubble3D val="0"/>
            <c:spPr>
              <a:solidFill>
                <a:schemeClr val="accent1">
                  <a:shade val="39000"/>
                  <a:alpha val="75000"/>
                </a:schemeClr>
              </a:solidFill>
              <a:ln>
                <a:noFill/>
              </a:ln>
              <a:effectLst/>
            </c:spPr>
            <c:extLst>
              <c:ext xmlns:c16="http://schemas.microsoft.com/office/drawing/2014/chart" uri="{C3380CC4-5D6E-409C-BE32-E72D297353CC}">
                <c16:uniqueId val="{00000005-AB11-4731-9851-4D0A2E4801CA}"/>
              </c:ext>
            </c:extLst>
          </c:dPt>
          <c:dPt>
            <c:idx val="3"/>
            <c:invertIfNegative val="0"/>
            <c:bubble3D val="0"/>
            <c:spPr>
              <a:solidFill>
                <a:schemeClr val="accent1">
                  <a:shade val="42000"/>
                  <a:alpha val="75000"/>
                </a:schemeClr>
              </a:solidFill>
              <a:ln>
                <a:noFill/>
              </a:ln>
              <a:effectLst/>
            </c:spPr>
            <c:extLst>
              <c:ext xmlns:c16="http://schemas.microsoft.com/office/drawing/2014/chart" uri="{C3380CC4-5D6E-409C-BE32-E72D297353CC}">
                <c16:uniqueId val="{00000007-AB11-4731-9851-4D0A2E4801CA}"/>
              </c:ext>
            </c:extLst>
          </c:dPt>
          <c:dPt>
            <c:idx val="4"/>
            <c:invertIfNegative val="0"/>
            <c:bubble3D val="0"/>
            <c:spPr>
              <a:solidFill>
                <a:schemeClr val="accent1">
                  <a:shade val="45000"/>
                  <a:alpha val="75000"/>
                </a:schemeClr>
              </a:solidFill>
              <a:ln>
                <a:noFill/>
              </a:ln>
              <a:effectLst/>
            </c:spPr>
            <c:extLst>
              <c:ext xmlns:c16="http://schemas.microsoft.com/office/drawing/2014/chart" uri="{C3380CC4-5D6E-409C-BE32-E72D297353CC}">
                <c16:uniqueId val="{00000009-AB11-4731-9851-4D0A2E4801CA}"/>
              </c:ext>
            </c:extLst>
          </c:dPt>
          <c:dPt>
            <c:idx val="5"/>
            <c:invertIfNegative val="0"/>
            <c:bubble3D val="0"/>
            <c:spPr>
              <a:solidFill>
                <a:schemeClr val="accent1">
                  <a:shade val="48000"/>
                  <a:alpha val="75000"/>
                </a:schemeClr>
              </a:solidFill>
              <a:ln>
                <a:noFill/>
              </a:ln>
              <a:effectLst/>
            </c:spPr>
            <c:extLst>
              <c:ext xmlns:c16="http://schemas.microsoft.com/office/drawing/2014/chart" uri="{C3380CC4-5D6E-409C-BE32-E72D297353CC}">
                <c16:uniqueId val="{0000000B-AB11-4731-9851-4D0A2E4801CA}"/>
              </c:ext>
            </c:extLst>
          </c:dPt>
          <c:dPt>
            <c:idx val="6"/>
            <c:invertIfNegative val="0"/>
            <c:bubble3D val="0"/>
            <c:spPr>
              <a:solidFill>
                <a:schemeClr val="accent1">
                  <a:shade val="51000"/>
                  <a:alpha val="75000"/>
                </a:schemeClr>
              </a:solidFill>
              <a:ln>
                <a:noFill/>
              </a:ln>
              <a:effectLst/>
            </c:spPr>
            <c:extLst>
              <c:ext xmlns:c16="http://schemas.microsoft.com/office/drawing/2014/chart" uri="{C3380CC4-5D6E-409C-BE32-E72D297353CC}">
                <c16:uniqueId val="{0000000D-AB11-4731-9851-4D0A2E4801CA}"/>
              </c:ext>
            </c:extLst>
          </c:dPt>
          <c:dPt>
            <c:idx val="7"/>
            <c:invertIfNegative val="0"/>
            <c:bubble3D val="0"/>
            <c:spPr>
              <a:solidFill>
                <a:schemeClr val="accent1">
                  <a:shade val="54000"/>
                  <a:alpha val="75000"/>
                </a:schemeClr>
              </a:solidFill>
              <a:ln>
                <a:noFill/>
              </a:ln>
              <a:effectLst/>
            </c:spPr>
            <c:extLst>
              <c:ext xmlns:c16="http://schemas.microsoft.com/office/drawing/2014/chart" uri="{C3380CC4-5D6E-409C-BE32-E72D297353CC}">
                <c16:uniqueId val="{0000000F-AB11-4731-9851-4D0A2E4801CA}"/>
              </c:ext>
            </c:extLst>
          </c:dPt>
          <c:dPt>
            <c:idx val="8"/>
            <c:invertIfNegative val="0"/>
            <c:bubble3D val="0"/>
            <c:spPr>
              <a:solidFill>
                <a:schemeClr val="accent1">
                  <a:shade val="58000"/>
                  <a:alpha val="75000"/>
                </a:schemeClr>
              </a:solidFill>
              <a:ln>
                <a:noFill/>
              </a:ln>
              <a:effectLst/>
            </c:spPr>
            <c:extLst>
              <c:ext xmlns:c16="http://schemas.microsoft.com/office/drawing/2014/chart" uri="{C3380CC4-5D6E-409C-BE32-E72D297353CC}">
                <c16:uniqueId val="{00000011-AB11-4731-9851-4D0A2E4801CA}"/>
              </c:ext>
            </c:extLst>
          </c:dPt>
          <c:dPt>
            <c:idx val="9"/>
            <c:invertIfNegative val="0"/>
            <c:bubble3D val="0"/>
            <c:spPr>
              <a:solidFill>
                <a:schemeClr val="accent1">
                  <a:shade val="61000"/>
                  <a:alpha val="75000"/>
                </a:schemeClr>
              </a:solidFill>
              <a:ln>
                <a:noFill/>
              </a:ln>
              <a:effectLst/>
            </c:spPr>
            <c:extLst>
              <c:ext xmlns:c16="http://schemas.microsoft.com/office/drawing/2014/chart" uri="{C3380CC4-5D6E-409C-BE32-E72D297353CC}">
                <c16:uniqueId val="{00000013-AB11-4731-9851-4D0A2E4801CA}"/>
              </c:ext>
            </c:extLst>
          </c:dPt>
          <c:dPt>
            <c:idx val="10"/>
            <c:invertIfNegative val="0"/>
            <c:bubble3D val="0"/>
            <c:spPr>
              <a:solidFill>
                <a:schemeClr val="accent1">
                  <a:shade val="64000"/>
                  <a:alpha val="75000"/>
                </a:schemeClr>
              </a:solidFill>
              <a:ln>
                <a:noFill/>
              </a:ln>
              <a:effectLst/>
            </c:spPr>
            <c:extLst>
              <c:ext xmlns:c16="http://schemas.microsoft.com/office/drawing/2014/chart" uri="{C3380CC4-5D6E-409C-BE32-E72D297353CC}">
                <c16:uniqueId val="{00000015-AB11-4731-9851-4D0A2E4801CA}"/>
              </c:ext>
            </c:extLst>
          </c:dPt>
          <c:dPt>
            <c:idx val="11"/>
            <c:invertIfNegative val="0"/>
            <c:bubble3D val="0"/>
            <c:spPr>
              <a:solidFill>
                <a:schemeClr val="accent1">
                  <a:shade val="67000"/>
                  <a:alpha val="75000"/>
                </a:schemeClr>
              </a:solidFill>
              <a:ln>
                <a:noFill/>
              </a:ln>
              <a:effectLst/>
            </c:spPr>
            <c:extLst>
              <c:ext xmlns:c16="http://schemas.microsoft.com/office/drawing/2014/chart" uri="{C3380CC4-5D6E-409C-BE32-E72D297353CC}">
                <c16:uniqueId val="{00000017-AB11-4731-9851-4D0A2E4801CA}"/>
              </c:ext>
            </c:extLst>
          </c:dPt>
          <c:dPt>
            <c:idx val="12"/>
            <c:invertIfNegative val="0"/>
            <c:bubble3D val="0"/>
            <c:spPr>
              <a:solidFill>
                <a:schemeClr val="accent1">
                  <a:shade val="70000"/>
                  <a:alpha val="75000"/>
                </a:schemeClr>
              </a:solidFill>
              <a:ln>
                <a:noFill/>
              </a:ln>
              <a:effectLst/>
            </c:spPr>
            <c:extLst>
              <c:ext xmlns:c16="http://schemas.microsoft.com/office/drawing/2014/chart" uri="{C3380CC4-5D6E-409C-BE32-E72D297353CC}">
                <c16:uniqueId val="{00000019-AB11-4731-9851-4D0A2E4801CA}"/>
              </c:ext>
            </c:extLst>
          </c:dPt>
          <c:dPt>
            <c:idx val="13"/>
            <c:invertIfNegative val="0"/>
            <c:bubble3D val="0"/>
            <c:spPr>
              <a:solidFill>
                <a:schemeClr val="accent1">
                  <a:shade val="73000"/>
                  <a:alpha val="75000"/>
                </a:schemeClr>
              </a:solidFill>
              <a:ln>
                <a:noFill/>
              </a:ln>
              <a:effectLst/>
            </c:spPr>
            <c:extLst>
              <c:ext xmlns:c16="http://schemas.microsoft.com/office/drawing/2014/chart" uri="{C3380CC4-5D6E-409C-BE32-E72D297353CC}">
                <c16:uniqueId val="{0000001B-AB11-4731-9851-4D0A2E4801CA}"/>
              </c:ext>
            </c:extLst>
          </c:dPt>
          <c:dPt>
            <c:idx val="14"/>
            <c:invertIfNegative val="0"/>
            <c:bubble3D val="0"/>
            <c:spPr>
              <a:solidFill>
                <a:schemeClr val="accent1">
                  <a:shade val="76000"/>
                  <a:alpha val="75000"/>
                </a:schemeClr>
              </a:solidFill>
              <a:ln>
                <a:noFill/>
              </a:ln>
              <a:effectLst/>
            </c:spPr>
            <c:extLst>
              <c:ext xmlns:c16="http://schemas.microsoft.com/office/drawing/2014/chart" uri="{C3380CC4-5D6E-409C-BE32-E72D297353CC}">
                <c16:uniqueId val="{0000001D-AB11-4731-9851-4D0A2E4801CA}"/>
              </c:ext>
            </c:extLst>
          </c:dPt>
          <c:dPt>
            <c:idx val="15"/>
            <c:invertIfNegative val="0"/>
            <c:bubble3D val="0"/>
            <c:spPr>
              <a:solidFill>
                <a:schemeClr val="accent1">
                  <a:shade val="79000"/>
                  <a:alpha val="75000"/>
                </a:schemeClr>
              </a:solidFill>
              <a:ln>
                <a:noFill/>
              </a:ln>
              <a:effectLst/>
            </c:spPr>
            <c:extLst>
              <c:ext xmlns:c16="http://schemas.microsoft.com/office/drawing/2014/chart" uri="{C3380CC4-5D6E-409C-BE32-E72D297353CC}">
                <c16:uniqueId val="{0000001F-AB11-4731-9851-4D0A2E4801CA}"/>
              </c:ext>
            </c:extLst>
          </c:dPt>
          <c:dPt>
            <c:idx val="16"/>
            <c:invertIfNegative val="0"/>
            <c:bubble3D val="0"/>
            <c:spPr>
              <a:solidFill>
                <a:schemeClr val="accent1">
                  <a:shade val="82000"/>
                  <a:alpha val="75000"/>
                </a:schemeClr>
              </a:solidFill>
              <a:ln>
                <a:noFill/>
              </a:ln>
              <a:effectLst/>
            </c:spPr>
            <c:extLst>
              <c:ext xmlns:c16="http://schemas.microsoft.com/office/drawing/2014/chart" uri="{C3380CC4-5D6E-409C-BE32-E72D297353CC}">
                <c16:uniqueId val="{00000021-AB11-4731-9851-4D0A2E4801CA}"/>
              </c:ext>
            </c:extLst>
          </c:dPt>
          <c:dPt>
            <c:idx val="17"/>
            <c:invertIfNegative val="0"/>
            <c:bubble3D val="0"/>
            <c:spPr>
              <a:solidFill>
                <a:schemeClr val="accent1">
                  <a:shade val="86000"/>
                  <a:alpha val="75000"/>
                </a:schemeClr>
              </a:solidFill>
              <a:ln>
                <a:noFill/>
              </a:ln>
              <a:effectLst/>
            </c:spPr>
            <c:extLst>
              <c:ext xmlns:c16="http://schemas.microsoft.com/office/drawing/2014/chart" uri="{C3380CC4-5D6E-409C-BE32-E72D297353CC}">
                <c16:uniqueId val="{00000023-AB11-4731-9851-4D0A2E4801CA}"/>
              </c:ext>
            </c:extLst>
          </c:dPt>
          <c:dPt>
            <c:idx val="18"/>
            <c:invertIfNegative val="0"/>
            <c:bubble3D val="0"/>
            <c:spPr>
              <a:solidFill>
                <a:schemeClr val="accent1">
                  <a:shade val="89000"/>
                  <a:alpha val="75000"/>
                </a:schemeClr>
              </a:solidFill>
              <a:ln>
                <a:noFill/>
              </a:ln>
              <a:effectLst/>
            </c:spPr>
            <c:extLst>
              <c:ext xmlns:c16="http://schemas.microsoft.com/office/drawing/2014/chart" uri="{C3380CC4-5D6E-409C-BE32-E72D297353CC}">
                <c16:uniqueId val="{00000025-AB11-4731-9851-4D0A2E4801CA}"/>
              </c:ext>
            </c:extLst>
          </c:dPt>
          <c:dPt>
            <c:idx val="19"/>
            <c:invertIfNegative val="0"/>
            <c:bubble3D val="0"/>
            <c:spPr>
              <a:solidFill>
                <a:schemeClr val="accent1">
                  <a:shade val="92000"/>
                  <a:alpha val="75000"/>
                </a:schemeClr>
              </a:solidFill>
              <a:ln>
                <a:noFill/>
              </a:ln>
              <a:effectLst/>
            </c:spPr>
            <c:extLst>
              <c:ext xmlns:c16="http://schemas.microsoft.com/office/drawing/2014/chart" uri="{C3380CC4-5D6E-409C-BE32-E72D297353CC}">
                <c16:uniqueId val="{00000027-AB11-4731-9851-4D0A2E4801CA}"/>
              </c:ext>
            </c:extLst>
          </c:dPt>
          <c:dPt>
            <c:idx val="20"/>
            <c:invertIfNegative val="0"/>
            <c:bubble3D val="0"/>
            <c:spPr>
              <a:solidFill>
                <a:schemeClr val="accent1">
                  <a:shade val="95000"/>
                  <a:alpha val="75000"/>
                </a:schemeClr>
              </a:solidFill>
              <a:ln>
                <a:noFill/>
              </a:ln>
              <a:effectLst/>
            </c:spPr>
            <c:extLst>
              <c:ext xmlns:c16="http://schemas.microsoft.com/office/drawing/2014/chart" uri="{C3380CC4-5D6E-409C-BE32-E72D297353CC}">
                <c16:uniqueId val="{00000029-AB11-4731-9851-4D0A2E4801CA}"/>
              </c:ext>
            </c:extLst>
          </c:dPt>
          <c:dPt>
            <c:idx val="21"/>
            <c:invertIfNegative val="0"/>
            <c:bubble3D val="0"/>
            <c:spPr>
              <a:solidFill>
                <a:schemeClr val="accent1">
                  <a:shade val="98000"/>
                  <a:alpha val="75000"/>
                </a:schemeClr>
              </a:solidFill>
              <a:ln>
                <a:noFill/>
              </a:ln>
              <a:effectLst/>
            </c:spPr>
            <c:extLst>
              <c:ext xmlns:c16="http://schemas.microsoft.com/office/drawing/2014/chart" uri="{C3380CC4-5D6E-409C-BE32-E72D297353CC}">
                <c16:uniqueId val="{0000002B-AB11-4731-9851-4D0A2E4801CA}"/>
              </c:ext>
            </c:extLst>
          </c:dPt>
          <c:dPt>
            <c:idx val="22"/>
            <c:invertIfNegative val="0"/>
            <c:bubble3D val="0"/>
            <c:spPr>
              <a:solidFill>
                <a:schemeClr val="accent1">
                  <a:tint val="99000"/>
                  <a:alpha val="75000"/>
                </a:schemeClr>
              </a:solidFill>
              <a:ln>
                <a:noFill/>
              </a:ln>
              <a:effectLst/>
            </c:spPr>
            <c:extLst>
              <c:ext xmlns:c16="http://schemas.microsoft.com/office/drawing/2014/chart" uri="{C3380CC4-5D6E-409C-BE32-E72D297353CC}">
                <c16:uniqueId val="{0000002D-AB11-4731-9851-4D0A2E4801CA}"/>
              </c:ext>
            </c:extLst>
          </c:dPt>
          <c:dPt>
            <c:idx val="23"/>
            <c:invertIfNegative val="0"/>
            <c:bubble3D val="0"/>
            <c:spPr>
              <a:solidFill>
                <a:schemeClr val="accent1">
                  <a:tint val="96000"/>
                  <a:alpha val="75000"/>
                </a:schemeClr>
              </a:solidFill>
              <a:ln>
                <a:noFill/>
              </a:ln>
              <a:effectLst/>
            </c:spPr>
            <c:extLst>
              <c:ext xmlns:c16="http://schemas.microsoft.com/office/drawing/2014/chart" uri="{C3380CC4-5D6E-409C-BE32-E72D297353CC}">
                <c16:uniqueId val="{0000002F-AB11-4731-9851-4D0A2E4801CA}"/>
              </c:ext>
            </c:extLst>
          </c:dPt>
          <c:dPt>
            <c:idx val="24"/>
            <c:invertIfNegative val="0"/>
            <c:bubble3D val="0"/>
            <c:spPr>
              <a:solidFill>
                <a:schemeClr val="accent1">
                  <a:tint val="93000"/>
                  <a:alpha val="75000"/>
                </a:schemeClr>
              </a:solidFill>
              <a:ln>
                <a:noFill/>
              </a:ln>
              <a:effectLst/>
            </c:spPr>
            <c:extLst>
              <c:ext xmlns:c16="http://schemas.microsoft.com/office/drawing/2014/chart" uri="{C3380CC4-5D6E-409C-BE32-E72D297353CC}">
                <c16:uniqueId val="{00000031-AB11-4731-9851-4D0A2E4801CA}"/>
              </c:ext>
            </c:extLst>
          </c:dPt>
          <c:dPt>
            <c:idx val="25"/>
            <c:invertIfNegative val="0"/>
            <c:bubble3D val="0"/>
            <c:spPr>
              <a:solidFill>
                <a:schemeClr val="accent1">
                  <a:tint val="90000"/>
                  <a:alpha val="75000"/>
                </a:schemeClr>
              </a:solidFill>
              <a:ln>
                <a:noFill/>
              </a:ln>
              <a:effectLst/>
            </c:spPr>
            <c:extLst>
              <c:ext xmlns:c16="http://schemas.microsoft.com/office/drawing/2014/chart" uri="{C3380CC4-5D6E-409C-BE32-E72D297353CC}">
                <c16:uniqueId val="{00000033-AB11-4731-9851-4D0A2E4801CA}"/>
              </c:ext>
            </c:extLst>
          </c:dPt>
          <c:dPt>
            <c:idx val="26"/>
            <c:invertIfNegative val="0"/>
            <c:bubble3D val="0"/>
            <c:spPr>
              <a:solidFill>
                <a:schemeClr val="accent1">
                  <a:tint val="86000"/>
                  <a:alpha val="75000"/>
                </a:schemeClr>
              </a:solidFill>
              <a:ln>
                <a:noFill/>
              </a:ln>
              <a:effectLst/>
            </c:spPr>
            <c:extLst>
              <c:ext xmlns:c16="http://schemas.microsoft.com/office/drawing/2014/chart" uri="{C3380CC4-5D6E-409C-BE32-E72D297353CC}">
                <c16:uniqueId val="{00000035-AB11-4731-9851-4D0A2E4801CA}"/>
              </c:ext>
            </c:extLst>
          </c:dPt>
          <c:dPt>
            <c:idx val="27"/>
            <c:invertIfNegative val="0"/>
            <c:bubble3D val="0"/>
            <c:spPr>
              <a:solidFill>
                <a:schemeClr val="accent1">
                  <a:tint val="83000"/>
                  <a:alpha val="75000"/>
                </a:schemeClr>
              </a:solidFill>
              <a:ln>
                <a:noFill/>
              </a:ln>
              <a:effectLst/>
            </c:spPr>
            <c:extLst>
              <c:ext xmlns:c16="http://schemas.microsoft.com/office/drawing/2014/chart" uri="{C3380CC4-5D6E-409C-BE32-E72D297353CC}">
                <c16:uniqueId val="{00000037-AB11-4731-9851-4D0A2E4801CA}"/>
              </c:ext>
            </c:extLst>
          </c:dPt>
          <c:dPt>
            <c:idx val="28"/>
            <c:invertIfNegative val="0"/>
            <c:bubble3D val="0"/>
            <c:spPr>
              <a:solidFill>
                <a:schemeClr val="accent1">
                  <a:tint val="80000"/>
                  <a:alpha val="75000"/>
                </a:schemeClr>
              </a:solidFill>
              <a:ln>
                <a:noFill/>
              </a:ln>
              <a:effectLst/>
            </c:spPr>
            <c:extLst>
              <c:ext xmlns:c16="http://schemas.microsoft.com/office/drawing/2014/chart" uri="{C3380CC4-5D6E-409C-BE32-E72D297353CC}">
                <c16:uniqueId val="{00000039-AB11-4731-9851-4D0A2E4801CA}"/>
              </c:ext>
            </c:extLst>
          </c:dPt>
          <c:dPt>
            <c:idx val="29"/>
            <c:invertIfNegative val="0"/>
            <c:bubble3D val="0"/>
            <c:spPr>
              <a:solidFill>
                <a:schemeClr val="accent1">
                  <a:tint val="77000"/>
                  <a:alpha val="75000"/>
                </a:schemeClr>
              </a:solidFill>
              <a:ln>
                <a:noFill/>
              </a:ln>
              <a:effectLst/>
            </c:spPr>
            <c:extLst>
              <c:ext xmlns:c16="http://schemas.microsoft.com/office/drawing/2014/chart" uri="{C3380CC4-5D6E-409C-BE32-E72D297353CC}">
                <c16:uniqueId val="{0000003B-AB11-4731-9851-4D0A2E4801CA}"/>
              </c:ext>
            </c:extLst>
          </c:dPt>
          <c:dPt>
            <c:idx val="30"/>
            <c:invertIfNegative val="0"/>
            <c:bubble3D val="0"/>
            <c:spPr>
              <a:solidFill>
                <a:schemeClr val="accent1">
                  <a:tint val="74000"/>
                  <a:alpha val="75000"/>
                </a:schemeClr>
              </a:solidFill>
              <a:ln>
                <a:noFill/>
              </a:ln>
              <a:effectLst/>
            </c:spPr>
            <c:extLst>
              <c:ext xmlns:c16="http://schemas.microsoft.com/office/drawing/2014/chart" uri="{C3380CC4-5D6E-409C-BE32-E72D297353CC}">
                <c16:uniqueId val="{0000003D-AB11-4731-9851-4D0A2E4801CA}"/>
              </c:ext>
            </c:extLst>
          </c:dPt>
          <c:dPt>
            <c:idx val="31"/>
            <c:invertIfNegative val="0"/>
            <c:bubble3D val="0"/>
            <c:spPr>
              <a:solidFill>
                <a:schemeClr val="accent1">
                  <a:tint val="71000"/>
                  <a:alpha val="75000"/>
                </a:schemeClr>
              </a:solidFill>
              <a:ln>
                <a:noFill/>
              </a:ln>
              <a:effectLst/>
            </c:spPr>
            <c:extLst>
              <c:ext xmlns:c16="http://schemas.microsoft.com/office/drawing/2014/chart" uri="{C3380CC4-5D6E-409C-BE32-E72D297353CC}">
                <c16:uniqueId val="{0000003F-AB11-4731-9851-4D0A2E4801CA}"/>
              </c:ext>
            </c:extLst>
          </c:dPt>
          <c:dPt>
            <c:idx val="32"/>
            <c:invertIfNegative val="0"/>
            <c:bubble3D val="0"/>
            <c:spPr>
              <a:solidFill>
                <a:schemeClr val="accent1">
                  <a:tint val="68000"/>
                  <a:alpha val="75000"/>
                </a:schemeClr>
              </a:solidFill>
              <a:ln>
                <a:noFill/>
              </a:ln>
              <a:effectLst/>
            </c:spPr>
            <c:extLst>
              <c:ext xmlns:c16="http://schemas.microsoft.com/office/drawing/2014/chart" uri="{C3380CC4-5D6E-409C-BE32-E72D297353CC}">
                <c16:uniqueId val="{00000041-AB11-4731-9851-4D0A2E4801CA}"/>
              </c:ext>
            </c:extLst>
          </c:dPt>
          <c:dPt>
            <c:idx val="33"/>
            <c:invertIfNegative val="0"/>
            <c:bubble3D val="0"/>
            <c:spPr>
              <a:solidFill>
                <a:schemeClr val="accent1">
                  <a:tint val="65000"/>
                  <a:alpha val="75000"/>
                </a:schemeClr>
              </a:solidFill>
              <a:ln>
                <a:noFill/>
              </a:ln>
              <a:effectLst/>
            </c:spPr>
            <c:extLst>
              <c:ext xmlns:c16="http://schemas.microsoft.com/office/drawing/2014/chart" uri="{C3380CC4-5D6E-409C-BE32-E72D297353CC}">
                <c16:uniqueId val="{00000043-AB11-4731-9851-4D0A2E4801CA}"/>
              </c:ext>
            </c:extLst>
          </c:dPt>
          <c:dPt>
            <c:idx val="34"/>
            <c:invertIfNegative val="0"/>
            <c:bubble3D val="0"/>
            <c:spPr>
              <a:solidFill>
                <a:schemeClr val="accent1">
                  <a:tint val="62000"/>
                  <a:alpha val="75000"/>
                </a:schemeClr>
              </a:solidFill>
              <a:ln>
                <a:noFill/>
              </a:ln>
              <a:effectLst/>
            </c:spPr>
            <c:extLst>
              <c:ext xmlns:c16="http://schemas.microsoft.com/office/drawing/2014/chart" uri="{C3380CC4-5D6E-409C-BE32-E72D297353CC}">
                <c16:uniqueId val="{00000045-AB11-4731-9851-4D0A2E4801CA}"/>
              </c:ext>
            </c:extLst>
          </c:dPt>
          <c:dPt>
            <c:idx val="35"/>
            <c:invertIfNegative val="0"/>
            <c:bubble3D val="0"/>
            <c:spPr>
              <a:solidFill>
                <a:schemeClr val="accent1">
                  <a:tint val="58000"/>
                  <a:alpha val="75000"/>
                </a:schemeClr>
              </a:solidFill>
              <a:ln>
                <a:noFill/>
              </a:ln>
              <a:effectLst/>
            </c:spPr>
            <c:extLst>
              <c:ext xmlns:c16="http://schemas.microsoft.com/office/drawing/2014/chart" uri="{C3380CC4-5D6E-409C-BE32-E72D297353CC}">
                <c16:uniqueId val="{00000047-AB11-4731-9851-4D0A2E4801CA}"/>
              </c:ext>
            </c:extLst>
          </c:dPt>
          <c:dPt>
            <c:idx val="36"/>
            <c:invertIfNegative val="0"/>
            <c:bubble3D val="0"/>
            <c:spPr>
              <a:solidFill>
                <a:schemeClr val="accent1">
                  <a:tint val="55000"/>
                  <a:alpha val="75000"/>
                </a:schemeClr>
              </a:solidFill>
              <a:ln>
                <a:noFill/>
              </a:ln>
              <a:effectLst/>
            </c:spPr>
            <c:extLst>
              <c:ext xmlns:c16="http://schemas.microsoft.com/office/drawing/2014/chart" uri="{C3380CC4-5D6E-409C-BE32-E72D297353CC}">
                <c16:uniqueId val="{00000049-AB11-4731-9851-4D0A2E4801CA}"/>
              </c:ext>
            </c:extLst>
          </c:dPt>
          <c:dPt>
            <c:idx val="37"/>
            <c:invertIfNegative val="0"/>
            <c:bubble3D val="0"/>
            <c:spPr>
              <a:solidFill>
                <a:schemeClr val="accent1">
                  <a:tint val="52000"/>
                  <a:alpha val="75000"/>
                </a:schemeClr>
              </a:solidFill>
              <a:ln>
                <a:noFill/>
              </a:ln>
              <a:effectLst/>
            </c:spPr>
            <c:extLst>
              <c:ext xmlns:c16="http://schemas.microsoft.com/office/drawing/2014/chart" uri="{C3380CC4-5D6E-409C-BE32-E72D297353CC}">
                <c16:uniqueId val="{0000004B-AB11-4731-9851-4D0A2E4801CA}"/>
              </c:ext>
            </c:extLst>
          </c:dPt>
          <c:dPt>
            <c:idx val="38"/>
            <c:invertIfNegative val="0"/>
            <c:bubble3D val="0"/>
            <c:spPr>
              <a:solidFill>
                <a:schemeClr val="accent1">
                  <a:tint val="49000"/>
                  <a:alpha val="75000"/>
                </a:schemeClr>
              </a:solidFill>
              <a:ln>
                <a:noFill/>
              </a:ln>
              <a:effectLst/>
            </c:spPr>
            <c:extLst>
              <c:ext xmlns:c16="http://schemas.microsoft.com/office/drawing/2014/chart" uri="{C3380CC4-5D6E-409C-BE32-E72D297353CC}">
                <c16:uniqueId val="{0000004D-AB11-4731-9851-4D0A2E4801CA}"/>
              </c:ext>
            </c:extLst>
          </c:dPt>
          <c:dPt>
            <c:idx val="39"/>
            <c:invertIfNegative val="0"/>
            <c:bubble3D val="0"/>
            <c:spPr>
              <a:solidFill>
                <a:schemeClr val="accent1">
                  <a:tint val="46000"/>
                  <a:alpha val="75000"/>
                </a:schemeClr>
              </a:solidFill>
              <a:ln>
                <a:noFill/>
              </a:ln>
              <a:effectLst/>
            </c:spPr>
            <c:extLst>
              <c:ext xmlns:c16="http://schemas.microsoft.com/office/drawing/2014/chart" uri="{C3380CC4-5D6E-409C-BE32-E72D297353CC}">
                <c16:uniqueId val="{0000004F-AB11-4731-9851-4D0A2E4801CA}"/>
              </c:ext>
            </c:extLst>
          </c:dPt>
          <c:dPt>
            <c:idx val="40"/>
            <c:invertIfNegative val="0"/>
            <c:bubble3D val="0"/>
            <c:spPr>
              <a:solidFill>
                <a:schemeClr val="accent1">
                  <a:tint val="43000"/>
                  <a:alpha val="75000"/>
                </a:schemeClr>
              </a:solidFill>
              <a:ln>
                <a:noFill/>
              </a:ln>
              <a:effectLst/>
            </c:spPr>
            <c:extLst>
              <c:ext xmlns:c16="http://schemas.microsoft.com/office/drawing/2014/chart" uri="{C3380CC4-5D6E-409C-BE32-E72D297353CC}">
                <c16:uniqueId val="{00000051-AB11-4731-9851-4D0A2E4801CA}"/>
              </c:ext>
            </c:extLst>
          </c:dPt>
          <c:dPt>
            <c:idx val="41"/>
            <c:invertIfNegative val="0"/>
            <c:bubble3D val="0"/>
            <c:spPr>
              <a:solidFill>
                <a:schemeClr val="accent1">
                  <a:tint val="77000"/>
                  <a:alpha val="75000"/>
                </a:schemeClr>
              </a:solidFill>
              <a:ln>
                <a:noFill/>
              </a:ln>
              <a:effectLst/>
            </c:spPr>
            <c:extLst>
              <c:ext xmlns:c16="http://schemas.microsoft.com/office/drawing/2014/chart" uri="{C3380CC4-5D6E-409C-BE32-E72D297353CC}">
                <c16:uniqueId val="{00000053-AB11-4731-9851-4D0A2E4801CA}"/>
              </c:ext>
            </c:extLst>
          </c:dPt>
          <c:dPt>
            <c:idx val="42"/>
            <c:invertIfNegative val="0"/>
            <c:bubble3D val="0"/>
            <c:spPr>
              <a:solidFill>
                <a:schemeClr val="accent1">
                  <a:tint val="75000"/>
                  <a:alpha val="75000"/>
                </a:schemeClr>
              </a:solidFill>
              <a:ln>
                <a:noFill/>
              </a:ln>
              <a:effectLst/>
            </c:spPr>
            <c:extLst>
              <c:ext xmlns:c16="http://schemas.microsoft.com/office/drawing/2014/chart" uri="{C3380CC4-5D6E-409C-BE32-E72D297353CC}">
                <c16:uniqueId val="{00000055-AB11-4731-9851-4D0A2E4801CA}"/>
              </c:ext>
            </c:extLst>
          </c:dPt>
          <c:dPt>
            <c:idx val="43"/>
            <c:invertIfNegative val="0"/>
            <c:bubble3D val="0"/>
            <c:spPr>
              <a:solidFill>
                <a:schemeClr val="accent1">
                  <a:tint val="73000"/>
                  <a:alpha val="75000"/>
                </a:schemeClr>
              </a:solidFill>
              <a:ln>
                <a:noFill/>
              </a:ln>
              <a:effectLst/>
            </c:spPr>
            <c:extLst>
              <c:ext xmlns:c16="http://schemas.microsoft.com/office/drawing/2014/chart" uri="{C3380CC4-5D6E-409C-BE32-E72D297353CC}">
                <c16:uniqueId val="{00000057-AB11-4731-9851-4D0A2E4801CA}"/>
              </c:ext>
            </c:extLst>
          </c:dPt>
          <c:dPt>
            <c:idx val="44"/>
            <c:invertIfNegative val="0"/>
            <c:bubble3D val="0"/>
            <c:spPr>
              <a:solidFill>
                <a:schemeClr val="accent1">
                  <a:tint val="70000"/>
                  <a:alpha val="75000"/>
                </a:schemeClr>
              </a:solidFill>
              <a:ln>
                <a:noFill/>
              </a:ln>
              <a:effectLst/>
            </c:spPr>
            <c:extLst>
              <c:ext xmlns:c16="http://schemas.microsoft.com/office/drawing/2014/chart" uri="{C3380CC4-5D6E-409C-BE32-E72D297353CC}">
                <c16:uniqueId val="{00000000-1CDF-764F-B996-FD1B327874D6}"/>
              </c:ext>
            </c:extLst>
          </c:dPt>
          <c:dPt>
            <c:idx val="45"/>
            <c:invertIfNegative val="0"/>
            <c:bubble3D val="0"/>
            <c:spPr>
              <a:solidFill>
                <a:schemeClr val="accent1">
                  <a:tint val="68000"/>
                  <a:alpha val="75000"/>
                </a:schemeClr>
              </a:solidFill>
              <a:ln>
                <a:noFill/>
              </a:ln>
              <a:effectLst/>
            </c:spPr>
            <c:extLst>
              <c:ext xmlns:c16="http://schemas.microsoft.com/office/drawing/2014/chart" uri="{C3380CC4-5D6E-409C-BE32-E72D297353CC}">
                <c16:uniqueId val="{00000001-1CDF-764F-B996-FD1B327874D6}"/>
              </c:ext>
            </c:extLst>
          </c:dPt>
          <c:dPt>
            <c:idx val="46"/>
            <c:invertIfNegative val="0"/>
            <c:bubble3D val="0"/>
            <c:spPr>
              <a:solidFill>
                <a:schemeClr val="accent1">
                  <a:tint val="66000"/>
                  <a:alpha val="75000"/>
                </a:schemeClr>
              </a:solidFill>
              <a:ln>
                <a:noFill/>
              </a:ln>
              <a:effectLst/>
            </c:spPr>
            <c:extLst>
              <c:ext xmlns:c16="http://schemas.microsoft.com/office/drawing/2014/chart" uri="{C3380CC4-5D6E-409C-BE32-E72D297353CC}">
                <c16:uniqueId val="{0000005F-9EBE-DE4C-AD5B-B4B2A0D5D802}"/>
              </c:ext>
            </c:extLst>
          </c:dPt>
          <c:dPt>
            <c:idx val="47"/>
            <c:invertIfNegative val="0"/>
            <c:bubble3D val="0"/>
            <c:spPr>
              <a:solidFill>
                <a:schemeClr val="accent1">
                  <a:tint val="64000"/>
                  <a:alpha val="75000"/>
                </a:schemeClr>
              </a:solidFill>
              <a:ln>
                <a:noFill/>
              </a:ln>
              <a:effectLst/>
            </c:spPr>
            <c:extLst>
              <c:ext xmlns:c16="http://schemas.microsoft.com/office/drawing/2014/chart" uri="{C3380CC4-5D6E-409C-BE32-E72D297353CC}">
                <c16:uniqueId val="{00000002-1CDF-764F-B996-FD1B327874D6}"/>
              </c:ext>
            </c:extLst>
          </c:dPt>
          <c:dPt>
            <c:idx val="48"/>
            <c:invertIfNegative val="0"/>
            <c:bubble3D val="0"/>
            <c:spPr>
              <a:solidFill>
                <a:schemeClr val="accent1">
                  <a:tint val="62000"/>
                  <a:alpha val="75000"/>
                </a:schemeClr>
              </a:solidFill>
              <a:ln>
                <a:noFill/>
              </a:ln>
              <a:effectLst/>
            </c:spPr>
            <c:extLst>
              <c:ext xmlns:c16="http://schemas.microsoft.com/office/drawing/2014/chart" uri="{C3380CC4-5D6E-409C-BE32-E72D297353CC}">
                <c16:uniqueId val="{0000005E-9EBE-DE4C-AD5B-B4B2A0D5D802}"/>
              </c:ext>
            </c:extLst>
          </c:dPt>
          <c:dPt>
            <c:idx val="49"/>
            <c:invertIfNegative val="0"/>
            <c:bubble3D val="0"/>
            <c:spPr>
              <a:solidFill>
                <a:schemeClr val="accent1">
                  <a:tint val="59000"/>
                  <a:alpha val="75000"/>
                </a:schemeClr>
              </a:solidFill>
              <a:ln>
                <a:noFill/>
              </a:ln>
              <a:effectLst/>
            </c:spPr>
            <c:extLst>
              <c:ext xmlns:c16="http://schemas.microsoft.com/office/drawing/2014/chart" uri="{C3380CC4-5D6E-409C-BE32-E72D297353CC}">
                <c16:uniqueId val="{0000005B-9EBE-DE4C-AD5B-B4B2A0D5D802}"/>
              </c:ext>
            </c:extLst>
          </c:dPt>
          <c:dPt>
            <c:idx val="50"/>
            <c:invertIfNegative val="0"/>
            <c:bubble3D val="0"/>
            <c:spPr>
              <a:solidFill>
                <a:schemeClr val="accent1">
                  <a:tint val="57000"/>
                  <a:alpha val="75000"/>
                </a:schemeClr>
              </a:solidFill>
              <a:ln>
                <a:noFill/>
              </a:ln>
              <a:effectLst/>
            </c:spPr>
            <c:extLst>
              <c:ext xmlns:c16="http://schemas.microsoft.com/office/drawing/2014/chart" uri="{C3380CC4-5D6E-409C-BE32-E72D297353CC}">
                <c16:uniqueId val="{00000061-9EBE-DE4C-AD5B-B4B2A0D5D802}"/>
              </c:ext>
            </c:extLst>
          </c:dPt>
          <c:dPt>
            <c:idx val="51"/>
            <c:invertIfNegative val="0"/>
            <c:bubble3D val="0"/>
            <c:spPr>
              <a:solidFill>
                <a:schemeClr val="accent1">
                  <a:tint val="55000"/>
                  <a:alpha val="75000"/>
                </a:schemeClr>
              </a:solidFill>
              <a:ln>
                <a:noFill/>
              </a:ln>
              <a:effectLst/>
            </c:spPr>
            <c:extLst>
              <c:ext xmlns:c16="http://schemas.microsoft.com/office/drawing/2014/chart" uri="{C3380CC4-5D6E-409C-BE32-E72D297353CC}">
                <c16:uniqueId val="{00000003-1CDF-764F-B996-FD1B327874D6}"/>
              </c:ext>
            </c:extLst>
          </c:dPt>
          <c:dPt>
            <c:idx val="52"/>
            <c:invertIfNegative val="0"/>
            <c:bubble3D val="0"/>
            <c:spPr>
              <a:solidFill>
                <a:schemeClr val="accent1">
                  <a:tint val="53000"/>
                  <a:alpha val="75000"/>
                </a:schemeClr>
              </a:solidFill>
              <a:ln>
                <a:noFill/>
              </a:ln>
              <a:effectLst/>
            </c:spPr>
            <c:extLst>
              <c:ext xmlns:c16="http://schemas.microsoft.com/office/drawing/2014/chart" uri="{C3380CC4-5D6E-409C-BE32-E72D297353CC}">
                <c16:uniqueId val="{00000004-1CDF-764F-B996-FD1B327874D6}"/>
              </c:ext>
            </c:extLst>
          </c:dPt>
          <c:dPt>
            <c:idx val="53"/>
            <c:invertIfNegative val="0"/>
            <c:bubble3D val="0"/>
            <c:spPr>
              <a:solidFill>
                <a:schemeClr val="accent1">
                  <a:tint val="50000"/>
                  <a:alpha val="75000"/>
                </a:schemeClr>
              </a:solidFill>
              <a:ln>
                <a:noFill/>
              </a:ln>
              <a:effectLst/>
            </c:spPr>
            <c:extLst>
              <c:ext xmlns:c16="http://schemas.microsoft.com/office/drawing/2014/chart" uri="{C3380CC4-5D6E-409C-BE32-E72D297353CC}">
                <c16:uniqueId val="{00000005-1CDF-764F-B996-FD1B327874D6}"/>
              </c:ext>
            </c:extLst>
          </c:dPt>
          <c:dPt>
            <c:idx val="54"/>
            <c:invertIfNegative val="0"/>
            <c:bubble3D val="0"/>
            <c:spPr>
              <a:solidFill>
                <a:schemeClr val="accent1">
                  <a:tint val="48000"/>
                  <a:alpha val="75000"/>
                </a:schemeClr>
              </a:solidFill>
              <a:ln>
                <a:noFill/>
              </a:ln>
              <a:effectLst/>
            </c:spPr>
            <c:extLst>
              <c:ext xmlns:c16="http://schemas.microsoft.com/office/drawing/2014/chart" uri="{C3380CC4-5D6E-409C-BE32-E72D297353CC}">
                <c16:uniqueId val="{00000006-1CDF-764F-B996-FD1B327874D6}"/>
              </c:ext>
            </c:extLst>
          </c:dPt>
          <c:dPt>
            <c:idx val="55"/>
            <c:invertIfNegative val="0"/>
            <c:bubble3D val="0"/>
            <c:spPr>
              <a:solidFill>
                <a:schemeClr val="accent1">
                  <a:tint val="46000"/>
                  <a:alpha val="75000"/>
                </a:schemeClr>
              </a:solidFill>
              <a:ln>
                <a:noFill/>
              </a:ln>
              <a:effectLst/>
            </c:spPr>
            <c:extLst>
              <c:ext xmlns:c16="http://schemas.microsoft.com/office/drawing/2014/chart" uri="{C3380CC4-5D6E-409C-BE32-E72D297353CC}">
                <c16:uniqueId val="{00000007-1CDF-764F-B996-FD1B327874D6}"/>
              </c:ext>
            </c:extLst>
          </c:dPt>
          <c:dPt>
            <c:idx val="56"/>
            <c:invertIfNegative val="0"/>
            <c:bubble3D val="0"/>
            <c:spPr>
              <a:solidFill>
                <a:schemeClr val="accent1">
                  <a:tint val="44000"/>
                  <a:alpha val="75000"/>
                </a:schemeClr>
              </a:solidFill>
              <a:ln>
                <a:noFill/>
              </a:ln>
              <a:effectLst/>
            </c:spPr>
            <c:extLst>
              <c:ext xmlns:c16="http://schemas.microsoft.com/office/drawing/2014/chart" uri="{C3380CC4-5D6E-409C-BE32-E72D297353CC}">
                <c16:uniqueId val="{00000008-1CDF-764F-B996-FD1B327874D6}"/>
              </c:ext>
            </c:extLst>
          </c:dPt>
          <c:dPt>
            <c:idx val="57"/>
            <c:invertIfNegative val="0"/>
            <c:bubble3D val="0"/>
            <c:spPr>
              <a:solidFill>
                <a:schemeClr val="accent1">
                  <a:tint val="42000"/>
                  <a:alpha val="75000"/>
                </a:schemeClr>
              </a:solidFill>
              <a:ln>
                <a:noFill/>
              </a:ln>
              <a:effectLst/>
            </c:spPr>
            <c:extLst>
              <c:ext xmlns:c16="http://schemas.microsoft.com/office/drawing/2014/chart" uri="{C3380CC4-5D6E-409C-BE32-E72D297353CC}">
                <c16:uniqueId val="{0000005C-9EBE-DE4C-AD5B-B4B2A0D5D802}"/>
              </c:ext>
            </c:extLst>
          </c:dPt>
          <c:dPt>
            <c:idx val="58"/>
            <c:invertIfNegative val="0"/>
            <c:bubble3D val="0"/>
            <c:spPr>
              <a:solidFill>
                <a:schemeClr val="accent1">
                  <a:tint val="39000"/>
                  <a:alpha val="75000"/>
                </a:schemeClr>
              </a:solidFill>
              <a:ln>
                <a:noFill/>
              </a:ln>
              <a:effectLst/>
            </c:spPr>
            <c:extLst>
              <c:ext xmlns:c16="http://schemas.microsoft.com/office/drawing/2014/chart" uri="{C3380CC4-5D6E-409C-BE32-E72D297353CC}">
                <c16:uniqueId val="{0000005A-9EBE-DE4C-AD5B-B4B2A0D5D802}"/>
              </c:ext>
            </c:extLst>
          </c:dPt>
          <c:dPt>
            <c:idx val="59"/>
            <c:invertIfNegative val="0"/>
            <c:bubble3D val="0"/>
            <c:spPr>
              <a:solidFill>
                <a:schemeClr val="accent1">
                  <a:tint val="37000"/>
                  <a:alpha val="75000"/>
                </a:schemeClr>
              </a:solidFill>
              <a:ln>
                <a:noFill/>
              </a:ln>
              <a:effectLst/>
            </c:spPr>
            <c:extLst>
              <c:ext xmlns:c16="http://schemas.microsoft.com/office/drawing/2014/chart" uri="{C3380CC4-5D6E-409C-BE32-E72D297353CC}">
                <c16:uniqueId val="{00000060-9EBE-DE4C-AD5B-B4B2A0D5D802}"/>
              </c:ext>
            </c:extLst>
          </c:dPt>
          <c:dPt>
            <c:idx val="60"/>
            <c:invertIfNegative val="0"/>
            <c:bubble3D val="0"/>
            <c:spPr>
              <a:solidFill>
                <a:schemeClr val="accent1">
                  <a:tint val="35000"/>
                  <a:alpha val="75000"/>
                </a:schemeClr>
              </a:solidFill>
              <a:ln>
                <a:noFill/>
              </a:ln>
              <a:effectLst/>
            </c:spPr>
            <c:extLst>
              <c:ext xmlns:c16="http://schemas.microsoft.com/office/drawing/2014/chart" uri="{C3380CC4-5D6E-409C-BE32-E72D297353CC}">
                <c16:uniqueId val="{0000005D-9EBE-DE4C-AD5B-B4B2A0D5D802}"/>
              </c:ext>
            </c:extLst>
          </c:dPt>
          <c:dPt>
            <c:idx val="61"/>
            <c:invertIfNegative val="0"/>
            <c:bubble3D val="0"/>
            <c:spPr>
              <a:solidFill>
                <a:schemeClr val="accent1">
                  <a:tint val="33000"/>
                  <a:alpha val="75000"/>
                </a:schemeClr>
              </a:solidFill>
              <a:ln>
                <a:noFill/>
              </a:ln>
              <a:effectLst/>
            </c:spPr>
            <c:extLst>
              <c:ext xmlns:c16="http://schemas.microsoft.com/office/drawing/2014/chart" uri="{C3380CC4-5D6E-409C-BE32-E72D297353CC}">
                <c16:uniqueId val="{00000058-9EBE-DE4C-AD5B-B4B2A0D5D802}"/>
              </c:ext>
            </c:extLst>
          </c:dPt>
          <c:dLbls>
            <c:dLbl>
              <c:idx val="0"/>
              <c:layout>
                <c:manualLayout>
                  <c:x val="-2.9028129822239058E-2"/>
                  <c:y val="-0.11440345574545994"/>
                </c:manualLayout>
              </c:layout>
              <c:tx>
                <c:rich>
                  <a:bodyPr/>
                  <a:lstStyle/>
                  <a:p>
                    <a:r>
                      <a:rPr lang="en-US" dirty="0" err="1"/>
                      <a:t>Brasil</a:t>
                    </a:r>
                    <a:endParaRPr lang="en-US" dirty="0"/>
                  </a:p>
                </c:rich>
              </c:tx>
              <c:dLblPos val="r"/>
              <c:showLegendKey val="0"/>
              <c:showVal val="0"/>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1-AB11-4731-9851-4D0A2E4801CA}"/>
                </c:ext>
              </c:extLst>
            </c:dLbl>
            <c:dLbl>
              <c:idx val="1"/>
              <c:layout>
                <c:manualLayout>
                  <c:x val="-5.2642157175038562E-2"/>
                  <c:y val="-8.8721047312805668E-2"/>
                </c:manualLayout>
              </c:layout>
              <c:tx>
                <c:rich>
                  <a:bodyPr/>
                  <a:lstStyle/>
                  <a:p>
                    <a:fld id="{AD412E9B-33A9-4040-9547-36201B9F7761}"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AB11-4731-9851-4D0A2E4801CA}"/>
                </c:ext>
              </c:extLst>
            </c:dLbl>
            <c:dLbl>
              <c:idx val="2"/>
              <c:layout>
                <c:manualLayout>
                  <c:x val="-7.4476895768864737E-2"/>
                  <c:y val="-8.1716754103899961E-2"/>
                </c:manualLayout>
              </c:layout>
              <c:tx>
                <c:rich>
                  <a:bodyPr/>
                  <a:lstStyle/>
                  <a:p>
                    <a:r>
                      <a:rPr lang="en-US" dirty="0"/>
                      <a:t>España</a:t>
                    </a:r>
                  </a:p>
                </c:rich>
              </c:tx>
              <c:dLblPos val="r"/>
              <c:showLegendKey val="0"/>
              <c:showVal val="0"/>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5-AB11-4731-9851-4D0A2E4801CA}"/>
                </c:ext>
              </c:extLst>
            </c:dLbl>
            <c:dLbl>
              <c:idx val="3"/>
              <c:layout>
                <c:manualLayout>
                  <c:x val="-6.148448926682374E-2"/>
                  <c:y val="-6.7708167686088491E-2"/>
                </c:manualLayout>
              </c:layout>
              <c:tx>
                <c:rich>
                  <a:bodyPr/>
                  <a:lstStyle/>
                  <a:p>
                    <a:fld id="{F71AD51D-D97B-4B49-8C2B-09289F1F4A10}"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AB11-4731-9851-4D0A2E4801CA}"/>
                </c:ext>
              </c:extLst>
            </c:dLbl>
            <c:dLbl>
              <c:idx val="4"/>
              <c:layout>
                <c:manualLayout>
                  <c:x val="-4.270008690748249E-2"/>
                  <c:y val="-6.303863888015139E-2"/>
                </c:manualLayout>
              </c:layout>
              <c:tx>
                <c:rich>
                  <a:bodyPr/>
                  <a:lstStyle/>
                  <a:p>
                    <a:fld id="{7907F53D-7B24-4E63-A6DA-4A8670E6EAB8}" type="CELLRANGE">
                      <a:rPr lang="en-US" dirty="0"/>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AB11-4731-9851-4D0A2E4801CA}"/>
                </c:ext>
              </c:extLst>
            </c:dLbl>
            <c:dLbl>
              <c:idx val="5"/>
              <c:layout>
                <c:manualLayout>
                  <c:x val="-4.3181405619460302E-2"/>
                  <c:y val="-5.3699581268277112E-2"/>
                </c:manualLayout>
              </c:layout>
              <c:tx>
                <c:rich>
                  <a:bodyPr/>
                  <a:lstStyle/>
                  <a:p>
                    <a:fld id="{5A7B0612-2F85-4583-A1DD-EFF901AB7257}"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AB11-4731-9851-4D0A2E4801CA}"/>
                </c:ext>
              </c:extLst>
            </c:dLbl>
            <c:dLbl>
              <c:idx val="6"/>
              <c:layout>
                <c:manualLayout>
                  <c:x val="8.4730752516083127E-2"/>
                  <c:y val="2.5682408432654284E-2"/>
                </c:manualLayout>
              </c:layout>
              <c:tx>
                <c:rich>
                  <a:bodyPr/>
                  <a:lstStyle/>
                  <a:p>
                    <a:fld id="{49E284D5-AFB8-43F2-A9DD-6023BAC6922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AB11-4731-9851-4D0A2E4801CA}"/>
                </c:ext>
              </c:extLst>
            </c:dLbl>
            <c:dLbl>
              <c:idx val="7"/>
              <c:layout>
                <c:manualLayout>
                  <c:x val="3.173131593531023E-3"/>
                  <c:y val="3.0351937238591413E-2"/>
                </c:manualLayout>
              </c:layout>
              <c:tx>
                <c:rich>
                  <a:bodyPr/>
                  <a:lstStyle/>
                  <a:p>
                    <a:fld id="{F4A1459E-CB06-4B42-9472-6E1376391809}"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AB11-4731-9851-4D0A2E4801CA}"/>
                </c:ext>
              </c:extLst>
            </c:dLbl>
            <c:dLbl>
              <c:idx val="8"/>
              <c:layout>
                <c:manualLayout>
                  <c:x val="0.10341039675073886"/>
                  <c:y val="-4.66952880593714E-3"/>
                </c:manualLayout>
              </c:layout>
              <c:tx>
                <c:rich>
                  <a:bodyPr/>
                  <a:lstStyle/>
                  <a:p>
                    <a:fld id="{C54C0E58-2176-48D9-9C9B-E6989E3D6343}"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AB11-4731-9851-4D0A2E4801CA}"/>
                </c:ext>
              </c:extLst>
            </c:dLbl>
            <c:dLbl>
              <c:idx val="9"/>
              <c:layout>
                <c:manualLayout>
                  <c:x val="-0.10859890051061367"/>
                  <c:y val="-2.33476440296857E-3"/>
                </c:manualLayout>
              </c:layout>
              <c:tx>
                <c:rich>
                  <a:bodyPr/>
                  <a:lstStyle/>
                  <a:p>
                    <a:fld id="{59CB3501-A6EA-4916-9854-DDE39FB720A8}"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3-AB11-4731-9851-4D0A2E4801CA}"/>
                </c:ext>
              </c:extLst>
            </c:dLbl>
            <c:dLbl>
              <c:idx val="10"/>
              <c:layout>
                <c:manualLayout>
                  <c:x val="-1.9406464811354963E-3"/>
                  <c:y val="2.3347644029685275E-3"/>
                </c:manualLayout>
              </c:layout>
              <c:tx>
                <c:rich>
                  <a:bodyPr/>
                  <a:lstStyle/>
                  <a:p>
                    <a:fld id="{2B453A6E-2DB6-4249-B3A0-8DD80FC80A6B}"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AB11-4731-9851-4D0A2E4801CA}"/>
                </c:ext>
              </c:extLst>
            </c:dLbl>
            <c:dLbl>
              <c:idx val="11"/>
              <c:layout>
                <c:manualLayout>
                  <c:x val="-9.1234641583715385E-4"/>
                  <c:y val="-7.0042932089057104E-3"/>
                </c:manualLayout>
              </c:layout>
              <c:tx>
                <c:rich>
                  <a:bodyPr/>
                  <a:lstStyle/>
                  <a:p>
                    <a:fld id="{8262F705-6CBB-4218-B98E-DB396D6BDE1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AB11-4731-9851-4D0A2E4801CA}"/>
                </c:ext>
              </c:extLst>
            </c:dLbl>
            <c:dLbl>
              <c:idx val="12"/>
              <c:layout>
                <c:manualLayout>
                  <c:x val="3.7633401119570226E-2"/>
                  <c:y val="0.13074680656623994"/>
                </c:manualLayout>
              </c:layout>
              <c:tx>
                <c:rich>
                  <a:bodyPr/>
                  <a:lstStyle/>
                  <a:p>
                    <a:fld id="{7500990F-DA3F-40E0-A7B5-3B48D0D2DF6D}"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AB11-4731-9851-4D0A2E4801CA}"/>
                </c:ext>
              </c:extLst>
            </c:dLbl>
            <c:dLbl>
              <c:idx val="13"/>
              <c:tx>
                <c:rich>
                  <a:bodyPr/>
                  <a:lstStyle/>
                  <a:p>
                    <a:fld id="{FB0F5446-F5F1-4AAA-999B-B1B3DCEE2162}" type="CELLRANGE">
                      <a:rPr lang="es-CL"/>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AB11-4731-9851-4D0A2E4801CA}"/>
                </c:ext>
              </c:extLst>
            </c:dLbl>
            <c:dLbl>
              <c:idx val="14"/>
              <c:layout>
                <c:manualLayout>
                  <c:x val="0.13158277975461719"/>
                  <c:y val="3.2686701641559984E-2"/>
                </c:manualLayout>
              </c:layout>
              <c:tx>
                <c:rich>
                  <a:bodyPr/>
                  <a:lstStyle/>
                  <a:p>
                    <a:fld id="{7428E0FA-3083-45FF-AF3E-20B98B16D438}"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AB11-4731-9851-4D0A2E4801CA}"/>
                </c:ext>
              </c:extLst>
            </c:dLbl>
            <c:dLbl>
              <c:idx val="15"/>
              <c:layout>
                <c:manualLayout>
                  <c:x val="-7.8367429481744091E-2"/>
                  <c:y val="7.0042932089057104E-3"/>
                </c:manualLayout>
              </c:layout>
              <c:tx>
                <c:rich>
                  <a:bodyPr/>
                  <a:lstStyle/>
                  <a:p>
                    <a:fld id="{37456449-C698-F54B-9429-F56695734D51}"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AB11-4731-9851-4D0A2E4801CA}"/>
                </c:ext>
              </c:extLst>
            </c:dLbl>
            <c:dLbl>
              <c:idx val="16"/>
              <c:layout>
                <c:manualLayout>
                  <c:x val="-4.2557121833165887E-2"/>
                  <c:y val="4.4360523656402834E-2"/>
                </c:manualLayout>
              </c:layout>
              <c:tx>
                <c:rich>
                  <a:bodyPr/>
                  <a:lstStyle/>
                  <a:p>
                    <a:fld id="{86ECB315-8900-BD45-9D4D-D7A82040EBFE}"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AB11-4731-9851-4D0A2E4801CA}"/>
                </c:ext>
              </c:extLst>
            </c:dLbl>
            <c:dLbl>
              <c:idx val="17"/>
              <c:tx>
                <c:rich>
                  <a:bodyPr/>
                  <a:lstStyle/>
                  <a:p>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xForSave val="1"/>
                  <c15:showDataLabelsRange val="1"/>
                </c:ext>
                <c:ext xmlns:c16="http://schemas.microsoft.com/office/drawing/2014/chart" uri="{C3380CC4-5D6E-409C-BE32-E72D297353CC}">
                  <c16:uniqueId val="{00000023-AB11-4731-9851-4D0A2E4801CA}"/>
                </c:ext>
              </c:extLst>
            </c:dLbl>
            <c:dLbl>
              <c:idx val="18"/>
              <c:layout>
                <c:manualLayout>
                  <c:x val="-3.4005073705204322E-2"/>
                  <c:y val="0"/>
                </c:manualLayout>
              </c:layout>
              <c:tx>
                <c:rich>
                  <a:bodyPr/>
                  <a:lstStyle/>
                  <a:p>
                    <a:fld id="{00803EB8-A0F2-1A45-A0D1-7247430E3998}"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AB11-4731-9851-4D0A2E4801CA}"/>
                </c:ext>
              </c:extLst>
            </c:dLbl>
            <c:dLbl>
              <c:idx val="19"/>
              <c:layout>
                <c:manualLayout>
                  <c:x val="-3.5924928497470754E-2"/>
                  <c:y val="4.66952880593714E-3"/>
                </c:manualLayout>
              </c:layout>
              <c:tx>
                <c:rich>
                  <a:bodyPr/>
                  <a:lstStyle/>
                  <a:p>
                    <a:fld id="{34836658-5DC6-5248-8421-FB6244A02458}"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7-AB11-4731-9851-4D0A2E4801CA}"/>
                </c:ext>
              </c:extLst>
            </c:dLbl>
            <c:dLbl>
              <c:idx val="20"/>
              <c:layout>
                <c:manualLayout>
                  <c:x val="-2.9611452204394387E-2"/>
                  <c:y val="-8.5607039169025955E-17"/>
                </c:manualLayout>
              </c:layout>
              <c:tx>
                <c:rich>
                  <a:bodyPr/>
                  <a:lstStyle/>
                  <a:p>
                    <a:fld id="{84BA9AFB-CE31-4B4C-B4C5-4DFF2A8E4EE7}"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AB11-4731-9851-4D0A2E4801CA}"/>
                </c:ext>
              </c:extLst>
            </c:dLbl>
            <c:dLbl>
              <c:idx val="21"/>
              <c:tx>
                <c:rich>
                  <a:bodyPr/>
                  <a:lstStyle/>
                  <a:p>
                    <a:fld id="{62253DEB-5165-A646-A443-EC374406C350}"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AB11-4731-9851-4D0A2E4801CA}"/>
                </c:ext>
              </c:extLst>
            </c:dLbl>
            <c:dLbl>
              <c:idx val="22"/>
              <c:layout>
                <c:manualLayout>
                  <c:x val="-2.7622558342678651E-2"/>
                  <c:y val="2.33476440296857E-3"/>
                </c:manualLayout>
              </c:layout>
              <c:tx>
                <c:rich>
                  <a:bodyPr/>
                  <a:lstStyle/>
                  <a:p>
                    <a:fld id="{2D94D022-3B4F-F840-92F6-9ECC1A0DA9D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AB11-4731-9851-4D0A2E4801CA}"/>
                </c:ext>
              </c:extLst>
            </c:dLbl>
            <c:dLbl>
              <c:idx val="23"/>
              <c:layout>
                <c:manualLayout>
                  <c:x val="-2.1036746466767908E-2"/>
                  <c:y val="-4.2803519584512978E-17"/>
                </c:manualLayout>
              </c:layout>
              <c:tx>
                <c:rich>
                  <a:bodyPr/>
                  <a:lstStyle/>
                  <a:p>
                    <a:fld id="{C713DE81-1239-8449-8B84-8866B328758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AB11-4731-9851-4D0A2E4801CA}"/>
                </c:ext>
              </c:extLst>
            </c:dLbl>
            <c:dLbl>
              <c:idx val="24"/>
              <c:layout>
                <c:manualLayout>
                  <c:x val="2.1848155452882522E-3"/>
                  <c:y val="1.1673822014842851E-2"/>
                </c:manualLayout>
              </c:layout>
              <c:tx>
                <c:rich>
                  <a:bodyPr/>
                  <a:lstStyle/>
                  <a:p>
                    <a:fld id="{00787AD6-0370-2B49-9A0B-2EF9C6F85B19}"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AB11-4731-9851-4D0A2E4801CA}"/>
                </c:ext>
              </c:extLst>
            </c:dLbl>
            <c:dLbl>
              <c:idx val="25"/>
              <c:layout>
                <c:manualLayout>
                  <c:x val="-6.8833462748268542E-2"/>
                  <c:y val="-1.4008586417811421E-2"/>
                </c:manualLayout>
              </c:layout>
              <c:tx>
                <c:rich>
                  <a:bodyPr/>
                  <a:lstStyle/>
                  <a:p>
                    <a:fld id="{51AFA28F-DC52-9741-BDAA-72C17CE833BB}"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AB11-4731-9851-4D0A2E4801CA}"/>
                </c:ext>
              </c:extLst>
            </c:dLbl>
            <c:dLbl>
              <c:idx val="26"/>
              <c:layout>
                <c:manualLayout>
                  <c:x val="-2.5951137576383912E-2"/>
                  <c:y val="-2.3347644029685808E-3"/>
                </c:manualLayout>
              </c:layout>
              <c:tx>
                <c:rich>
                  <a:bodyPr/>
                  <a:lstStyle/>
                  <a:p>
                    <a:fld id="{3875B90C-EEFD-A145-A960-E9DF0A2913CD}"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AB11-4731-9851-4D0A2E4801CA}"/>
                </c:ext>
              </c:extLst>
            </c:dLbl>
            <c:dLbl>
              <c:idx val="27"/>
              <c:layout>
                <c:manualLayout>
                  <c:x val="-2.8781028596835557E-2"/>
                  <c:y val="4.66952880593714E-3"/>
                </c:manualLayout>
              </c:layout>
              <c:tx>
                <c:rich>
                  <a:bodyPr/>
                  <a:lstStyle/>
                  <a:p>
                    <a:fld id="{9ADEBA6D-88E1-634B-B4A8-EAEE86E4ADE9}"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AB11-4731-9851-4D0A2E4801CA}"/>
                </c:ext>
              </c:extLst>
            </c:dLbl>
            <c:dLbl>
              <c:idx val="28"/>
              <c:layout>
                <c:manualLayout>
                  <c:x val="-4.2607501694655922E-2"/>
                  <c:y val="-3.0351937238591413E-2"/>
                </c:manualLayout>
              </c:layout>
              <c:tx>
                <c:rich>
                  <a:bodyPr/>
                  <a:lstStyle/>
                  <a:p>
                    <a:fld id="{DCF80251-9E4A-7546-A16A-B83BD75CD16C}"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AB11-4731-9851-4D0A2E4801CA}"/>
                </c:ext>
              </c:extLst>
            </c:dLbl>
            <c:dLbl>
              <c:idx val="29"/>
              <c:layout>
                <c:manualLayout>
                  <c:x val="-2.4104586815385885E-2"/>
                  <c:y val="0"/>
                </c:manualLayout>
              </c:layout>
              <c:tx>
                <c:rich>
                  <a:bodyPr/>
                  <a:lstStyle/>
                  <a:p>
                    <a:fld id="{4B602899-739E-664C-95BF-ABD3D46F70C1}"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B-AB11-4731-9851-4D0A2E4801CA}"/>
                </c:ext>
              </c:extLst>
            </c:dLbl>
            <c:dLbl>
              <c:idx val="30"/>
              <c:layout>
                <c:manualLayout>
                  <c:x val="-2.0879209439568912E-2"/>
                  <c:y val="-8.5607039169025955E-17"/>
                </c:manualLayout>
              </c:layout>
              <c:tx>
                <c:rich>
                  <a:bodyPr/>
                  <a:lstStyle/>
                  <a:p>
                    <a:fld id="{8AB97FF1-07C7-A946-AE5C-D80F09A535AF}"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D-AB11-4731-9851-4D0A2E4801CA}"/>
                </c:ext>
              </c:extLst>
            </c:dLbl>
            <c:dLbl>
              <c:idx val="31"/>
              <c:layout>
                <c:manualLayout>
                  <c:x val="-2.7655434090035298E-2"/>
                  <c:y val="-9.3390576118743667E-3"/>
                </c:manualLayout>
              </c:layout>
              <c:tx>
                <c:rich>
                  <a:bodyPr/>
                  <a:lstStyle/>
                  <a:p>
                    <a:fld id="{F2B08411-7283-384B-B5AC-88441A328960}"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F-AB11-4731-9851-4D0A2E4801CA}"/>
                </c:ext>
              </c:extLst>
            </c:dLbl>
            <c:dLbl>
              <c:idx val="32"/>
              <c:layout>
                <c:manualLayout>
                  <c:x val="-1.8475192627444834E-2"/>
                  <c:y val="4.2025759253434179E-2"/>
                </c:manualLayout>
              </c:layout>
              <c:tx>
                <c:rich>
                  <a:bodyPr/>
                  <a:lstStyle/>
                  <a:p>
                    <a:fld id="{8492A050-8553-5844-8D54-44B577ED6099}"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1-AB11-4731-9851-4D0A2E4801CA}"/>
                </c:ext>
              </c:extLst>
            </c:dLbl>
            <c:dLbl>
              <c:idx val="33"/>
              <c:layout>
                <c:manualLayout>
                  <c:x val="-2.534249198342688E-2"/>
                  <c:y val="2.33476440296857E-3"/>
                </c:manualLayout>
              </c:layout>
              <c:tx>
                <c:rich>
                  <a:bodyPr/>
                  <a:lstStyle/>
                  <a:p>
                    <a:fld id="{485D85AA-3969-B348-AB48-D533151625B3}"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3-AB11-4731-9851-4D0A2E4801CA}"/>
                </c:ext>
              </c:extLst>
            </c:dLbl>
            <c:dLbl>
              <c:idx val="34"/>
              <c:layout>
                <c:manualLayout>
                  <c:x val="-5.1475512410727987E-2"/>
                  <c:y val="-7.0042932089057538E-3"/>
                </c:manualLayout>
              </c:layout>
              <c:tx>
                <c:rich>
                  <a:bodyPr/>
                  <a:lstStyle/>
                  <a:p>
                    <a:fld id="{D7E8C7BA-0C42-A54A-BE5B-01BBD4E2350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5-AB11-4731-9851-4D0A2E4801CA}"/>
                </c:ext>
              </c:extLst>
            </c:dLbl>
            <c:dLbl>
              <c:idx val="35"/>
              <c:tx>
                <c:rich>
                  <a:bodyPr/>
                  <a:lstStyle/>
                  <a:p>
                    <a:fld id="{038FB627-E7D9-3C43-8D48-3D73B650AFD0}"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7-AB11-4731-9851-4D0A2E4801CA}"/>
                </c:ext>
              </c:extLst>
            </c:dLbl>
            <c:dLbl>
              <c:idx val="36"/>
              <c:layout>
                <c:manualLayout>
                  <c:x val="-5.4186428767096388E-2"/>
                  <c:y val="2.33476440296857E-3"/>
                </c:manualLayout>
              </c:layout>
              <c:tx>
                <c:rich>
                  <a:bodyPr/>
                  <a:lstStyle/>
                  <a:p>
                    <a:fld id="{AA1861BC-7DA4-864F-8C04-7FC76B68823E}"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9-AB11-4731-9851-4D0A2E4801CA}"/>
                </c:ext>
              </c:extLst>
            </c:dLbl>
            <c:dLbl>
              <c:idx val="37"/>
              <c:tx>
                <c:rich>
                  <a:bodyPr/>
                  <a:lstStyle/>
                  <a:p>
                    <a:fld id="{26363CE8-E526-B942-AABE-B4873DA323B8}"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B-AB11-4731-9851-4D0A2E4801CA}"/>
                </c:ext>
              </c:extLst>
            </c:dLbl>
            <c:dLbl>
              <c:idx val="38"/>
              <c:layout>
                <c:manualLayout>
                  <c:x val="-3.1064027117338072E-3"/>
                  <c:y val="-5.1364816865308457E-2"/>
                </c:manualLayout>
              </c:layout>
              <c:tx>
                <c:rich>
                  <a:bodyPr/>
                  <a:lstStyle/>
                  <a:p>
                    <a:fld id="{FE794BFC-C600-9C4A-AB5C-ADF283C2C82D}"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D-AB11-4731-9851-4D0A2E4801CA}"/>
                </c:ext>
              </c:extLst>
            </c:dLbl>
            <c:dLbl>
              <c:idx val="39"/>
              <c:tx>
                <c:rich>
                  <a:bodyPr/>
                  <a:lstStyle/>
                  <a:p>
                    <a:fld id="{C376113A-2587-CC46-8A65-BC5763EF93CC}"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F-AB11-4731-9851-4D0A2E4801CA}"/>
                </c:ext>
              </c:extLst>
            </c:dLbl>
            <c:dLbl>
              <c:idx val="40"/>
              <c:layout>
                <c:manualLayout>
                  <c:x val="-2.4683022262123308E-2"/>
                  <c:y val="-4.6695288059372259E-3"/>
                </c:manualLayout>
              </c:layout>
              <c:tx>
                <c:rich>
                  <a:bodyPr/>
                  <a:lstStyle/>
                  <a:p>
                    <a:fld id="{2BD448AF-759B-2642-A890-EA046D9E1825}"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1-AB11-4731-9851-4D0A2E4801CA}"/>
                </c:ext>
              </c:extLst>
            </c:dLbl>
            <c:dLbl>
              <c:idx val="41"/>
              <c:layout>
                <c:manualLayout>
                  <c:x val="-2.69357217830349E-2"/>
                  <c:y val="-8.5607039169025955E-17"/>
                </c:manualLayout>
              </c:layout>
              <c:tx>
                <c:rich>
                  <a:bodyPr/>
                  <a:lstStyle/>
                  <a:p>
                    <a:fld id="{C68D3185-3702-AF4F-9531-D919D0CE73EB}"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3-AB11-4731-9851-4D0A2E4801CA}"/>
                </c:ext>
              </c:extLst>
            </c:dLbl>
            <c:dLbl>
              <c:idx val="42"/>
              <c:layout>
                <c:manualLayout>
                  <c:x val="-3.245671485806962E-2"/>
                  <c:y val="0"/>
                </c:manualLayout>
              </c:layout>
              <c:tx>
                <c:rich>
                  <a:bodyPr/>
                  <a:lstStyle/>
                  <a:p>
                    <a:fld id="{BC86DF91-1A71-4F42-A0C8-8607188A0F3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5-AB11-4731-9851-4D0A2E4801CA}"/>
                </c:ext>
              </c:extLst>
            </c:dLbl>
            <c:dLbl>
              <c:idx val="43"/>
              <c:layout>
                <c:manualLayout>
                  <c:x val="-5.2861091881760768E-2"/>
                  <c:y val="0"/>
                </c:manualLayout>
              </c:layout>
              <c:tx>
                <c:rich>
                  <a:bodyPr/>
                  <a:lstStyle/>
                  <a:p>
                    <a:fld id="{2A2B2110-D6DC-6042-B01C-F47C74EFF90E}"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7-AB11-4731-9851-4D0A2E4801CA}"/>
                </c:ext>
              </c:extLst>
            </c:dLbl>
            <c:dLbl>
              <c:idx val="44"/>
              <c:layout>
                <c:manualLayout>
                  <c:x val="-2.5078952884344807E-2"/>
                  <c:y val="0"/>
                </c:manualLayout>
              </c:layout>
              <c:tx>
                <c:rich>
                  <a:bodyPr/>
                  <a:lstStyle/>
                  <a:p>
                    <a:fld id="{32F760A4-A48D-E14D-8BAE-1696FFB70A21}"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1CDF-764F-B996-FD1B327874D6}"/>
                </c:ext>
              </c:extLst>
            </c:dLbl>
            <c:dLbl>
              <c:idx val="45"/>
              <c:layout>
                <c:manualLayout>
                  <c:x val="-2.3801685672847125E-2"/>
                  <c:y val="2.33476440296857E-3"/>
                </c:manualLayout>
              </c:layout>
              <c:tx>
                <c:rich>
                  <a:bodyPr/>
                  <a:lstStyle/>
                  <a:p>
                    <a:fld id="{C2A51D00-664F-1541-AFA0-42235F20518F}"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1CDF-764F-B996-FD1B327874D6}"/>
                </c:ext>
              </c:extLst>
            </c:dLbl>
            <c:dLbl>
              <c:idx val="46"/>
              <c:layout>
                <c:manualLayout>
                  <c:x val="-2.8639662883201349E-2"/>
                  <c:y val="2.33476440296857E-3"/>
                </c:manualLayout>
              </c:layout>
              <c:tx>
                <c:rich>
                  <a:bodyPr/>
                  <a:lstStyle/>
                  <a:p>
                    <a:fld id="{A0B6C698-45A0-D848-9F6A-882267617349}"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F-9EBE-DE4C-AD5B-B4B2A0D5D802}"/>
                </c:ext>
              </c:extLst>
            </c:dLbl>
            <c:dLbl>
              <c:idx val="47"/>
              <c:tx>
                <c:rich>
                  <a:bodyPr/>
                  <a:lstStyle/>
                  <a:p>
                    <a:fld id="{9D7C0034-98AF-8A4B-81ED-50B78C09054A}"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1CDF-764F-B996-FD1B327874D6}"/>
                </c:ext>
              </c:extLst>
            </c:dLbl>
            <c:dLbl>
              <c:idx val="48"/>
              <c:layout>
                <c:manualLayout>
                  <c:x val="-3.3582220511498811E-2"/>
                  <c:y val="3.5021466044528556E-2"/>
                </c:manualLayout>
              </c:layout>
              <c:tx>
                <c:rich>
                  <a:bodyPr/>
                  <a:lstStyle/>
                  <a:p>
                    <a:fld id="{91846BE8-5B8A-1449-8B7D-31570BA4BFCA}"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E-9EBE-DE4C-AD5B-B4B2A0D5D802}"/>
                </c:ext>
              </c:extLst>
            </c:dLbl>
            <c:dLbl>
              <c:idx val="49"/>
              <c:layout>
                <c:manualLayout>
                  <c:x val="-3.2829632457141357E-2"/>
                  <c:y val="0"/>
                </c:manualLayout>
              </c:layout>
              <c:tx>
                <c:rich>
                  <a:bodyPr/>
                  <a:lstStyle/>
                  <a:p>
                    <a:fld id="{77DBCF29-6406-2E4F-BAB5-960E6D692E9A}"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B-9EBE-DE4C-AD5B-B4B2A0D5D802}"/>
                </c:ext>
              </c:extLst>
            </c:dLbl>
            <c:dLbl>
              <c:idx val="50"/>
              <c:layout>
                <c:manualLayout>
                  <c:x val="-4.3142398989488295E-2"/>
                  <c:y val="-2.33476440296857E-3"/>
                </c:manualLayout>
              </c:layout>
              <c:tx>
                <c:rich>
                  <a:bodyPr/>
                  <a:lstStyle/>
                  <a:p>
                    <a:fld id="{DB7C7BAF-0A9A-0C46-B539-B10887A7CAF2}"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61-9EBE-DE4C-AD5B-B4B2A0D5D802}"/>
                </c:ext>
              </c:extLst>
            </c:dLbl>
            <c:dLbl>
              <c:idx val="51"/>
              <c:layout>
                <c:manualLayout>
                  <c:x val="-2.4918483695895072E-2"/>
                  <c:y val="-2.33476440296857E-3"/>
                </c:manualLayout>
              </c:layout>
              <c:tx>
                <c:rich>
                  <a:bodyPr/>
                  <a:lstStyle/>
                  <a:p>
                    <a:fld id="{6ACA8E63-D715-C248-8228-47D43FEB151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1CDF-764F-B996-FD1B327874D6}"/>
                </c:ext>
              </c:extLst>
            </c:dLbl>
            <c:dLbl>
              <c:idx val="52"/>
              <c:tx>
                <c:rich>
                  <a:bodyPr/>
                  <a:lstStyle/>
                  <a:p>
                    <a:fld id="{32CB8D8C-457F-2844-B2C0-A9521009E282}" type="CELLRANGE">
                      <a:rPr lang="en-US"/>
                      <a:pPr/>
                      <a:t>[CELLRANGE]</a:t>
                    </a:fld>
                    <a:endParaRPr lang="es-CL"/>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1CDF-764F-B996-FD1B327874D6}"/>
                </c:ext>
              </c:extLst>
            </c:dLbl>
            <c:dLbl>
              <c:idx val="53"/>
              <c:layout>
                <c:manualLayout>
                  <c:x val="-4.3324104133663194E-2"/>
                  <c:y val="2.3347644029685692E-2"/>
                </c:manualLayout>
              </c:layout>
              <c:tx>
                <c:rich>
                  <a:bodyPr/>
                  <a:lstStyle/>
                  <a:p>
                    <a:fld id="{0116EDAE-4A33-6547-9BA5-98D5E33D8EF8}"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1CDF-764F-B996-FD1B327874D6}"/>
                </c:ext>
              </c:extLst>
            </c:dLbl>
            <c:dLbl>
              <c:idx val="54"/>
              <c:layout>
                <c:manualLayout>
                  <c:x val="-1.9664495001420361E-2"/>
                  <c:y val="-2.33476440296857E-3"/>
                </c:manualLayout>
              </c:layout>
              <c:tx>
                <c:rich>
                  <a:bodyPr/>
                  <a:lstStyle/>
                  <a:p>
                    <a:fld id="{5677B7C1-0DF6-8B4C-8B66-65B99A697C2F}"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1CDF-764F-B996-FD1B327874D6}"/>
                </c:ext>
              </c:extLst>
            </c:dLbl>
            <c:dLbl>
              <c:idx val="55"/>
              <c:layout>
                <c:manualLayout>
                  <c:x val="-3.1224407452416576E-2"/>
                  <c:y val="-4.6695288059372259E-3"/>
                </c:manualLayout>
              </c:layout>
              <c:tx>
                <c:rich>
                  <a:bodyPr/>
                  <a:lstStyle/>
                  <a:p>
                    <a:fld id="{3BB3107E-1226-5442-91B6-1F0F14454767}" type="CELLRANGE">
                      <a:rPr lang="en-US" dirty="0"/>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1CDF-764F-B996-FD1B327874D6}"/>
                </c:ext>
              </c:extLst>
            </c:dLbl>
            <c:dLbl>
              <c:idx val="56"/>
              <c:layout>
                <c:manualLayout>
                  <c:x val="-2.2428012553559869E-2"/>
                  <c:y val="2.33476440296857E-3"/>
                </c:manualLayout>
              </c:layout>
              <c:tx>
                <c:rich>
                  <a:bodyPr/>
                  <a:lstStyle/>
                  <a:p>
                    <a:fld id="{F868929B-2CFC-BA4B-9417-80289D26739A}"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1CDF-764F-B996-FD1B327874D6}"/>
                </c:ext>
              </c:extLst>
            </c:dLbl>
            <c:dLbl>
              <c:idx val="57"/>
              <c:layout>
                <c:manualLayout>
                  <c:x val="-3.7199530107831565E-2"/>
                  <c:y val="-2.3347644029686129E-3"/>
                </c:manualLayout>
              </c:layout>
              <c:tx>
                <c:rich>
                  <a:bodyPr/>
                  <a:lstStyle/>
                  <a:p>
                    <a:fld id="{409F3D91-6DA1-7549-850E-C7ECA8AEDE0C}"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C-9EBE-DE4C-AD5B-B4B2A0D5D802}"/>
                </c:ext>
              </c:extLst>
            </c:dLbl>
            <c:dLbl>
              <c:idx val="58"/>
              <c:layout>
                <c:manualLayout>
                  <c:x val="7.37749541361111E-4"/>
                  <c:y val="-2.1012879626717131E-2"/>
                </c:manualLayout>
              </c:layout>
              <c:tx>
                <c:rich>
                  <a:bodyPr/>
                  <a:lstStyle/>
                  <a:p>
                    <a:fld id="{1C4C50E0-099A-DD4A-ADF7-FFDD14C961B4}"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A-9EBE-DE4C-AD5B-B4B2A0D5D802}"/>
                </c:ext>
              </c:extLst>
            </c:dLbl>
            <c:dLbl>
              <c:idx val="59"/>
              <c:layout>
                <c:manualLayout>
                  <c:x val="-4.9698356132664205E-2"/>
                  <c:y val="-4.66952880593714E-3"/>
                </c:manualLayout>
              </c:layout>
              <c:tx>
                <c:rich>
                  <a:bodyPr/>
                  <a:lstStyle/>
                  <a:p>
                    <a:fld id="{011B4ECB-2405-854E-826A-12BDD857AC12}"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60-9EBE-DE4C-AD5B-B4B2A0D5D802}"/>
                </c:ext>
              </c:extLst>
            </c:dLbl>
            <c:dLbl>
              <c:idx val="60"/>
              <c:layout>
                <c:manualLayout>
                  <c:x val="-2.317091559045242E-2"/>
                  <c:y val="0"/>
                </c:manualLayout>
              </c:layout>
              <c:tx>
                <c:rich>
                  <a:bodyPr/>
                  <a:lstStyle/>
                  <a:p>
                    <a:fld id="{6055AD01-CBF7-9845-92FD-995DD397BEBF}"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D-9EBE-DE4C-AD5B-B4B2A0D5D802}"/>
                </c:ext>
              </c:extLst>
            </c:dLbl>
            <c:dLbl>
              <c:idx val="61"/>
              <c:layout>
                <c:manualLayout>
                  <c:x val="-2.6059183275805219E-2"/>
                  <c:y val="2.3347644029685275E-3"/>
                </c:manualLayout>
              </c:layout>
              <c:tx>
                <c:rich>
                  <a:bodyPr/>
                  <a:lstStyle/>
                  <a:p>
                    <a:fld id="{CD11DE5B-713C-B14E-B281-49A2D95E850F}" type="CELLRANGE">
                      <a:rPr lang="en-US"/>
                      <a:pPr/>
                      <a:t>[CELLRANGE]</a:t>
                    </a:fld>
                    <a:endParaRPr lang="es-CL"/>
                  </a:p>
                </c:rich>
              </c:tx>
              <c:dLblPos val="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58-9EBE-DE4C-AD5B-B4B2A0D5D80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060"/>
                    </a:solidFill>
                    <a:latin typeface="+mn-lt"/>
                    <a:ea typeface="+mn-ea"/>
                    <a:cs typeface="+mn-cs"/>
                  </a:defRPr>
                </a:pPr>
                <a:endParaRPr lang="es-CL"/>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xVal>
            <c:numRef>
              <c:f>'Graph '!$C$7:$C$68</c:f>
              <c:numCache>
                <c:formatCode>0%</c:formatCode>
                <c:ptCount val="62"/>
                <c:pt idx="0">
                  <c:v>1.0991867988365882</c:v>
                </c:pt>
                <c:pt idx="1">
                  <c:v>0.3965311004784689</c:v>
                </c:pt>
                <c:pt idx="2">
                  <c:v>1.0346073047580437</c:v>
                </c:pt>
                <c:pt idx="3">
                  <c:v>0.67479874227861647</c:v>
                </c:pt>
                <c:pt idx="4">
                  <c:v>0.79854809437386565</c:v>
                </c:pt>
                <c:pt idx="5">
                  <c:v>0</c:v>
                </c:pt>
                <c:pt idx="6">
                  <c:v>0</c:v>
                </c:pt>
                <c:pt idx="7">
                  <c:v>0</c:v>
                </c:pt>
                <c:pt idx="8">
                  <c:v>0</c:v>
                </c:pt>
                <c:pt idx="9">
                  <c:v>0</c:v>
                </c:pt>
                <c:pt idx="10">
                  <c:v>0</c:v>
                </c:pt>
                <c:pt idx="11">
                  <c:v>0</c:v>
                </c:pt>
                <c:pt idx="12">
                  <c:v>0</c:v>
                </c:pt>
                <c:pt idx="13">
                  <c:v>0</c:v>
                </c:pt>
                <c:pt idx="14">
                  <c:v>0</c:v>
                </c:pt>
              </c:numCache>
            </c:numRef>
          </c:xVal>
          <c:yVal>
            <c:numRef>
              <c:f>'Graph '!$D$7:$D$68</c:f>
              <c:numCache>
                <c:formatCode>0%</c:formatCode>
                <c:ptCount val="62"/>
                <c:pt idx="0">
                  <c:v>0.91235996101693151</c:v>
                </c:pt>
                <c:pt idx="1">
                  <c:v>0.44592084592593062</c:v>
                </c:pt>
                <c:pt idx="2">
                  <c:v>1.0791603289525595</c:v>
                </c:pt>
                <c:pt idx="3">
                  <c:v>0.8001399742848545</c:v>
                </c:pt>
                <c:pt idx="4">
                  <c:v>0.6142582997505277</c:v>
                </c:pt>
                <c:pt idx="5">
                  <c:v>0.6016556321545985</c:v>
                </c:pt>
                <c:pt idx="6">
                  <c:v>0</c:v>
                </c:pt>
                <c:pt idx="7">
                  <c:v>0</c:v>
                </c:pt>
                <c:pt idx="8">
                  <c:v>0</c:v>
                </c:pt>
                <c:pt idx="9">
                  <c:v>0</c:v>
                </c:pt>
                <c:pt idx="10">
                  <c:v>0</c:v>
                </c:pt>
                <c:pt idx="11">
                  <c:v>0</c:v>
                </c:pt>
                <c:pt idx="12">
                  <c:v>0</c:v>
                </c:pt>
                <c:pt idx="13">
                  <c:v>0</c:v>
                </c:pt>
                <c:pt idx="14">
                  <c:v>0</c:v>
                </c:pt>
              </c:numCache>
            </c:numRef>
          </c:yVal>
          <c:bubbleSize>
            <c:numRef>
              <c:f>'Graph '!$E$7:$E$68</c:f>
              <c:numCache>
                <c:formatCode>#,##0.0,\ \K</c:formatCode>
                <c:ptCount val="62"/>
                <c:pt idx="0">
                  <c:v>7782300</c:v>
                </c:pt>
                <c:pt idx="1">
                  <c:v>2104762</c:v>
                </c:pt>
                <c:pt idx="2">
                  <c:v>1873745</c:v>
                </c:pt>
                <c:pt idx="3">
                  <c:v>1052949</c:v>
                </c:pt>
                <c:pt idx="4">
                  <c:v>576162</c:v>
                </c:pt>
                <c:pt idx="5">
                  <c:v>264264</c:v>
                </c:pt>
                <c:pt idx="6">
                  <c:v>0</c:v>
                </c:pt>
                <c:pt idx="7">
                  <c:v>0</c:v>
                </c:pt>
                <c:pt idx="8">
                  <c:v>0</c:v>
                </c:pt>
                <c:pt idx="9">
                  <c:v>0</c:v>
                </c:pt>
                <c:pt idx="10">
                  <c:v>0</c:v>
                </c:pt>
                <c:pt idx="11">
                  <c:v>0</c:v>
                </c:pt>
                <c:pt idx="12">
                  <c:v>0</c:v>
                </c:pt>
                <c:pt idx="13">
                  <c:v>0</c:v>
                </c:pt>
                <c:pt idx="14">
                  <c:v>0</c:v>
                </c:pt>
              </c:numCache>
            </c:numRef>
          </c:bubbleSize>
          <c:bubble3D val="0"/>
          <c:extLst>
            <c:ext xmlns:c15="http://schemas.microsoft.com/office/drawing/2012/chart" uri="{02D57815-91ED-43cb-92C2-25804820EDAC}">
              <c15:datalabelsRange>
                <c15:f>'Graph '!$B$7:$B$68</c15:f>
                <c15:dlblRangeCache>
                  <c:ptCount val="62"/>
                  <c:pt idx="0">
                    <c:v>Brazil</c:v>
                  </c:pt>
                  <c:pt idx="1">
                    <c:v>USA</c:v>
                  </c:pt>
                  <c:pt idx="2">
                    <c:v>Spain</c:v>
                  </c:pt>
                  <c:pt idx="3">
                    <c:v>Argentina</c:v>
                  </c:pt>
                  <c:pt idx="4">
                    <c:v>Chile</c:v>
                  </c:pt>
                  <c:pt idx="5">
                    <c:v>Canada</c:v>
                  </c:pt>
                  <c:pt idx="6">
                    <c:v>0</c:v>
                  </c:pt>
                  <c:pt idx="7">
                    <c:v>0</c:v>
                  </c:pt>
                  <c:pt idx="8">
                    <c:v>0</c:v>
                  </c:pt>
                  <c:pt idx="9">
                    <c:v>0</c:v>
                  </c:pt>
                  <c:pt idx="10">
                    <c:v>0</c:v>
                  </c:pt>
                  <c:pt idx="11">
                    <c:v>0</c:v>
                  </c:pt>
                  <c:pt idx="12">
                    <c:v>0</c:v>
                  </c:pt>
                  <c:pt idx="13">
                    <c:v>0</c:v>
                  </c:pt>
                  <c:pt idx="14">
                    <c:v>0</c:v>
                  </c:pt>
                </c15:dlblRangeCache>
              </c15:datalabelsRange>
            </c:ext>
            <c:ext xmlns:c16="http://schemas.microsoft.com/office/drawing/2014/chart" uri="{C3380CC4-5D6E-409C-BE32-E72D297353CC}">
              <c16:uniqueId val="{00000058-AB11-4731-9851-4D0A2E4801CA}"/>
            </c:ext>
          </c:extLst>
        </c:ser>
        <c:dLbls>
          <c:showLegendKey val="0"/>
          <c:showVal val="0"/>
          <c:showCatName val="0"/>
          <c:showSerName val="0"/>
          <c:showPercent val="0"/>
          <c:showBubbleSize val="0"/>
        </c:dLbls>
        <c:bubbleScale val="100"/>
        <c:showNegBubbles val="0"/>
        <c:axId val="1193293304"/>
        <c:axId val="1193291008"/>
      </c:bubbleChart>
      <c:valAx>
        <c:axId val="1193293304"/>
        <c:scaling>
          <c:orientation val="minMax"/>
          <c:max val="1.4"/>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193291008"/>
        <c:crosses val="autoZero"/>
        <c:crossBetween val="midCat"/>
      </c:valAx>
      <c:valAx>
        <c:axId val="119329100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19329330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4587208911261884E-2"/>
          <c:w val="0.98728191700502943"/>
          <c:h val="0.68748551978070616"/>
        </c:manualLayout>
      </c:layout>
      <c:lineChart>
        <c:grouping val="standard"/>
        <c:varyColors val="0"/>
        <c:ser>
          <c:idx val="0"/>
          <c:order val="0"/>
          <c:tx>
            <c:strRef>
              <c:f>Sheet1!$B$1</c:f>
              <c:strCache>
                <c:ptCount val="1"/>
                <c:pt idx="0">
                  <c:v>Búsqueda por mes de búsqueda</c:v>
                </c:pt>
              </c:strCache>
            </c:strRef>
          </c:tx>
          <c:spPr>
            <a:ln w="28575" cap="rnd">
              <a:solidFill>
                <a:srgbClr val="00A9E0"/>
              </a:solidFill>
              <a:round/>
            </a:ln>
            <a:effectLst/>
          </c:spPr>
          <c:marker>
            <c:symbol val="none"/>
          </c:marker>
          <c:dLbls>
            <c:dLbl>
              <c:idx val="0"/>
              <c:layout>
                <c:manualLayout>
                  <c:x val="-4.4922464829120504E-2"/>
                  <c:y val="0.109126669429153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A9-40AC-AD32-0D2ED9FEA7AE}"/>
                </c:ext>
              </c:extLst>
            </c:dLbl>
            <c:dLbl>
              <c:idx val="1"/>
              <c:layout>
                <c:manualLayout>
                  <c:x val="-2.5715531949538885E-2"/>
                  <c:y val="6.02514139752488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EA9-40AC-AD32-0D2ED9FEA7AE}"/>
                </c:ext>
              </c:extLst>
            </c:dLbl>
            <c:dLbl>
              <c:idx val="2"/>
              <c:layout>
                <c:manualLayout>
                  <c:x val="-3.9765311667648705E-2"/>
                  <c:y val="6.02514139752488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A9-40AC-AD32-0D2ED9FEA7AE}"/>
                </c:ext>
              </c:extLst>
            </c:dLbl>
            <c:dLbl>
              <c:idx val="6"/>
              <c:layout>
                <c:manualLayout>
                  <c:x val="-4.026418440582491E-2"/>
                  <c:y val="-2.62128660491556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EA9-40AC-AD32-0D2ED9FEA7AE}"/>
                </c:ext>
              </c:extLst>
            </c:dLbl>
            <c:dLbl>
              <c:idx val="11"/>
              <c:layout>
                <c:manualLayout>
                  <c:x val="-2.6373271374078997E-2"/>
                  <c:y val="7.2215085336759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EA9-40AC-AD32-0D2ED9FEA7A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5EB8"/>
                    </a:solidFill>
                    <a:latin typeface="+mj-lt"/>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0.0%</c:formatCode>
                <c:ptCount val="12"/>
                <c:pt idx="0">
                  <c:v>0.16154703515599872</c:v>
                </c:pt>
                <c:pt idx="1">
                  <c:v>8.6722624108089855E-2</c:v>
                </c:pt>
                <c:pt idx="2">
                  <c:v>9.3209053144858348E-2</c:v>
                </c:pt>
                <c:pt idx="3">
                  <c:v>5.6475099547158972E-2</c:v>
                </c:pt>
                <c:pt idx="4">
                  <c:v>6.6743220322178276E-2</c:v>
                </c:pt>
                <c:pt idx="5">
                  <c:v>6.7708270358137618E-2</c:v>
                </c:pt>
                <c:pt idx="6">
                  <c:v>7.9098204064300237E-2</c:v>
                </c:pt>
                <c:pt idx="7">
                  <c:v>7.1471329499282504E-2</c:v>
                </c:pt>
                <c:pt idx="8">
                  <c:v>7.5193870903307342E-2</c:v>
                </c:pt>
                <c:pt idx="9">
                  <c:v>8.7203045250731151E-2</c:v>
                </c:pt>
                <c:pt idx="10">
                  <c:v>7.9099630830334305E-2</c:v>
                </c:pt>
                <c:pt idx="11">
                  <c:v>7.5528616815622659E-2</c:v>
                </c:pt>
              </c:numCache>
            </c:numRef>
          </c:val>
          <c:smooth val="1"/>
          <c:extLst>
            <c:ext xmlns:c16="http://schemas.microsoft.com/office/drawing/2014/chart" uri="{C3380CC4-5D6E-409C-BE32-E72D297353CC}">
              <c16:uniqueId val="{00000005-6EA9-40AC-AD32-0D2ED9FEA7AE}"/>
            </c:ext>
          </c:extLst>
        </c:ser>
        <c:ser>
          <c:idx val="1"/>
          <c:order val="1"/>
          <c:tx>
            <c:strRef>
              <c:f>Sheet1!$C$1</c:f>
              <c:strCache>
                <c:ptCount val="1"/>
                <c:pt idx="0">
                  <c:v>Búsqueda por mes de viaje</c:v>
                </c:pt>
              </c:strCache>
            </c:strRef>
          </c:tx>
          <c:spPr>
            <a:ln w="28575" cap="rnd">
              <a:solidFill>
                <a:srgbClr val="FFC000"/>
              </a:solidFill>
              <a:round/>
            </a:ln>
            <a:effectLst/>
          </c:spPr>
          <c:marker>
            <c:symbol val="none"/>
          </c:marker>
          <c:dLbls>
            <c:dLbl>
              <c:idx val="0"/>
              <c:layout>
                <c:manualLayout>
                  <c:x val="-2.997324704726791E-2"/>
                  <c:y val="-8.80339204586503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EA9-40AC-AD32-0D2ED9FEA7AE}"/>
                </c:ext>
              </c:extLst>
            </c:dLbl>
            <c:dLbl>
              <c:idx val="1"/>
              <c:layout>
                <c:manualLayout>
                  <c:x val="-3.3295295443235152E-2"/>
                  <c:y val="-8.803392045865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EA9-40AC-AD32-0D2ED9FEA7AE}"/>
                </c:ext>
              </c:extLst>
            </c:dLbl>
            <c:dLbl>
              <c:idx val="2"/>
              <c:layout>
                <c:manualLayout>
                  <c:x val="-2.3291744513552062E-2"/>
                  <c:y val="-4.5849252924485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EA9-40AC-AD32-0D2ED9FEA7AE}"/>
                </c:ext>
              </c:extLst>
            </c:dLbl>
            <c:dLbl>
              <c:idx val="3"/>
              <c:layout>
                <c:manualLayout>
                  <c:x val="-2.4990174453317044E-2"/>
                  <c:y val="-5.63954198080265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EA9-40AC-AD32-0D2ED9FEA7AE}"/>
                </c:ext>
              </c:extLst>
            </c:dLbl>
            <c:dLbl>
              <c:idx val="11"/>
              <c:layout>
                <c:manualLayout>
                  <c:x val="-1.3742032478908589E-3"/>
                  <c:y val="7.54316662362391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EA9-40AC-AD32-0D2ED9FEA7A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ED7D31"/>
                    </a:solidFill>
                    <a:latin typeface="+mj-lt"/>
                    <a:ea typeface="+mn-ea"/>
                    <a:cs typeface="+mn-cs"/>
                  </a:defRPr>
                </a:pPr>
                <a:endParaRPr lang="es-C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0.0%</c:formatCode>
                <c:ptCount val="12"/>
                <c:pt idx="0">
                  <c:v>0.15459782717238385</c:v>
                </c:pt>
                <c:pt idx="1">
                  <c:v>0.14631287489253852</c:v>
                </c:pt>
                <c:pt idx="2">
                  <c:v>0.10125560511223346</c:v>
                </c:pt>
                <c:pt idx="3">
                  <c:v>9.3085696318282424E-2</c:v>
                </c:pt>
                <c:pt idx="4">
                  <c:v>5.7895812884009079E-2</c:v>
                </c:pt>
                <c:pt idx="5">
                  <c:v>5.4834688155779569E-2</c:v>
                </c:pt>
                <c:pt idx="6">
                  <c:v>6.809014692038258E-2</c:v>
                </c:pt>
                <c:pt idx="7">
                  <c:v>5.1291996809170862E-2</c:v>
                </c:pt>
                <c:pt idx="8">
                  <c:v>5.3438670220064412E-2</c:v>
                </c:pt>
                <c:pt idx="9">
                  <c:v>5.510284120883626E-2</c:v>
                </c:pt>
                <c:pt idx="10">
                  <c:v>6.1590034000064318E-2</c:v>
                </c:pt>
                <c:pt idx="11">
                  <c:v>0.10250380630625464</c:v>
                </c:pt>
              </c:numCache>
            </c:numRef>
          </c:val>
          <c:smooth val="1"/>
          <c:extLst>
            <c:ext xmlns:c16="http://schemas.microsoft.com/office/drawing/2014/chart" uri="{C3380CC4-5D6E-409C-BE32-E72D297353CC}">
              <c16:uniqueId val="{0000000B-6EA9-40AC-AD32-0D2ED9FEA7AE}"/>
            </c:ext>
          </c:extLst>
        </c:ser>
        <c:dLbls>
          <c:dLblPos val="t"/>
          <c:showLegendKey val="0"/>
          <c:showVal val="1"/>
          <c:showCatName val="0"/>
          <c:showSerName val="0"/>
          <c:showPercent val="0"/>
          <c:showBubbleSize val="0"/>
        </c:dLbls>
        <c:smooth val="0"/>
        <c:axId val="1301041640"/>
        <c:axId val="1301046560"/>
      </c:lineChart>
      <c:catAx>
        <c:axId val="1301041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5EB8"/>
                </a:solidFill>
                <a:latin typeface="+mn-lt"/>
                <a:ea typeface="+mn-ea"/>
                <a:cs typeface="+mn-cs"/>
              </a:defRPr>
            </a:pPr>
            <a:endParaRPr lang="es-CL"/>
          </a:p>
        </c:txPr>
        <c:crossAx val="1301046560"/>
        <c:crosses val="autoZero"/>
        <c:auto val="1"/>
        <c:lblAlgn val="ctr"/>
        <c:lblOffset val="100"/>
        <c:noMultiLvlLbl val="0"/>
      </c:catAx>
      <c:valAx>
        <c:axId val="1301046560"/>
        <c:scaling>
          <c:orientation val="minMax"/>
          <c:min val="3.0000000000000006E-2"/>
        </c:scaling>
        <c:delete val="1"/>
        <c:axPos val="l"/>
        <c:numFmt formatCode="0%" sourceLinked="0"/>
        <c:majorTickMark val="out"/>
        <c:minorTickMark val="none"/>
        <c:tickLblPos val="nextTo"/>
        <c:crossAx val="1301041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005EB8"/>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2060"/>
          </a:solidFill>
          <a:latin typeface="+mj-lt"/>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Calibri Light" panose="020F030202020403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ABEB51-FB0B-4122-930F-C76579434EBC}" type="datetimeFigureOut">
              <a:rPr lang="en-GB" smtClean="0">
                <a:latin typeface="Calibri Light" panose="020F0302020204030204" pitchFamily="34" charset="0"/>
              </a:rPr>
              <a:t>23/09/2023</a:t>
            </a:fld>
            <a:endParaRPr lang="en-GB">
              <a:latin typeface="Calibri Light" panose="020F0302020204030204" pitchFamily="34" charset="0"/>
            </a:endParaRPr>
          </a:p>
        </p:txBody>
      </p:sp>
      <p:sp>
        <p:nvSpPr>
          <p:cNvPr id="4" name="Footer Placeholder 3"/>
          <p:cNvSpPr>
            <a:spLocks noGrp="1"/>
          </p:cNvSpPr>
          <p:nvPr>
            <p:ph type="ftr" sz="quarter" idx="2"/>
          </p:nvPr>
        </p:nvSpPr>
        <p:spPr>
          <a:xfrm>
            <a:off x="0" y="8685213"/>
            <a:ext cx="3799114" cy="458787"/>
          </a:xfrm>
          <a:prstGeom prst="rect">
            <a:avLst/>
          </a:prstGeom>
        </p:spPr>
        <p:txBody>
          <a:bodyPr vert="horz" lIns="91440" tIns="45720" rIns="91440" bIns="45720" rtlCol="0" anchor="b"/>
          <a:lstStyle>
            <a:lvl1pPr algn="l">
              <a:defRPr sz="1200"/>
            </a:lvl1pPr>
          </a:lstStyle>
          <a:p>
            <a:r>
              <a:rPr lang="en-GB">
                <a:latin typeface="Calibri Light" panose="020F0302020204030204" pitchFamily="34" charset="0"/>
              </a:rPr>
              <a:t>© Amadeus IT Group and its affiliates and subsidiaries</a:t>
            </a:r>
          </a:p>
        </p:txBody>
      </p:sp>
      <p:sp>
        <p:nvSpPr>
          <p:cNvPr id="5" name="Slide Number Placeholder 4"/>
          <p:cNvSpPr>
            <a:spLocks noGrp="1"/>
          </p:cNvSpPr>
          <p:nvPr>
            <p:ph type="sldNum" sz="quarter" idx="3"/>
          </p:nvPr>
        </p:nvSpPr>
        <p:spPr>
          <a:xfrm>
            <a:off x="4855029" y="8685213"/>
            <a:ext cx="2001384" cy="458787"/>
          </a:xfrm>
          <a:prstGeom prst="rect">
            <a:avLst/>
          </a:prstGeom>
        </p:spPr>
        <p:txBody>
          <a:bodyPr vert="horz" lIns="91440" tIns="45720" rIns="91440" bIns="45720" rtlCol="0" anchor="b"/>
          <a:lstStyle>
            <a:lvl1pPr algn="r">
              <a:defRPr sz="1200"/>
            </a:lvl1pPr>
          </a:lstStyle>
          <a:p>
            <a:fld id="{4FE73864-8AF9-4AF7-8C43-8DE0AF565002}" type="slidenum">
              <a:rPr lang="en-GB" smtClean="0">
                <a:latin typeface="Calibri Light" panose="020F0302020204030204" pitchFamily="34" charset="0"/>
              </a:rPr>
              <a:t>‹#›</a:t>
            </a:fld>
            <a:endParaRPr lang="en-GB">
              <a:latin typeface="Calibri Light" panose="020F0302020204030204" pitchFamily="34" charset="0"/>
            </a:endParaRPr>
          </a:p>
        </p:txBody>
      </p:sp>
    </p:spTree>
    <p:extLst>
      <p:ext uri="{BB962C8B-B14F-4D97-AF65-F5344CB8AC3E}">
        <p14:creationId xmlns:p14="http://schemas.microsoft.com/office/powerpoint/2010/main" val="2777683893"/>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46E55AE2-5BD9-4A29-8080-AC129110D5D3}" type="datetimeFigureOut">
              <a:rPr lang="en-GB" smtClean="0"/>
              <a:pPr/>
              <a:t>23/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1" y="8685213"/>
            <a:ext cx="3788229" cy="458787"/>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r>
              <a:rPr lang="en-GB"/>
              <a:t>© Amadeus IT Group and its affiliates and subsidiaries</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F98739B-D4C8-44A6-B797-7501FD315B16}" type="slidenum">
              <a:rPr lang="en-GB" smtClean="0"/>
              <a:pPr/>
              <a:t>‹#›</a:t>
            </a:fld>
            <a:endParaRPr lang="en-GB"/>
          </a:p>
        </p:txBody>
      </p:sp>
    </p:spTree>
    <p:extLst>
      <p:ext uri="{BB962C8B-B14F-4D97-AF65-F5344CB8AC3E}">
        <p14:creationId xmlns:p14="http://schemas.microsoft.com/office/powerpoint/2010/main" val="150131740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a:lvl2pPr marL="457200" algn="l" defTabSz="914400" rtl="0" eaLnBrk="1" latinLnBrk="0" hangingPunct="1">
      <a:defRPr sz="1200" b="0" i="0" kern="1200">
        <a:solidFill>
          <a:schemeClr val="tx1"/>
        </a:solidFill>
        <a:latin typeface="Calibri Light" panose="020F0302020204030204" pitchFamily="34" charset="0"/>
        <a:ea typeface="+mn-ea"/>
        <a:cs typeface="+mn-cs"/>
      </a:defRPr>
    </a:lvl2pPr>
    <a:lvl3pPr marL="914400" algn="l" defTabSz="914400" rtl="0" eaLnBrk="1" latinLnBrk="0" hangingPunct="1">
      <a:defRPr sz="1200" b="0" i="0" kern="1200">
        <a:solidFill>
          <a:schemeClr val="tx1"/>
        </a:solidFill>
        <a:latin typeface="Calibri Light" panose="020F0302020204030204" pitchFamily="34" charset="0"/>
        <a:ea typeface="+mn-ea"/>
        <a:cs typeface="+mn-cs"/>
      </a:defRPr>
    </a:lvl3pPr>
    <a:lvl4pPr marL="1371600" algn="l" defTabSz="914400" rtl="0" eaLnBrk="1" latinLnBrk="0" hangingPunct="1">
      <a:defRPr sz="1200" b="0" i="0" kern="1200">
        <a:solidFill>
          <a:schemeClr val="tx1"/>
        </a:solidFill>
        <a:latin typeface="Calibri Light" panose="020F0302020204030204" pitchFamily="34" charset="0"/>
        <a:ea typeface="+mn-ea"/>
        <a:cs typeface="+mn-cs"/>
      </a:defRPr>
    </a:lvl4pPr>
    <a:lvl5pPr marL="1828800" algn="l" defTabSz="914400" rtl="0" eaLnBrk="1" latinLnBrk="0" hangingPunct="1">
      <a:defRPr sz="1200" b="0" i="0" kern="1200">
        <a:solidFill>
          <a:schemeClr val="tx1"/>
        </a:solidFill>
        <a:latin typeface="Calibri Light" panose="020F03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dirty="0">
                <a:effectLst/>
                <a:latin typeface="Calibri Light" panose="020F0302020204030204" pitchFamily="34" charset="0"/>
                <a:ea typeface="Calibri" panose="020F0502020204030204" pitchFamily="34" charset="0"/>
                <a:cs typeface="Arial" panose="020B0604020202020204" pitchFamily="34" charset="0"/>
              </a:rPr>
              <a:t>Short intro done by Tom, highlighting his role at Amadeus, and sharing the event title. </a:t>
            </a:r>
            <a:endParaRPr lang="de-DE" sz="1800" dirty="0">
              <a:effectLst/>
              <a:latin typeface="Calibri" panose="020F0502020204030204" pitchFamily="34" charset="0"/>
              <a:ea typeface="Calibri" panose="020F0502020204030204" pitchFamily="34" charset="0"/>
              <a:cs typeface="Arial" panose="020B0604020202020204" pitchFamily="34" charset="0"/>
            </a:endParaRPr>
          </a:p>
          <a:p>
            <a:endParaRPr lang="de-DE" dirty="0"/>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7F98739B-D4C8-44A6-B797-7501FD315B16}" type="slidenum">
              <a:rPr lang="en-GB" smtClean="0"/>
              <a:pPr/>
              <a:t>1</a:t>
            </a:fld>
            <a:endParaRPr lang="en-GB"/>
          </a:p>
        </p:txBody>
      </p:sp>
    </p:spTree>
    <p:extLst>
      <p:ext uri="{BB962C8B-B14F-4D97-AF65-F5344CB8AC3E}">
        <p14:creationId xmlns:p14="http://schemas.microsoft.com/office/powerpoint/2010/main" val="884003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rtl="0" fontAlgn="base"/>
            <a:r>
              <a:rPr lang="en-GB" sz="1200" u="none" strike="noStrike" kern="1200" dirty="0">
                <a:solidFill>
                  <a:schemeClr val="tx1"/>
                </a:solidFill>
                <a:effectLst/>
                <a:ea typeface="+mn-ea"/>
                <a:cs typeface="+mn-cs"/>
              </a:rPr>
              <a:t>Presenting the 4D Strategy: Define, Discover, Design and Drive that helps to plan and implement an efficient marketing campaign. </a:t>
            </a:r>
          </a:p>
          <a:p>
            <a:pPr rtl="0" fontAlgn="base"/>
            <a:r>
              <a:rPr lang="en-GB" sz="1200" u="none" strike="noStrike" kern="1200" dirty="0">
                <a:solidFill>
                  <a:schemeClr val="tx1"/>
                </a:solidFill>
                <a:effectLst/>
                <a:ea typeface="+mn-ea"/>
                <a:cs typeface="+mn-cs"/>
              </a:rPr>
              <a:t> </a:t>
            </a:r>
          </a:p>
          <a:p>
            <a:pPr rtl="0" fontAlgn="base"/>
            <a:r>
              <a:rPr lang="en-GB" sz="1200" u="none" strike="noStrike" kern="1200" dirty="0">
                <a:solidFill>
                  <a:schemeClr val="tx1"/>
                </a:solidFill>
                <a:effectLst/>
                <a:ea typeface="+mn-ea"/>
                <a:cs typeface="+mn-cs"/>
              </a:rPr>
              <a:t>The 4 D Strategy is a holistic approach to destination marketing (and destination management) that allows Destination Marketing Organizations (DMOs) to: </a:t>
            </a:r>
          </a:p>
          <a:p>
            <a:pPr rtl="0" fontAlgn="base"/>
            <a:r>
              <a:rPr lang="en-GB" sz="1200" u="none" strike="noStrike" kern="1200" dirty="0">
                <a:solidFill>
                  <a:schemeClr val="tx1"/>
                </a:solidFill>
                <a:effectLst/>
                <a:ea typeface="+mn-ea"/>
                <a:cs typeface="+mn-cs"/>
              </a:rPr>
              <a:t> </a:t>
            </a:r>
          </a:p>
          <a:p>
            <a:pPr rtl="0" fontAlgn="base"/>
            <a:r>
              <a:rPr lang="en-GB" sz="1200" u="none" strike="noStrike" kern="1200" dirty="0">
                <a:solidFill>
                  <a:schemeClr val="tx1"/>
                </a:solidFill>
                <a:effectLst/>
                <a:ea typeface="+mn-ea"/>
                <a:cs typeface="+mn-cs"/>
              </a:rPr>
              <a:t>Set strategic goals </a:t>
            </a:r>
          </a:p>
          <a:p>
            <a:pPr rtl="0" fontAlgn="base"/>
            <a:r>
              <a:rPr lang="en-GB" sz="1200" u="none" strike="noStrike" kern="1200" dirty="0">
                <a:solidFill>
                  <a:schemeClr val="tx1"/>
                </a:solidFill>
                <a:effectLst/>
                <a:ea typeface="+mn-ea"/>
                <a:cs typeface="+mn-cs"/>
              </a:rPr>
              <a:t>Navigate through the fast-changing travel market and understand the sweet spot in it </a:t>
            </a:r>
          </a:p>
          <a:p>
            <a:pPr rtl="0" fontAlgn="base"/>
            <a:r>
              <a:rPr lang="en-GB" sz="1200" u="none" strike="noStrike" kern="1200" dirty="0">
                <a:solidFill>
                  <a:schemeClr val="tx1"/>
                </a:solidFill>
                <a:effectLst/>
                <a:ea typeface="+mn-ea"/>
                <a:cs typeface="+mn-cs"/>
              </a:rPr>
              <a:t>Follow </a:t>
            </a:r>
            <a:r>
              <a:rPr lang="en-GB" sz="1200" u="none" strike="noStrike" kern="1200" dirty="0" err="1">
                <a:solidFill>
                  <a:schemeClr val="tx1"/>
                </a:solidFill>
                <a:effectLst/>
                <a:ea typeface="+mn-ea"/>
                <a:cs typeface="+mn-cs"/>
              </a:rPr>
              <a:t>travelers</a:t>
            </a:r>
            <a:r>
              <a:rPr lang="en-GB" sz="1200" u="none" strike="noStrike" kern="1200" dirty="0">
                <a:solidFill>
                  <a:schemeClr val="tx1"/>
                </a:solidFill>
                <a:effectLst/>
                <a:ea typeface="+mn-ea"/>
                <a:cs typeface="+mn-cs"/>
              </a:rPr>
              <a:t> on each stage of the customer journey: from inspiration to actual experience; engage with them and impact their choices </a:t>
            </a:r>
          </a:p>
          <a:p>
            <a:pPr rtl="0" fontAlgn="base"/>
            <a:r>
              <a:rPr lang="en-GB" sz="1200" u="none" strike="noStrike" kern="1200" dirty="0">
                <a:solidFill>
                  <a:schemeClr val="tx1"/>
                </a:solidFill>
                <a:effectLst/>
                <a:ea typeface="+mn-ea"/>
                <a:cs typeface="+mn-cs"/>
              </a:rPr>
              <a:t>Create a win-win-situation for the destination and visitors, enriching </a:t>
            </a:r>
            <a:r>
              <a:rPr lang="en-GB" sz="1200" u="none" strike="noStrike" kern="1200" dirty="0" err="1">
                <a:solidFill>
                  <a:schemeClr val="tx1"/>
                </a:solidFill>
                <a:effectLst/>
                <a:ea typeface="+mn-ea"/>
                <a:cs typeface="+mn-cs"/>
              </a:rPr>
              <a:t>traveler’s</a:t>
            </a:r>
            <a:r>
              <a:rPr lang="en-GB" sz="1200" u="none" strike="noStrike" kern="1200" dirty="0">
                <a:solidFill>
                  <a:schemeClr val="tx1"/>
                </a:solidFill>
                <a:effectLst/>
                <a:ea typeface="+mn-ea"/>
                <a:cs typeface="+mn-cs"/>
              </a:rPr>
              <a:t> experience with contextual ads during the trip. </a:t>
            </a:r>
          </a:p>
          <a:p>
            <a:pPr rtl="0" fontAlgn="base"/>
            <a:r>
              <a:rPr lang="en-GB" sz="1200" u="none" strike="noStrike" kern="1200" dirty="0">
                <a:solidFill>
                  <a:schemeClr val="tx1"/>
                </a:solidFill>
                <a:effectLst/>
                <a:ea typeface="+mn-ea"/>
                <a:cs typeface="+mn-cs"/>
              </a:rPr>
              <a:t> </a:t>
            </a:r>
          </a:p>
          <a:p>
            <a:endParaRPr lang="en-US" dirty="0">
              <a:latin typeface="Gibson 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224070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L" dirty="0"/>
              <a:t>DESCUBRIR El proyecto comienza con una idea o inspiración que muchas veces surge de algún tipo de proceso de descubrimiento. Normalmente, el punto de partida de la mayoría de los proyectos es una idea o inspiración preliminar. La fase de descubrimiento se caracteriza por el pensamiento divergente a medida que un equipo abre un espacio de solución e investiga una amplia gama de ideas y oportunidades. Se formulan preguntas, se investigan hipótesis y se formulan planteamientos de problemas basados ​​en la investigación y el análisis de las necesidades de los usuarios, datos de mercado, tendencias y otras fuentes de información.</a:t>
            </a:r>
            <a:endParaRPr lang="en-DE"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Light" panose="020F030202020403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2638879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2</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73520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3</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421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4</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795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5</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8909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6</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4926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7</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92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67 era la cantidad promedio para 202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8591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dirty="0">
                <a:solidFill>
                  <a:schemeClr val="accent1"/>
                </a:solidFill>
                <a:latin typeface="Calibri" panose="020F0502020204030204"/>
              </a:rPr>
              <a:t>Ticket capacidad, x </a:t>
            </a:r>
            <a:r>
              <a:rPr lang="es-CL" sz="1200" dirty="0" err="1">
                <a:solidFill>
                  <a:schemeClr val="accent1"/>
                </a:solidFill>
                <a:latin typeface="Calibri" panose="020F0502020204030204"/>
              </a:rPr>
              <a:t>busquedas</a:t>
            </a:r>
            <a:endParaRPr lang="es-CL" sz="1200" dirty="0">
              <a:solidFill>
                <a:schemeClr val="accent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dirty="0">
              <a:solidFill>
                <a:schemeClr val="accent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dirty="0">
                <a:solidFill>
                  <a:schemeClr val="accent1"/>
                </a:solidFill>
                <a:latin typeface="Calibri" panose="020F0502020204030204"/>
              </a:rPr>
              <a:t>La matriz de demanda y capacidad nos ayuda a comprender la posición de cada mercado de origen combinando los datos de demanda de búsqueda y capacidad aérea. Al analizar la recuperación hacia los niveles de 2019, podemos categorizar los mercados en uno de cuatro grupos y evaluar la viabilidad o cualquier obstáculo potencial para que visiten Uruguay.</a:t>
            </a:r>
            <a:endParaRPr lang="en-GB" sz="1200" dirty="0">
              <a:solidFill>
                <a:schemeClr val="accent1"/>
              </a:solidFill>
              <a:latin typeface="Calibri" panose="020F0502020204030204"/>
            </a:endParaRPr>
          </a:p>
          <a:p>
            <a:endParaRPr lang="en-GB" dirty="0"/>
          </a:p>
        </p:txBody>
      </p:sp>
      <p:sp>
        <p:nvSpPr>
          <p:cNvPr id="4" name="Slide Number Placeholder 3"/>
          <p:cNvSpPr>
            <a:spLocks noGrp="1"/>
          </p:cNvSpPr>
          <p:nvPr>
            <p:ph type="sldNum" sz="quarter" idx="5"/>
          </p:nvPr>
        </p:nvSpPr>
        <p:spPr/>
        <p:txBody>
          <a:bodyPr/>
          <a:lstStyle/>
          <a:p>
            <a:fld id="{BE99613A-48BA-4C30-9C38-A5D464A08A08}" type="slidenum">
              <a:rPr lang="en-AE" smtClean="0"/>
              <a:t>19</a:t>
            </a:fld>
            <a:endParaRPr lang="en-AE"/>
          </a:p>
        </p:txBody>
      </p:sp>
    </p:spTree>
    <p:extLst>
      <p:ext uri="{BB962C8B-B14F-4D97-AF65-F5344CB8AC3E}">
        <p14:creationId xmlns:p14="http://schemas.microsoft.com/office/powerpoint/2010/main" val="3895320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s-ES_tradnl" dirty="0"/>
              <a:t>La </a:t>
            </a:r>
            <a:r>
              <a:rPr lang="en-US" altLang="es-ES_tradnl" dirty="0" err="1"/>
              <a:t>importancia</a:t>
            </a:r>
            <a:r>
              <a:rPr lang="en-US" altLang="es-ES_tradnl" dirty="0"/>
              <a:t> de </a:t>
            </a:r>
            <a:r>
              <a:rPr lang="en-US" altLang="es-ES_tradnl" dirty="0" err="1"/>
              <a:t>diferenciarse</a:t>
            </a:r>
            <a:r>
              <a:rPr lang="en-US" altLang="es-ES_tradnl" dirty="0"/>
              <a:t> del resto</a:t>
            </a:r>
          </a:p>
          <a:p>
            <a:pPr marL="0" marR="0" lvl="0" indent="0" algn="l" defTabSz="914400" rtl="0" eaLnBrk="1" fontAlgn="base" latinLnBrk="0" hangingPunct="1">
              <a:lnSpc>
                <a:spcPct val="100000"/>
              </a:lnSpc>
              <a:spcBef>
                <a:spcPct val="0"/>
              </a:spcBef>
              <a:spcAft>
                <a:spcPct val="0"/>
              </a:spcAft>
              <a:buClrTx/>
              <a:buSzTx/>
              <a:buFontTx/>
              <a:buNone/>
              <a:tabLst/>
              <a:defRPr/>
            </a:pPr>
            <a:r>
              <a:rPr lang="es-CL" b="0" i="0" dirty="0">
                <a:solidFill>
                  <a:srgbClr val="676767"/>
                </a:solidFill>
                <a:effectLst/>
                <a:latin typeface="PT Sans" panose="020B0604020202020204" pitchFamily="34" charset="0"/>
              </a:rPr>
              <a:t>Según los datos presentados por CERES, el turismo representó el 4,2% del PBI total de Uruguay en 2022 y se estima que aumentará hasta aproximadamente el 5.9% en 2023, aún por debajo de los niveles de los años anteriores, donde llegó a ubicarse en el 8.4% en el año 2017.</a:t>
            </a:r>
          </a:p>
          <a:p>
            <a:pPr marL="0" marR="0" lvl="0" indent="0" algn="l" defTabSz="914400" rtl="0" eaLnBrk="1" fontAlgn="base" latinLnBrk="0" hangingPunct="1">
              <a:lnSpc>
                <a:spcPct val="100000"/>
              </a:lnSpc>
              <a:spcBef>
                <a:spcPct val="0"/>
              </a:spcBef>
              <a:spcAft>
                <a:spcPct val="0"/>
              </a:spcAft>
              <a:buClrTx/>
              <a:buSzTx/>
              <a:buFontTx/>
              <a:buNone/>
              <a:tabLst/>
              <a:defRPr/>
            </a:pPr>
            <a:endParaRPr lang="es-CL" b="0" i="0" dirty="0">
              <a:solidFill>
                <a:srgbClr val="676767"/>
              </a:solidFill>
              <a:effectLst/>
              <a:latin typeface="PT Sans"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s-CL" b="0" i="0" dirty="0">
                <a:solidFill>
                  <a:srgbClr val="676767"/>
                </a:solidFill>
                <a:effectLst/>
                <a:latin typeface="PT Sans" panose="020B0604020202020204" pitchFamily="34" charset="0"/>
              </a:rPr>
              <a:t>Contar un poco de mí, de mi experiencia en Chile Travel y del cómo hacía las cosas ciegamente. Entrando a la compañía Amadeus me fui dando cuenta del potencial del que me perdía y de lo mucho que estaba haciendo mal. Estaba limitado pensando en el éxito de las acciones.</a:t>
            </a:r>
            <a:endParaRPr lang="es-CL" dirty="0"/>
          </a:p>
          <a:p>
            <a:pPr marL="0" marR="0" indent="0" algn="l" defTabSz="914400" rtl="0" eaLnBrk="1" fontAlgn="base" latinLnBrk="0" hangingPunct="1">
              <a:lnSpc>
                <a:spcPct val="100000"/>
              </a:lnSpc>
              <a:spcBef>
                <a:spcPct val="0"/>
              </a:spcBef>
              <a:spcAft>
                <a:spcPct val="0"/>
              </a:spcAft>
              <a:buClrTx/>
              <a:buSzTx/>
              <a:buFontTx/>
              <a:buNone/>
              <a:tabLst/>
              <a:defRPr/>
            </a:pPr>
            <a:endParaRPr lang="en-US" altLang="es-ES_tradnl" noProof="0" dirty="0"/>
          </a:p>
        </p:txBody>
      </p:sp>
      <p:sp>
        <p:nvSpPr>
          <p:cNvPr id="51203"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defTabSz="457200" fontAlgn="base">
              <a:spcBef>
                <a:spcPct val="0"/>
              </a:spcBef>
              <a:spcAft>
                <a:spcPct val="0"/>
              </a:spcAft>
              <a:defRPr>
                <a:solidFill>
                  <a:schemeClr val="tx1"/>
                </a:solidFill>
                <a:latin typeface="Calibri" charset="0"/>
                <a:ea typeface="ＭＳ Ｐゴシック" charset="-128"/>
              </a:defRPr>
            </a:lvl6pPr>
            <a:lvl7pPr marL="2971800" indent="-228600" defTabSz="457200" fontAlgn="base">
              <a:spcBef>
                <a:spcPct val="0"/>
              </a:spcBef>
              <a:spcAft>
                <a:spcPct val="0"/>
              </a:spcAft>
              <a:defRPr>
                <a:solidFill>
                  <a:schemeClr val="tx1"/>
                </a:solidFill>
                <a:latin typeface="Calibri" charset="0"/>
                <a:ea typeface="ＭＳ Ｐゴシック" charset="-128"/>
              </a:defRPr>
            </a:lvl7pPr>
            <a:lvl8pPr marL="3429000" indent="-228600" defTabSz="457200" fontAlgn="base">
              <a:spcBef>
                <a:spcPct val="0"/>
              </a:spcBef>
              <a:spcAft>
                <a:spcPct val="0"/>
              </a:spcAft>
              <a:defRPr>
                <a:solidFill>
                  <a:schemeClr val="tx1"/>
                </a:solidFill>
                <a:latin typeface="Calibri" charset="0"/>
                <a:ea typeface="ＭＳ Ｐゴシック" charset="-128"/>
              </a:defRPr>
            </a:lvl8pPr>
            <a:lvl9pPr marL="3886200" indent="-228600" defTabSz="457200" fontAlgn="base">
              <a:spcBef>
                <a:spcPct val="0"/>
              </a:spcBef>
              <a:spcAft>
                <a:spcPct val="0"/>
              </a:spcAft>
              <a:defRPr>
                <a:solidFill>
                  <a:schemeClr val="tx1"/>
                </a:solidFill>
                <a:latin typeface="Calibri" charset="0"/>
                <a:ea typeface="ＭＳ Ｐゴシック" charset="-128"/>
              </a:defRPr>
            </a:lvl9pPr>
          </a:lstStyle>
          <a:p>
            <a:pPr fontAlgn="base">
              <a:spcBef>
                <a:spcPct val="0"/>
              </a:spcBef>
              <a:spcAft>
                <a:spcPct val="0"/>
              </a:spcAft>
            </a:pPr>
            <a:endParaRPr lang="es-ES" altLang="es-ES_tradnl"/>
          </a:p>
        </p:txBody>
      </p:sp>
      <p:sp>
        <p:nvSpPr>
          <p:cNvPr id="51204"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defTabSz="457200" fontAlgn="base">
              <a:spcBef>
                <a:spcPct val="0"/>
              </a:spcBef>
              <a:spcAft>
                <a:spcPct val="0"/>
              </a:spcAft>
              <a:defRPr>
                <a:solidFill>
                  <a:schemeClr val="tx1"/>
                </a:solidFill>
                <a:latin typeface="Calibri" charset="0"/>
                <a:ea typeface="ＭＳ Ｐゴシック" charset="-128"/>
              </a:defRPr>
            </a:lvl6pPr>
            <a:lvl7pPr marL="2971800" indent="-228600" defTabSz="457200" fontAlgn="base">
              <a:spcBef>
                <a:spcPct val="0"/>
              </a:spcBef>
              <a:spcAft>
                <a:spcPct val="0"/>
              </a:spcAft>
              <a:defRPr>
                <a:solidFill>
                  <a:schemeClr val="tx1"/>
                </a:solidFill>
                <a:latin typeface="Calibri" charset="0"/>
                <a:ea typeface="ＭＳ Ｐゴシック" charset="-128"/>
              </a:defRPr>
            </a:lvl7pPr>
            <a:lvl8pPr marL="3429000" indent="-228600" defTabSz="457200" fontAlgn="base">
              <a:spcBef>
                <a:spcPct val="0"/>
              </a:spcBef>
              <a:spcAft>
                <a:spcPct val="0"/>
              </a:spcAft>
              <a:defRPr>
                <a:solidFill>
                  <a:schemeClr val="tx1"/>
                </a:solidFill>
                <a:latin typeface="Calibri" charset="0"/>
                <a:ea typeface="ＭＳ Ｐゴシック" charset="-128"/>
              </a:defRPr>
            </a:lvl8pPr>
            <a:lvl9pPr marL="3886200" indent="-228600" defTabSz="457200" fontAlgn="base">
              <a:spcBef>
                <a:spcPct val="0"/>
              </a:spcBef>
              <a:spcAft>
                <a:spcPct val="0"/>
              </a:spcAft>
              <a:defRPr>
                <a:solidFill>
                  <a:schemeClr val="tx1"/>
                </a:solidFill>
                <a:latin typeface="Calibri" charset="0"/>
                <a:ea typeface="ＭＳ Ｐゴシック" charset="-128"/>
              </a:defRPr>
            </a:lvl9pPr>
          </a:lstStyle>
          <a:p>
            <a:fld id="{09E22634-62E2-B540-BC54-C6A4F942ED69}" type="slidenum">
              <a:rPr lang="es-ES" altLang="es-ES_tradnl"/>
              <a:pPr/>
              <a:t>2</a:t>
            </a:fld>
            <a:endParaRPr lang="es-ES" altLang="es-ES_tradnl"/>
          </a:p>
        </p:txBody>
      </p:sp>
    </p:spTree>
    <p:extLst>
      <p:ext uri="{BB962C8B-B14F-4D97-AF65-F5344CB8AC3E}">
        <p14:creationId xmlns:p14="http://schemas.microsoft.com/office/powerpoint/2010/main" val="10205346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a:t>
            </a:r>
            <a:r>
              <a:rPr lang="en-DE"/>
              <a:t>g photo</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Light" panose="020F030202020403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1270014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005919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808772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82600" y="1279525"/>
            <a:ext cx="6138863" cy="3454400"/>
          </a:xfrm>
        </p:spPr>
      </p:sp>
      <p:sp>
        <p:nvSpPr>
          <p:cNvPr id="3" name="Marcador de notas 2"/>
          <p:cNvSpPr>
            <a:spLocks noGrp="1"/>
          </p:cNvSpPr>
          <p:nvPr>
            <p:ph type="body" idx="1"/>
          </p:nvPr>
        </p:nvSpPr>
        <p:spPr/>
        <p:txBody>
          <a:bodyPr/>
          <a:lstStyle/>
          <a:p>
            <a:pPr marL="181240" indent="-181240" defTabSz="966612">
              <a:buFont typeface="Calibri" panose="020F0502020204030204" pitchFamily="34" charset="0"/>
              <a:buChar char="_"/>
              <a:defRPr/>
            </a:pPr>
            <a:r>
              <a:rPr lang="en-GB" baseline="0" dirty="0"/>
              <a:t>Insert new photos: Click on Insert photo-icon on slide and Insert new photo. Use Crop Tool under Picture Tools to pan and zoom</a:t>
            </a:r>
          </a:p>
          <a:p>
            <a:pPr marL="181240" indent="-181240">
              <a:buFont typeface="Calibri" panose="020F0502020204030204" pitchFamily="34" charset="0"/>
              <a:buChar char="_"/>
            </a:pPr>
            <a:r>
              <a:rPr lang="en-US" dirty="0"/>
              <a:t>To update the text,  just click on the text</a:t>
            </a:r>
          </a:p>
          <a:p>
            <a:pPr marL="181240" indent="-181240">
              <a:buFont typeface="Calibri" panose="020F0502020204030204" pitchFamily="34" charset="0"/>
              <a:buChar char="_"/>
            </a:pPr>
            <a:r>
              <a:rPr lang="en-US" dirty="0"/>
              <a:t>More slides with this layout: Copy slide and paste</a:t>
            </a:r>
          </a:p>
          <a:p>
            <a:endParaRPr lang="es-ES" dirty="0"/>
          </a:p>
        </p:txBody>
      </p:sp>
      <p:sp>
        <p:nvSpPr>
          <p:cNvPr id="4" name="Marcador de encabezado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3</a:t>
            </a:fld>
            <a:endParaRPr kumimoji="0" lang="es-E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1662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Light" panose="020F030202020403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38140086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Tradicional: Cara, imprecisa, lenta (muchos pasos),  y tardamos en medir el impacto y poder </a:t>
            </a:r>
            <a:r>
              <a:rPr lang="es-ES" err="1"/>
              <a:t>reacccionar</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494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9416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497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2334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TES:</a:t>
            </a:r>
          </a:p>
          <a:p>
            <a:pPr marL="228600" indent="-228600">
              <a:buAutoNum type="arabicPeriod"/>
            </a:pPr>
            <a:r>
              <a:rPr lang="de-DE" dirty="0"/>
              <a:t>THIS IS A PROPOSAL SLIDE, must be used ONLY FOR PROPOSALS!</a:t>
            </a:r>
          </a:p>
          <a:p>
            <a:pPr marL="228600" indent="-228600">
              <a:buAutoNum type="arabicPeriod"/>
            </a:pPr>
            <a:r>
              <a:rPr lang="de-DE" dirty="0"/>
              <a:t>DO NOT USE THIS SLIDE if you don‘t wanna have the Sub-title, then use slide 1_Title and Content. </a:t>
            </a:r>
          </a:p>
          <a:p>
            <a:pPr marL="228600" indent="-228600">
              <a:buAutoNum type="arabicPeriod"/>
            </a:pPr>
            <a:r>
              <a:rPr lang="de-DE" dirty="0"/>
              <a:t>This applies to the rest of the presentation, </a:t>
            </a:r>
            <a:r>
              <a:rPr lang="de-DE" b="0" i="0" dirty="0">
                <a:solidFill>
                  <a:srgbClr val="00B050"/>
                </a:solidFill>
                <a:latin typeface="Gibson" panose="02000000000000000000" pitchFamily="2" charset="77"/>
              </a:rPr>
              <a:t>THERE ARE 2 SLIDE OPTIONS for every slide from now on, except for the Thank you slides.</a:t>
            </a:r>
          </a:p>
          <a:p>
            <a:pPr marL="228600" indent="-228600">
              <a:buAutoNum type="arabicPeriod"/>
            </a:pPr>
            <a:r>
              <a:rPr lang="de-DE" dirty="0"/>
              <a:t>1. With Sub-title. 2. Without Sub-title. 1 ALWAYS RIGHT BEFORE 2.</a:t>
            </a:r>
          </a:p>
          <a:p>
            <a:pPr marL="228600" indent="-228600">
              <a:buAutoNum type="arabicPeriod"/>
            </a:pPr>
            <a:r>
              <a:rPr lang="de-DE" dirty="0"/>
              <a:t>Keep the Title and Sub-title to ONE LINE please!</a:t>
            </a:r>
          </a:p>
          <a:p>
            <a:pPr marL="228600" indent="-228600">
              <a:buAutoNum type="arabicPeriod"/>
            </a:pPr>
            <a:r>
              <a:rPr lang="de-DE" dirty="0"/>
              <a:t>THERE ARE 5 TEXT SIZES in the text box.</a:t>
            </a:r>
          </a:p>
          <a:p>
            <a:pPr marL="228600" indent="-228600">
              <a:buAutoNum type="arabicPeriod"/>
            </a:pPr>
            <a:r>
              <a:rPr lang="de-DE" dirty="0"/>
              <a:t>Please SELECT REGULAR VERSION of the font for HIGHLIGHTS.</a:t>
            </a:r>
          </a:p>
          <a:p>
            <a:pPr marL="228600" indent="-228600">
              <a:buAutoNum type="arabicPeriod"/>
            </a:pPr>
            <a:r>
              <a:rPr lang="de-DE" dirty="0"/>
              <a:t>To see SMALLER TEXT SIZES, click tab(x4 to get to smallest size), then use size that suits the presentation best. </a:t>
            </a:r>
          </a:p>
          <a:p>
            <a:pPr marL="228600" indent="-228600">
              <a:buAutoNum type="arabicPeriod"/>
            </a:pPr>
            <a:r>
              <a:rPr lang="de-DE" dirty="0"/>
              <a:t>If you don‘t need the FOOTER BOX, please DELETE it.</a:t>
            </a:r>
          </a:p>
          <a:p>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07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s-CL" sz="1800" dirty="0">
                <a:effectLst/>
                <a:latin typeface="Calibri Light" panose="020F0302020204030204" pitchFamily="34" charset="0"/>
                <a:ea typeface="Calibri" panose="020F0502020204030204" pitchFamily="34" charset="0"/>
                <a:cs typeface="Arial" panose="020B0604020202020204" pitchFamily="34" charset="0"/>
              </a:rPr>
              <a:t>Ahora que sabes un poco más sobre mí, me gustaría presentarte a Amadeus, la empresa de viajes más grande del mundo. Cuando hablamos de una orquestación perfecta de datos y puntos de contacto, somos verdaderos expertos. Estamos trabajando con: Más de 400 aerolíneas Más de 160 operadores aeroportuarios Más de 1 millón de propiedades hoteleras Proveedores de movilidad y seguros Agentes de viajes, operadores turísticos y ferroviarios Y lo más importante, más de 70 DMO</a:t>
            </a:r>
            <a:endParaRPr lang="en-US" sz="1400" dirty="0">
              <a:latin typeface="Amadeus" panose="02000506020000020004" pitchFamily="50" charset="0"/>
            </a:endParaRPr>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7769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rtl="0" fontAlgn="base"/>
            <a:r>
              <a:rPr lang="en-GB" sz="1200" u="none" strike="noStrike" kern="1200" dirty="0">
                <a:solidFill>
                  <a:schemeClr val="tx1"/>
                </a:solidFill>
                <a:effectLst/>
                <a:ea typeface="+mn-ea"/>
                <a:cs typeface="+mn-cs"/>
              </a:rPr>
              <a:t>Presenting the 4D Strategy: Define, Discover, Design and Drive that helps to plan and implement an efficient marketing campaign. </a:t>
            </a:r>
          </a:p>
          <a:p>
            <a:pPr rtl="0" fontAlgn="base"/>
            <a:r>
              <a:rPr lang="en-GB" sz="1200" u="none" strike="noStrike" kern="1200" dirty="0">
                <a:solidFill>
                  <a:schemeClr val="tx1"/>
                </a:solidFill>
                <a:effectLst/>
                <a:ea typeface="+mn-ea"/>
                <a:cs typeface="+mn-cs"/>
              </a:rPr>
              <a:t> </a:t>
            </a:r>
          </a:p>
          <a:p>
            <a:pPr rtl="0" fontAlgn="base"/>
            <a:r>
              <a:rPr lang="en-GB" sz="1200" u="none" strike="noStrike" kern="1200" dirty="0">
                <a:solidFill>
                  <a:schemeClr val="tx1"/>
                </a:solidFill>
                <a:effectLst/>
                <a:ea typeface="+mn-ea"/>
                <a:cs typeface="+mn-cs"/>
              </a:rPr>
              <a:t>The 4 D Strategy is a holistic approach to destination marketing (and destination management) that allows Destination Marketing Organizations (DMOs) to: </a:t>
            </a:r>
          </a:p>
          <a:p>
            <a:pPr rtl="0" fontAlgn="base"/>
            <a:r>
              <a:rPr lang="en-GB" sz="1200" u="none" strike="noStrike" kern="1200" dirty="0">
                <a:solidFill>
                  <a:schemeClr val="tx1"/>
                </a:solidFill>
                <a:effectLst/>
                <a:ea typeface="+mn-ea"/>
                <a:cs typeface="+mn-cs"/>
              </a:rPr>
              <a:t> </a:t>
            </a:r>
          </a:p>
          <a:p>
            <a:pPr rtl="0" fontAlgn="base"/>
            <a:r>
              <a:rPr lang="en-GB" sz="1200" u="none" strike="noStrike" kern="1200" dirty="0">
                <a:solidFill>
                  <a:schemeClr val="tx1"/>
                </a:solidFill>
                <a:effectLst/>
                <a:ea typeface="+mn-ea"/>
                <a:cs typeface="+mn-cs"/>
              </a:rPr>
              <a:t>Set strategic goals </a:t>
            </a:r>
          </a:p>
          <a:p>
            <a:pPr rtl="0" fontAlgn="base"/>
            <a:r>
              <a:rPr lang="en-GB" sz="1200" u="none" strike="noStrike" kern="1200" dirty="0">
                <a:solidFill>
                  <a:schemeClr val="tx1"/>
                </a:solidFill>
                <a:effectLst/>
                <a:ea typeface="+mn-ea"/>
                <a:cs typeface="+mn-cs"/>
              </a:rPr>
              <a:t>Navigate through the fast-changing travel market and understand the sweet spot in it </a:t>
            </a:r>
          </a:p>
          <a:p>
            <a:pPr rtl="0" fontAlgn="base"/>
            <a:r>
              <a:rPr lang="en-GB" sz="1200" u="none" strike="noStrike" kern="1200" dirty="0">
                <a:solidFill>
                  <a:schemeClr val="tx1"/>
                </a:solidFill>
                <a:effectLst/>
                <a:ea typeface="+mn-ea"/>
                <a:cs typeface="+mn-cs"/>
              </a:rPr>
              <a:t>Follow </a:t>
            </a:r>
            <a:r>
              <a:rPr lang="en-GB" sz="1200" u="none" strike="noStrike" kern="1200" dirty="0" err="1">
                <a:solidFill>
                  <a:schemeClr val="tx1"/>
                </a:solidFill>
                <a:effectLst/>
                <a:ea typeface="+mn-ea"/>
                <a:cs typeface="+mn-cs"/>
              </a:rPr>
              <a:t>travelers</a:t>
            </a:r>
            <a:r>
              <a:rPr lang="en-GB" sz="1200" u="none" strike="noStrike" kern="1200" dirty="0">
                <a:solidFill>
                  <a:schemeClr val="tx1"/>
                </a:solidFill>
                <a:effectLst/>
                <a:ea typeface="+mn-ea"/>
                <a:cs typeface="+mn-cs"/>
              </a:rPr>
              <a:t> on each stage of the customer journey: from inspiration to actual experience; engage with them and impact their choices </a:t>
            </a:r>
          </a:p>
          <a:p>
            <a:pPr rtl="0" fontAlgn="base"/>
            <a:r>
              <a:rPr lang="en-GB" sz="1200" u="none" strike="noStrike" kern="1200" dirty="0">
                <a:solidFill>
                  <a:schemeClr val="tx1"/>
                </a:solidFill>
                <a:effectLst/>
                <a:ea typeface="+mn-ea"/>
                <a:cs typeface="+mn-cs"/>
              </a:rPr>
              <a:t>Create a win-win-situation for the destination and visitors, enriching </a:t>
            </a:r>
            <a:r>
              <a:rPr lang="en-GB" sz="1200" u="none" strike="noStrike" kern="1200" dirty="0" err="1">
                <a:solidFill>
                  <a:schemeClr val="tx1"/>
                </a:solidFill>
                <a:effectLst/>
                <a:ea typeface="+mn-ea"/>
                <a:cs typeface="+mn-cs"/>
              </a:rPr>
              <a:t>traveler’s</a:t>
            </a:r>
            <a:r>
              <a:rPr lang="en-GB" sz="1200" u="none" strike="noStrike" kern="1200" dirty="0">
                <a:solidFill>
                  <a:schemeClr val="tx1"/>
                </a:solidFill>
                <a:effectLst/>
                <a:ea typeface="+mn-ea"/>
                <a:cs typeface="+mn-cs"/>
              </a:rPr>
              <a:t> experience with contextual ads during the trip. </a:t>
            </a:r>
          </a:p>
          <a:p>
            <a:pPr rtl="0" fontAlgn="base"/>
            <a:r>
              <a:rPr lang="en-GB" sz="1200" u="none" strike="noStrike" kern="1200" dirty="0">
                <a:solidFill>
                  <a:schemeClr val="tx1"/>
                </a:solidFill>
                <a:effectLst/>
                <a:ea typeface="+mn-ea"/>
                <a:cs typeface="+mn-cs"/>
              </a:rPr>
              <a:t> </a:t>
            </a:r>
          </a:p>
          <a:p>
            <a:endParaRPr lang="en-US" dirty="0">
              <a:latin typeface="Gibson 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2064768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pen the presentation talking about how data in business intelligence has changed</a:t>
            </a:r>
          </a:p>
          <a:p>
            <a:pPr marL="171450" indent="-171450">
              <a:buFont typeface="Arial" panose="020B0604020202020204" pitchFamily="34" charset="0"/>
              <a:buChar char="•"/>
            </a:pPr>
            <a:r>
              <a:rPr lang="en-US"/>
              <a:t>Historical norms were disrupted by the pandemic, and hoteliers need to solve new and unique problems</a:t>
            </a:r>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75736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800">
                <a:effectLst/>
                <a:latin typeface="Calibri Light" panose="020F0302020204030204" pitchFamily="34" charset="0"/>
                <a:ea typeface="Calibri" panose="020F0502020204030204" pitchFamily="34" charset="0"/>
                <a:cs typeface="Arial" panose="020B0604020202020204" pitchFamily="34" charset="0"/>
              </a:rPr>
              <a:t>We power great journeys through technology. </a:t>
            </a:r>
            <a:endParaRPr lang="de-DE" sz="18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en-US" sz="1800">
              <a:effectLst/>
              <a:latin typeface="Calibri Light" panose="020F03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800">
                <a:effectLst/>
                <a:latin typeface="Calibri Light" panose="020F0302020204030204" pitchFamily="34" charset="0"/>
                <a:ea typeface="Calibri" panose="020F0502020204030204" pitchFamily="34" charset="0"/>
                <a:cs typeface="Arial" panose="020B0604020202020204" pitchFamily="34" charset="0"/>
              </a:rPr>
              <a:t>The traveler journey takes us through different stages from that initial dreaming and inspirational phase to buying/booking, traveling, experiencing to later sharing with others their post-trip highlights.   </a:t>
            </a:r>
            <a:endParaRPr lang="de-DE" sz="18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en-US" sz="1800">
              <a:effectLst/>
              <a:latin typeface="Calibri Light" panose="020F03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800">
                <a:effectLst/>
                <a:latin typeface="Calibri Light" panose="020F0302020204030204" pitchFamily="34" charset="0"/>
                <a:ea typeface="Calibri" panose="020F0502020204030204" pitchFamily="34" charset="0"/>
                <a:cs typeface="Arial" panose="020B0604020202020204" pitchFamily="34" charset="0"/>
              </a:rPr>
              <a:t>As you can see, this journey can be split into various stages that are closely linked to different data insights that help us to plan and optimize digital advertising campaigns, offering relevant choices of trip and holidays, and even in-destination activities and or off the beaten track places to further enrich the traveler experience. </a:t>
            </a:r>
            <a:endParaRPr lang="de-DE" sz="18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800">
                <a:effectLst/>
                <a:latin typeface="Calibri Light" panose="020F0302020204030204" pitchFamily="34" charset="0"/>
                <a:ea typeface="Calibri" panose="020F0502020204030204" pitchFamily="34" charset="0"/>
                <a:cs typeface="Arial" panose="020B0604020202020204" pitchFamily="34" charset="0"/>
              </a:rPr>
              <a:t>During today’s presentation I will take you through our air search data. </a:t>
            </a:r>
            <a:r>
              <a:rPr lang="en-GB" sz="1800">
                <a:effectLst/>
                <a:latin typeface="Calibri Light" panose="020F0302020204030204" pitchFamily="34" charset="0"/>
                <a:ea typeface="Calibri" panose="020F0502020204030204" pitchFamily="34" charset="0"/>
                <a:cs typeface="Arial" panose="020B0604020202020204" pitchFamily="34" charset="0"/>
              </a:rPr>
              <a:t>When it comes to air searches, </a:t>
            </a:r>
            <a:r>
              <a:rPr lang="en-US" sz="1800">
                <a:effectLst/>
                <a:latin typeface="Calibri Light" panose="020F0302020204030204" pitchFamily="34" charset="0"/>
                <a:ea typeface="Calibri" panose="020F0502020204030204" pitchFamily="34" charset="0"/>
                <a:cs typeface="Arial" panose="020B0604020202020204" pitchFamily="34" charset="0"/>
              </a:rPr>
              <a:t>our technology is used by a large share of global online travel agencies and Metasearch engines. This unique data is not only historical but also</a:t>
            </a:r>
            <a:r>
              <a:rPr lang="en-GB" sz="1800">
                <a:effectLst/>
                <a:latin typeface="Calibri Light" panose="020F0302020204030204" pitchFamily="34" charset="0"/>
                <a:ea typeface="Calibri" panose="020F0502020204030204" pitchFamily="34" charset="0"/>
                <a:cs typeface="Arial" panose="020B0604020202020204" pitchFamily="34" charset="0"/>
              </a:rPr>
              <a:t> forward-looking, indicating travel intentions and demand. </a:t>
            </a:r>
            <a:endParaRPr lang="de-DE" sz="18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Calibri Light" panose="020F0302020204030204" pitchFamily="34" charset="0"/>
                <a:ea typeface="Calibri" panose="020F0502020204030204" pitchFamily="34" charset="0"/>
                <a:cs typeface="Arial" panose="020B0604020202020204" pitchFamily="34" charset="0"/>
              </a:rPr>
              <a:t> </a:t>
            </a:r>
            <a:endParaRPr lang="de-DE" sz="18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Calibri Light" panose="020F0302020204030204" pitchFamily="34" charset="0"/>
                <a:ea typeface="Calibri" panose="020F0502020204030204" pitchFamily="34" charset="0"/>
                <a:cs typeface="Arial" panose="020B0604020202020204" pitchFamily="34" charset="0"/>
              </a:rPr>
              <a:t> </a:t>
            </a:r>
            <a:endParaRPr lang="de-DE" sz="1800">
              <a:effectLst/>
              <a:latin typeface="Calibri" panose="020F0502020204030204" pitchFamily="34" charset="0"/>
              <a:ea typeface="Calibri" panose="020F0502020204030204" pitchFamily="34" charset="0"/>
              <a:cs typeface="Arial" panose="020B0604020202020204" pitchFamily="34" charset="0"/>
            </a:endParaRPr>
          </a:p>
          <a:p>
            <a:endParaRPr lang="de-DE" b="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srgbClr val="000000"/>
                </a:solidFill>
                <a:effectLst/>
                <a:uLnTx/>
                <a:uFillTx/>
                <a:latin typeface="Calibri Light" panose="020F030202020403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205256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s avid travelers ourselves, we know it takes one to know one. </a:t>
            </a:r>
          </a:p>
          <a:p>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madeus we are always looking for ways to keep our customers and partners at the forefront of the latest trends so they can provide travelers with a consistent, personalized experience throughout their journey - from inspiration, search and booking to ticketing, check-in and arriving home.</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So, one of our main priorities is to link our strategies and solutions to a behavioral understanding of the travelers’ journeys. </a:t>
            </a:r>
          </a:p>
          <a:p>
            <a:endParaRPr lang="en-GB" dirty="0"/>
          </a:p>
        </p:txBody>
      </p:sp>
      <p:sp>
        <p:nvSpPr>
          <p:cNvPr id="4" name="Header Placeholder 3"/>
          <p:cNvSpPr>
            <a:spLocks noGrp="1"/>
          </p:cNvSpPr>
          <p:nvPr>
            <p:ph type="hdr" sz="quarter" idx="10"/>
          </p:nvPr>
        </p:nvSpPr>
        <p:spPr/>
        <p:txBody>
          <a:bodyPr/>
          <a:lstStyle/>
          <a:p>
            <a:pPr>
              <a:defRPr/>
            </a:pPr>
            <a:endParaRPr lang="es-ES"/>
          </a:p>
        </p:txBody>
      </p:sp>
      <p:sp>
        <p:nvSpPr>
          <p:cNvPr id="5" name="Slide Number Placeholder 4"/>
          <p:cNvSpPr>
            <a:spLocks noGrp="1"/>
          </p:cNvSpPr>
          <p:nvPr>
            <p:ph type="sldNum" sz="quarter" idx="11"/>
          </p:nvPr>
        </p:nvSpPr>
        <p:spPr/>
        <p:txBody>
          <a:bodyPr/>
          <a:lstStyle/>
          <a:p>
            <a:fld id="{C5457EE0-05FF-A84C-A283-BBF5238B8213}" type="slidenum">
              <a:rPr lang="es-ES" altLang="es-ES_tradnl" smtClean="0"/>
              <a:pPr/>
              <a:t>5</a:t>
            </a:fld>
            <a:endParaRPr lang="es-ES" altLang="es-ES_tradnl"/>
          </a:p>
        </p:txBody>
      </p:sp>
    </p:spTree>
    <p:extLst>
      <p:ext uri="{BB962C8B-B14F-4D97-AF65-F5344CB8AC3E}">
        <p14:creationId xmlns:p14="http://schemas.microsoft.com/office/powerpoint/2010/main" val="55411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s avid travelers ourselves, we know it takes one to know one. </a:t>
            </a:r>
          </a:p>
          <a:p>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madeus we are always looking for ways to keep our customers and partners at the forefront of the latest trends so they can provide travelers with a consistent, personalized experience throughout their journey - from inspiration, search and booking to ticketing, check-in and arriving home.</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So, one of our main priorities is to link our strategies and solutions to a behavioral understanding of the travelers’ journeys. </a:t>
            </a:r>
          </a:p>
          <a:p>
            <a:endParaRPr lang="en-GB" dirty="0"/>
          </a:p>
        </p:txBody>
      </p:sp>
      <p:sp>
        <p:nvSpPr>
          <p:cNvPr id="4" name="Header Placeholder 3"/>
          <p:cNvSpPr>
            <a:spLocks noGrp="1"/>
          </p:cNvSpPr>
          <p:nvPr>
            <p:ph type="hdr" sz="quarter" idx="10"/>
          </p:nvPr>
        </p:nvSpPr>
        <p:spPr/>
        <p:txBody>
          <a:bodyPr/>
          <a:lstStyle/>
          <a:p>
            <a:pPr>
              <a:defRPr/>
            </a:pPr>
            <a:endParaRPr lang="es-ES"/>
          </a:p>
        </p:txBody>
      </p:sp>
      <p:sp>
        <p:nvSpPr>
          <p:cNvPr id="5" name="Slide Number Placeholder 4"/>
          <p:cNvSpPr>
            <a:spLocks noGrp="1"/>
          </p:cNvSpPr>
          <p:nvPr>
            <p:ph type="sldNum" sz="quarter" idx="11"/>
          </p:nvPr>
        </p:nvSpPr>
        <p:spPr/>
        <p:txBody>
          <a:bodyPr/>
          <a:lstStyle/>
          <a:p>
            <a:fld id="{C5457EE0-05FF-A84C-A283-BBF5238B8213}" type="slidenum">
              <a:rPr lang="es-ES" altLang="es-ES_tradnl" smtClean="0"/>
              <a:pPr/>
              <a:t>6</a:t>
            </a:fld>
            <a:endParaRPr lang="es-ES" altLang="es-ES_tradnl"/>
          </a:p>
        </p:txBody>
      </p:sp>
    </p:spTree>
    <p:extLst>
      <p:ext uri="{BB962C8B-B14F-4D97-AF65-F5344CB8AC3E}">
        <p14:creationId xmlns:p14="http://schemas.microsoft.com/office/powerpoint/2010/main" val="544758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ED7BB1-61EA-2649-9D0C-65595B8B03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670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defTabSz="914400">
              <a:lnSpc>
                <a:spcPct val="100000"/>
              </a:lnSpc>
              <a:spcBef>
                <a:spcPts val="0"/>
              </a:spcBef>
              <a:defRPr/>
            </a:pPr>
            <a:r>
              <a:rPr kumimoji="0" lang="en-US" sz="12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rPr>
              <a:t>1. </a:t>
            </a:r>
            <a:r>
              <a:rPr kumimoji="0" lang="es-CL" sz="1200" b="1" i="0" u="none" strike="noStrike" kern="1200" cap="none" spc="0" normalizeH="0" baseline="0" noProof="0" dirty="0">
                <a:ln>
                  <a:noFill/>
                </a:ln>
                <a:solidFill>
                  <a:prstClr val="black">
                    <a:lumMod val="75000"/>
                  </a:prstClr>
                </a:solidFill>
                <a:effectLst/>
                <a:uLnTx/>
                <a:uFillTx/>
                <a:latin typeface="+mj-lt"/>
                <a:ea typeface="+mn-ea"/>
                <a:cs typeface="Poppins" panose="00000500000000000000" pitchFamily="2" charset="0"/>
              </a:rPr>
              <a:t>Entiendo el desempeño que tiene mi organización debido a datos que están a mi alcance y que tienen directa relación sobre mi organización.</a:t>
            </a:r>
          </a:p>
          <a:p>
            <a:pPr lvl="0" algn="l" defTabSz="914400">
              <a:lnSpc>
                <a:spcPct val="100000"/>
              </a:lnSpc>
              <a:spcBef>
                <a:spcPts val="0"/>
              </a:spcBef>
              <a:defRPr/>
            </a:pPr>
            <a:endParaRPr lang="es-CL" sz="1200" b="1" dirty="0">
              <a:solidFill>
                <a:prstClr val="black">
                  <a:lumMod val="75000"/>
                </a:prstClr>
              </a:solidFill>
              <a:latin typeface="+mj-lt"/>
              <a:cs typeface="Poppins" panose="00000500000000000000" pitchFamily="2" charset="0"/>
            </a:endParaRPr>
          </a:p>
          <a:p>
            <a:pPr lvl="0" algn="l" defTabSz="914400">
              <a:lnSpc>
                <a:spcPct val="100000"/>
              </a:lnSpc>
              <a:spcBef>
                <a:spcPts val="0"/>
              </a:spcBef>
              <a:defRPr/>
            </a:pPr>
            <a:r>
              <a:rPr kumimoji="0" lang="es-CL" sz="1200" b="1" i="0" u="none" strike="noStrike" kern="1200" cap="none" spc="0" normalizeH="0" baseline="0" noProof="0" dirty="0">
                <a:ln>
                  <a:noFill/>
                </a:ln>
                <a:solidFill>
                  <a:prstClr val="black">
                    <a:lumMod val="75000"/>
                  </a:prstClr>
                </a:solidFill>
                <a:effectLst/>
                <a:uLnTx/>
                <a:uFillTx/>
                <a:latin typeface="+mj-lt"/>
                <a:ea typeface="+mn-ea"/>
                <a:cs typeface="Poppins" panose="00000500000000000000" pitchFamily="2" charset="0"/>
              </a:rPr>
              <a:t>Identifico, recopilo, comparo y evalúo utilizando fuentes de datos relacionadas a cómo mi organización se desempeña.</a:t>
            </a:r>
            <a:endParaRPr kumimoji="0" lang="en-US" sz="1200" b="1" i="0" u="none" strike="noStrike" kern="1200" cap="none" spc="0" normalizeH="0" baseline="0" noProof="0" dirty="0">
              <a:ln>
                <a:noFill/>
              </a:ln>
              <a:solidFill>
                <a:prstClr val="black">
                  <a:lumMod val="75000"/>
                </a:prstClr>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rPr>
              <a:t>2. </a:t>
            </a:r>
            <a:r>
              <a:rPr lang="es-CL" sz="1200" b="1" dirty="0">
                <a:solidFill>
                  <a:prstClr val="white"/>
                </a:solidFill>
                <a:latin typeface="+mj-lt"/>
                <a:cs typeface="Poppins" panose="00000500000000000000" pitchFamily="2" charset="0"/>
              </a:rPr>
              <a:t>No </a:t>
            </a:r>
            <a:r>
              <a:rPr kumimoji="0" lang="es-CL" sz="1200" b="1" i="0" u="none" strike="noStrike" kern="1200" cap="none" spc="0" normalizeH="0" baseline="0" noProof="0" dirty="0">
                <a:ln>
                  <a:noFill/>
                </a:ln>
                <a:solidFill>
                  <a:prstClr val="white"/>
                </a:solidFill>
                <a:effectLst/>
                <a:uLnTx/>
                <a:uFillTx/>
                <a:latin typeface="+mj-lt"/>
                <a:ea typeface="+mn-ea"/>
                <a:cs typeface="Poppins" panose="00000500000000000000" pitchFamily="2" charset="0"/>
              </a:rPr>
              <a:t>solamente entiendo lo que </a:t>
            </a:r>
            <a:r>
              <a:rPr lang="es-CL" sz="1200" b="1" dirty="0">
                <a:solidFill>
                  <a:prstClr val="white"/>
                </a:solidFill>
                <a:latin typeface="+mj-lt"/>
                <a:cs typeface="Poppins" panose="00000500000000000000" pitchFamily="2" charset="0"/>
              </a:rPr>
              <a:t>ocurre a mi organización, sino que a todas las organizaciones</a:t>
            </a:r>
            <a:r>
              <a:rPr kumimoji="0" lang="es-CL" sz="1200" b="1" i="0" u="none" strike="noStrike" kern="1200" cap="none" spc="0" normalizeH="0" baseline="0" noProof="0" dirty="0">
                <a:ln>
                  <a:noFill/>
                </a:ln>
                <a:solidFill>
                  <a:prstClr val="white"/>
                </a:solidFill>
                <a:effectLst/>
                <a:uLnTx/>
                <a:uFillTx/>
                <a:latin typeface="+mj-lt"/>
                <a:ea typeface="+mn-ea"/>
                <a:cs typeface="Poppins" panose="00000500000000000000" pitchFamily="2" charset="0"/>
              </a:rPr>
              <a:t>. </a:t>
            </a:r>
            <a:endParaRPr lang="es-CL" sz="1200" b="1" dirty="0">
              <a:solidFill>
                <a:prstClr val="white"/>
              </a:solidFill>
              <a:latin typeface="+mj-lt"/>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1" i="0" u="none" strike="noStrike" kern="1200" cap="none" spc="0" normalizeH="0" baseline="0" noProof="0" dirty="0">
              <a:ln>
                <a:noFill/>
              </a:ln>
              <a:solidFill>
                <a:prstClr val="white"/>
              </a:solidFill>
              <a:effectLst/>
              <a:uLnTx/>
              <a:uFillTx/>
              <a:latin typeface="+mj-lt"/>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b="1" dirty="0">
                <a:solidFill>
                  <a:prstClr val="white"/>
                </a:solidFill>
                <a:latin typeface="+mj-lt"/>
                <a:cs typeface="Poppins" panose="00000500000000000000" pitchFamily="2" charset="0"/>
              </a:rPr>
              <a:t>Identifico cómo es percibida mi organización, cómo se posiciona y se diferencia de su competencia. Entiendo además los logros y fracasos de mi competenc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1200" b="1" i="0" u="none" strike="noStrike" kern="1200" cap="none" spc="0" normalizeH="0" baseline="0" noProof="0" dirty="0">
              <a:ln>
                <a:noFill/>
              </a:ln>
              <a:solidFill>
                <a:prstClr val="white"/>
              </a:solidFill>
              <a:effectLst/>
              <a:uLnTx/>
              <a:uFillTx/>
              <a:latin typeface="+mj-lt"/>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white"/>
                </a:solidFill>
                <a:effectLst/>
                <a:uLnTx/>
                <a:uFillTx/>
                <a:latin typeface="+mj-lt"/>
                <a:ea typeface="+mn-ea"/>
                <a:cs typeface="Poppins" panose="00000500000000000000" pitchFamily="2" charset="0"/>
              </a:rPr>
              <a:t>Entiendo perfectamente cuál es mi demanda potencial y cómo se comporta para atraerlos hacia mis productos/servici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endParaRPr>
          </a:p>
          <a:p>
            <a:pPr lvl="0" algn="l" defTabSz="914400">
              <a:lnSpc>
                <a:spcPct val="100000"/>
              </a:lnSpc>
              <a:spcBef>
                <a:spcPts val="0"/>
              </a:spcBef>
              <a:defRPr/>
            </a:pPr>
            <a:endParaRPr kumimoji="0" lang="en-US" sz="1200" b="0" i="0" u="none" strike="noStrike" kern="1200" cap="none" spc="0" normalizeH="0" baseline="0" noProof="0" dirty="0">
              <a:ln>
                <a:noFill/>
              </a:ln>
              <a:solidFill>
                <a:prstClr val="black">
                  <a:lumMod val="75000"/>
                </a:prstClr>
              </a:solidFill>
              <a:effectLst/>
              <a:uLnTx/>
              <a:uFillTx/>
              <a:latin typeface="Poppins" panose="00000500000000000000" pitchFamily="2" charset="0"/>
              <a:ea typeface="+mn-ea"/>
              <a:cs typeface="Poppins" panose="00000500000000000000" pitchFamily="2" charset="0"/>
            </a:endParaRPr>
          </a:p>
          <a:p>
            <a:endParaRPr lang="es-CL" dirty="0"/>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7F98739B-D4C8-44A6-B797-7501FD315B16}" type="slidenum">
              <a:rPr lang="en-GB" smtClean="0"/>
              <a:pPr/>
              <a:t>8</a:t>
            </a:fld>
            <a:endParaRPr lang="en-GB"/>
          </a:p>
        </p:txBody>
      </p:sp>
    </p:spTree>
    <p:extLst>
      <p:ext uri="{BB962C8B-B14F-4D97-AF65-F5344CB8AC3E}">
        <p14:creationId xmlns:p14="http://schemas.microsoft.com/office/powerpoint/2010/main" val="2685597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8850" y="3418070"/>
            <a:ext cx="7615096" cy="3492051"/>
          </a:xfrm>
        </p:spPr>
        <p:txBody>
          <a:bodyPr/>
          <a:lstStyle/>
          <a:p>
            <a:r>
              <a:rPr lang="en-US" sz="800" b="1" dirty="0"/>
              <a:t>Local market presence places us close to YOU across the Americas</a:t>
            </a:r>
          </a:p>
          <a:p>
            <a:endParaRPr lang="en-US" sz="800" b="1" dirty="0"/>
          </a:p>
          <a:p>
            <a:r>
              <a:rPr lang="en-US" sz="800" dirty="0"/>
              <a:t>Over the past 20-plus years, our company has experienced remarkable growth. That growth includes presence across Latin America -- plus office locations that meet your business requirements.  </a:t>
            </a:r>
          </a:p>
          <a:p>
            <a:endParaRPr lang="en-US" sz="800" dirty="0"/>
          </a:p>
          <a:p>
            <a:r>
              <a:rPr lang="en-US" sz="800" dirty="0"/>
              <a:t>This expansion is due to our INVESTMENT in </a:t>
            </a:r>
            <a:r>
              <a:rPr lang="en-US" sz="800" b="1" dirty="0"/>
              <a:t>technology, R&amp;D, people </a:t>
            </a:r>
            <a:r>
              <a:rPr lang="en-US" sz="800" dirty="0"/>
              <a:t>– and of course, </a:t>
            </a:r>
            <a:r>
              <a:rPr lang="en-US" sz="800" b="1" dirty="0"/>
              <a:t>YOU, our customer. </a:t>
            </a:r>
          </a:p>
          <a:p>
            <a:endParaRPr lang="en-US" sz="800" b="1" dirty="0"/>
          </a:p>
          <a:p>
            <a:r>
              <a:rPr lang="en-US" sz="800" dirty="0"/>
              <a:t>We believe it’s essential </a:t>
            </a:r>
            <a:r>
              <a:rPr lang="en-US" sz="800" b="1" dirty="0"/>
              <a:t>to show strong presence </a:t>
            </a:r>
            <a:r>
              <a:rPr lang="en-US" sz="800" dirty="0"/>
              <a:t>in the markets where our customers do business. </a:t>
            </a:r>
          </a:p>
          <a:p>
            <a:endParaRPr lang="en-US" sz="800" dirty="0"/>
          </a:p>
          <a:p>
            <a:r>
              <a:rPr lang="en-US" sz="800" b="1" dirty="0"/>
              <a:t>11 Offices in North America</a:t>
            </a:r>
          </a:p>
          <a:p>
            <a:endParaRPr lang="en-US" sz="800" b="1" dirty="0"/>
          </a:p>
          <a:p>
            <a:pPr marL="228600" indent="-228600">
              <a:buAutoNum type="arabicPeriod"/>
            </a:pPr>
            <a:r>
              <a:rPr lang="en-US" sz="800" dirty="0"/>
              <a:t>Atlanta</a:t>
            </a:r>
          </a:p>
          <a:p>
            <a:pPr marL="228600" indent="-228600">
              <a:buAutoNum type="arabicPeriod"/>
            </a:pPr>
            <a:r>
              <a:rPr lang="en-US" sz="800" dirty="0"/>
              <a:t>Chicago</a:t>
            </a:r>
          </a:p>
          <a:p>
            <a:pPr marL="228600" indent="-228600">
              <a:buAutoNum type="arabicPeriod"/>
            </a:pPr>
            <a:r>
              <a:rPr lang="en-US" sz="800" dirty="0"/>
              <a:t>Dallas</a:t>
            </a:r>
          </a:p>
          <a:p>
            <a:pPr marL="228600" indent="-228600">
              <a:buAutoNum type="arabicPeriod"/>
            </a:pPr>
            <a:r>
              <a:rPr lang="en-US" sz="800" dirty="0"/>
              <a:t>Salt Lake City</a:t>
            </a:r>
          </a:p>
          <a:p>
            <a:pPr marL="228600" indent="-228600">
              <a:buAutoNum type="arabicPeriod"/>
            </a:pPr>
            <a:r>
              <a:rPr lang="en-US" sz="800" dirty="0"/>
              <a:t>Miami</a:t>
            </a:r>
          </a:p>
          <a:p>
            <a:pPr marL="228600" indent="-228600">
              <a:buAutoNum type="arabicPeriod"/>
            </a:pPr>
            <a:r>
              <a:rPr lang="en-US" sz="800" dirty="0"/>
              <a:t>Minneapolis</a:t>
            </a:r>
          </a:p>
          <a:p>
            <a:pPr marL="228600" indent="-228600">
              <a:buAutoNum type="arabicPeriod"/>
            </a:pPr>
            <a:r>
              <a:rPr lang="en-US" sz="800" dirty="0"/>
              <a:t>New York City</a:t>
            </a:r>
          </a:p>
          <a:p>
            <a:pPr marL="228600" indent="-228600">
              <a:buAutoNum type="arabicPeriod"/>
            </a:pPr>
            <a:r>
              <a:rPr lang="en-US" sz="800" dirty="0"/>
              <a:t>Orlando </a:t>
            </a:r>
          </a:p>
          <a:p>
            <a:pPr marL="228600" indent="-228600">
              <a:buAutoNum type="arabicPeriod"/>
            </a:pPr>
            <a:r>
              <a:rPr lang="en-US" sz="800" dirty="0"/>
              <a:t>Ottawa</a:t>
            </a:r>
          </a:p>
          <a:p>
            <a:pPr marL="228600" indent="-228600">
              <a:buAutoNum type="arabicPeriod"/>
            </a:pPr>
            <a:r>
              <a:rPr lang="en-US" sz="800" dirty="0"/>
              <a:t>Portsmouth</a:t>
            </a:r>
          </a:p>
          <a:p>
            <a:pPr marL="228600" indent="-228600">
              <a:buAutoNum type="arabicPeriod"/>
            </a:pPr>
            <a:r>
              <a:rPr lang="en-US" sz="800" dirty="0"/>
              <a:t>Tucson</a:t>
            </a:r>
          </a:p>
          <a:p>
            <a:endParaRPr lang="en-US" sz="800" b="1" dirty="0"/>
          </a:p>
          <a:p>
            <a:r>
              <a:rPr lang="en-US" sz="800" b="1" dirty="0"/>
              <a:t>7 Amadeus offices in Latin America include:</a:t>
            </a:r>
          </a:p>
          <a:p>
            <a:endParaRPr lang="en-US" sz="800" dirty="0"/>
          </a:p>
          <a:p>
            <a:pPr marL="228600" indent="-228600">
              <a:buAutoNum type="arabicPeriod"/>
            </a:pPr>
            <a:r>
              <a:rPr lang="en-US" sz="800" dirty="0"/>
              <a:t>Bogota</a:t>
            </a:r>
          </a:p>
          <a:p>
            <a:pPr marL="228600" indent="-228600">
              <a:buAutoNum type="arabicPeriod"/>
            </a:pPr>
            <a:r>
              <a:rPr lang="en-US" sz="800" dirty="0"/>
              <a:t>Buenos Aires</a:t>
            </a:r>
          </a:p>
          <a:p>
            <a:pPr marL="228600" indent="-228600">
              <a:buAutoNum type="arabicPeriod"/>
            </a:pPr>
            <a:r>
              <a:rPr lang="en-US" sz="800" dirty="0"/>
              <a:t>Lima</a:t>
            </a:r>
          </a:p>
          <a:p>
            <a:pPr marL="228600" indent="-228600">
              <a:buAutoNum type="arabicPeriod"/>
            </a:pPr>
            <a:r>
              <a:rPr lang="en-US" sz="800" dirty="0"/>
              <a:t>Mexico City</a:t>
            </a:r>
          </a:p>
          <a:p>
            <a:pPr marL="228600" indent="-228600">
              <a:buAutoNum type="arabicPeriod"/>
            </a:pPr>
            <a:r>
              <a:rPr lang="en-US" sz="800" dirty="0"/>
              <a:t>San Jose</a:t>
            </a:r>
          </a:p>
          <a:p>
            <a:pPr marL="228600" indent="-228600">
              <a:buAutoNum type="arabicPeriod"/>
            </a:pPr>
            <a:r>
              <a:rPr lang="en-US" sz="800" dirty="0"/>
              <a:t>Santiago</a:t>
            </a:r>
          </a:p>
          <a:p>
            <a:pPr marL="228600" indent="-228600">
              <a:buAutoNum type="arabicPeriod"/>
            </a:pPr>
            <a:r>
              <a:rPr lang="en-US" sz="800" dirty="0"/>
              <a:t>Sao Paulo</a:t>
            </a:r>
          </a:p>
          <a:p>
            <a:endParaRPr lang="en-US" sz="800" dirty="0"/>
          </a:p>
          <a:p>
            <a:r>
              <a:rPr lang="en-US" sz="800" dirty="0"/>
              <a:t>[</a:t>
            </a:r>
            <a:r>
              <a:rPr lang="en-US" sz="800" b="1" dirty="0"/>
              <a:t>PRESENTER: </a:t>
            </a:r>
            <a:r>
              <a:rPr lang="en-US" sz="800" dirty="0"/>
              <a:t>Feel free to re-order these talk points to fit your location, market, and local audience.]</a:t>
            </a:r>
          </a:p>
          <a:p>
            <a:endParaRPr lang="en-US" sz="800" dirty="0"/>
          </a:p>
          <a:p>
            <a:r>
              <a:rPr lang="en-US" sz="800" dirty="0"/>
              <a:t>****</a:t>
            </a:r>
          </a:p>
          <a:p>
            <a:endParaRPr lang="en-US" sz="800" dirty="0"/>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26533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11.emf"/><Relationship Id="rId4" Type="http://schemas.microsoft.com/office/2007/relationships/hdphoto" Target="../media/hdphoto1.wdp"/></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11.emf"/><Relationship Id="rId4" Type="http://schemas.microsoft.com/office/2007/relationships/hdphoto" Target="../media/hdphoto2.wdp"/></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14.emf"/><Relationship Id="rId4" Type="http://schemas.microsoft.com/office/2007/relationships/hdphoto" Target="../media/hdphoto3.wdp"/></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3.xml"/><Relationship Id="rId6" Type="http://schemas.openxmlformats.org/officeDocument/2006/relationships/image" Target="../media/image26.png"/><Relationship Id="rId5" Type="http://schemas.openxmlformats.org/officeDocument/2006/relationships/image" Target="../media/image11.emf"/><Relationship Id="rId4" Type="http://schemas.microsoft.com/office/2007/relationships/hdphoto" Target="../media/hdphoto4.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8.svg"/><Relationship Id="rId4" Type="http://schemas.openxmlformats.org/officeDocument/2006/relationships/image" Target="../media/image16.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34.png"/><Relationship Id="rId7"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6.xml"/><Relationship Id="rId6" Type="http://schemas.openxmlformats.org/officeDocument/2006/relationships/image" Target="../media/image31.emf"/><Relationship Id="rId5" Type="http://schemas.openxmlformats.org/officeDocument/2006/relationships/image" Target="../media/image11.emf"/><Relationship Id="rId4" Type="http://schemas.microsoft.com/office/2007/relationships/hdphoto" Target="../media/hdphoto5.wdp"/></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36.png"/><Relationship Id="rId7" Type="http://schemas.openxmlformats.org/officeDocument/2006/relationships/image" Target="../media/image11.emf"/><Relationship Id="rId2" Type="http://schemas.openxmlformats.org/officeDocument/2006/relationships/image" Target="../media/image35.jpeg"/><Relationship Id="rId1" Type="http://schemas.openxmlformats.org/officeDocument/2006/relationships/slideMaster" Target="../slideMasters/slideMaster6.xml"/><Relationship Id="rId6" Type="http://schemas.openxmlformats.org/officeDocument/2006/relationships/image" Target="../media/image32.png"/><Relationship Id="rId5" Type="http://schemas.openxmlformats.org/officeDocument/2006/relationships/image" Target="../media/image31.emf"/><Relationship Id="rId4" Type="http://schemas.microsoft.com/office/2007/relationships/hdphoto" Target="../media/hdphoto6.wdp"/></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34.png"/><Relationship Id="rId7" Type="http://schemas.openxmlformats.org/officeDocument/2006/relationships/image" Target="../media/image11.emf"/><Relationship Id="rId2" Type="http://schemas.openxmlformats.org/officeDocument/2006/relationships/image" Target="../media/image37.jpeg"/><Relationship Id="rId1" Type="http://schemas.openxmlformats.org/officeDocument/2006/relationships/slideMaster" Target="../slideMasters/slideMaster6.xml"/><Relationship Id="rId6" Type="http://schemas.openxmlformats.org/officeDocument/2006/relationships/image" Target="../media/image32.png"/><Relationship Id="rId5" Type="http://schemas.openxmlformats.org/officeDocument/2006/relationships/image" Target="../media/image31.emf"/><Relationship Id="rId4" Type="http://schemas.microsoft.com/office/2007/relationships/hdphoto" Target="../media/hdphoto5.wdp"/></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jpe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1.emf"/><Relationship Id="rId4" Type="http://schemas.openxmlformats.org/officeDocument/2006/relationships/image" Target="../media/image32.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8.xml"/><Relationship Id="rId4" Type="http://schemas.openxmlformats.org/officeDocument/2006/relationships/image" Target="../media/image1.emf"/></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10.xml"/><Relationship Id="rId4" Type="http://schemas.openxmlformats.org/officeDocument/2006/relationships/image" Target="../media/image1.emf"/></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4.xml"/><Relationship Id="rId1" Type="http://schemas.openxmlformats.org/officeDocument/2006/relationships/tags" Target="../tags/tag12.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a:prstGeom prst="rect">
            <a:avLst/>
          </a:prstGeom>
        </p:spPr>
        <p:txBody>
          <a:bodyPr anchor="b">
            <a:noAutofit/>
          </a:bodyPr>
          <a:lstStyle>
            <a:lvl1pPr>
              <a:lnSpc>
                <a:spcPts val="6000"/>
              </a:lnSpc>
              <a:defRPr sz="6000" b="0" i="0" baseline="0">
                <a:solidFill>
                  <a:schemeClr val="tx2"/>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576265" y="2277861"/>
            <a:ext cx="6773659" cy="864000"/>
          </a:xfrm>
          <a:prstGeom prst="rect">
            <a:avLst/>
          </a:prstGeom>
        </p:spPr>
        <p:txBody>
          <a:bodyPr>
            <a:noAutofit/>
          </a:bodyPr>
          <a:lstStyle>
            <a:lvl1pPr marL="0" indent="0">
              <a:lnSpc>
                <a:spcPct val="100000"/>
              </a:lnSpc>
              <a:buNone/>
              <a:defRPr sz="2400" b="0" i="0" baseline="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rgbClr val="323232"/>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1367357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9"/>
            <a:ext cx="4560866" cy="1349538"/>
          </a:xfrm>
          <a:prstGeom prst="rect">
            <a:avLst/>
          </a:prstGeom>
        </p:spPr>
        <p:txBody>
          <a:bodyPr>
            <a:noAutofit/>
          </a:bodyPr>
          <a:lstStyle>
            <a:lvl1pPr marL="0" indent="0">
              <a:lnSpc>
                <a:spcPts val="1425"/>
              </a:lnSpc>
              <a:buNone/>
              <a:defRPr sz="240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3" name="Title 1"/>
          <p:cNvSpPr>
            <a:spLocks noGrp="1"/>
          </p:cNvSpPr>
          <p:nvPr>
            <p:ph type="title"/>
          </p:nvPr>
        </p:nvSpPr>
        <p:spPr>
          <a:xfrm>
            <a:off x="622570" y="188913"/>
            <a:ext cx="10928053"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20"/>
          </p:nvPr>
        </p:nvSpPr>
        <p:spPr>
          <a:xfrm>
            <a:off x="621860" y="779412"/>
            <a:ext cx="10904161"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6340220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2" y="2154358"/>
            <a:ext cx="6548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spTree>
    <p:extLst>
      <p:ext uri="{BB962C8B-B14F-4D97-AF65-F5344CB8AC3E}">
        <p14:creationId xmlns:p14="http://schemas.microsoft.com/office/powerpoint/2010/main" val="62774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sp>
        <p:nvSpPr>
          <p:cNvPr id="15" name="Content Placeholder 2">
            <a:extLst>
              <a:ext uri="{FF2B5EF4-FFF2-40B4-BE49-F238E27FC236}">
                <a16:creationId xmlns:a16="http://schemas.microsoft.com/office/drawing/2014/main" id="{57560E50-0346-CF4E-A099-E0A994E75385}"/>
              </a:ext>
            </a:extLst>
          </p:cNvPr>
          <p:cNvSpPr>
            <a:spLocks noGrp="1"/>
          </p:cNvSpPr>
          <p:nvPr>
            <p:ph idx="26" hasCustomPrompt="1"/>
          </p:nvPr>
        </p:nvSpPr>
        <p:spPr>
          <a:xfrm>
            <a:off x="617693" y="1908061"/>
            <a:ext cx="654839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6" name="Title 1">
            <a:extLst>
              <a:ext uri="{FF2B5EF4-FFF2-40B4-BE49-F238E27FC236}">
                <a16:creationId xmlns:a16="http://schemas.microsoft.com/office/drawing/2014/main" id="{CCD04EB8-DC64-6E43-BC6B-ED620D418F5A}"/>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15929499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2" y="2154358"/>
            <a:ext cx="60879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28" name="Footer Placeholder 4">
            <a:extLst>
              <a:ext uri="{FF2B5EF4-FFF2-40B4-BE49-F238E27FC236}">
                <a16:creationId xmlns:a16="http://schemas.microsoft.com/office/drawing/2014/main" id="{5D3068BC-5471-B44F-9FA2-0957E0FE976D}"/>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9" name="Text Placeholder 4">
            <a:extLst>
              <a:ext uri="{FF2B5EF4-FFF2-40B4-BE49-F238E27FC236}">
                <a16:creationId xmlns:a16="http://schemas.microsoft.com/office/drawing/2014/main" id="{A10C9537-B16D-394F-83FB-740A6A55232D}"/>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Tree>
    <p:extLst>
      <p:ext uri="{BB962C8B-B14F-4D97-AF65-F5344CB8AC3E}">
        <p14:creationId xmlns:p14="http://schemas.microsoft.com/office/powerpoint/2010/main" val="31431939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8" name="Content Placeholder 2">
            <a:extLst>
              <a:ext uri="{FF2B5EF4-FFF2-40B4-BE49-F238E27FC236}">
                <a16:creationId xmlns:a16="http://schemas.microsoft.com/office/drawing/2014/main" id="{46F634A7-3DCC-7E40-AA8E-69EC11FC63D4}"/>
              </a:ext>
            </a:extLst>
          </p:cNvPr>
          <p:cNvSpPr>
            <a:spLocks noGrp="1"/>
          </p:cNvSpPr>
          <p:nvPr>
            <p:ph idx="26" hasCustomPrompt="1"/>
          </p:nvPr>
        </p:nvSpPr>
        <p:spPr>
          <a:xfrm>
            <a:off x="617693" y="1908061"/>
            <a:ext cx="6087907"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9" name="Title 1">
            <a:extLst>
              <a:ext uri="{FF2B5EF4-FFF2-40B4-BE49-F238E27FC236}">
                <a16:creationId xmlns:a16="http://schemas.microsoft.com/office/drawing/2014/main" id="{63454A8E-216F-4B48-861C-1037CD05B175}"/>
              </a:ext>
            </a:extLst>
          </p:cNvPr>
          <p:cNvSpPr>
            <a:spLocks noGrp="1"/>
          </p:cNvSpPr>
          <p:nvPr>
            <p:ph type="title" hasCustomPrompt="1"/>
          </p:nvPr>
        </p:nvSpPr>
        <p:spPr>
          <a:xfrm>
            <a:off x="617693" y="688454"/>
            <a:ext cx="6087907"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20" name="Footer Placeholder 4">
            <a:extLst>
              <a:ext uri="{FF2B5EF4-FFF2-40B4-BE49-F238E27FC236}">
                <a16:creationId xmlns:a16="http://schemas.microsoft.com/office/drawing/2014/main" id="{F54F3E25-37E2-0E47-AFEA-25A21A4F8B97}"/>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2" name="Text Placeholder 4">
            <a:extLst>
              <a:ext uri="{FF2B5EF4-FFF2-40B4-BE49-F238E27FC236}">
                <a16:creationId xmlns:a16="http://schemas.microsoft.com/office/drawing/2014/main" id="{0D6A3FED-15C7-C54B-A90A-0910317C391E}"/>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23" name="Text Placeholder 4">
            <a:extLst>
              <a:ext uri="{FF2B5EF4-FFF2-40B4-BE49-F238E27FC236}">
                <a16:creationId xmlns:a16="http://schemas.microsoft.com/office/drawing/2014/main" id="{C5B9E6EB-8576-D741-8456-BBFFA4A78E8B}"/>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Tree>
    <p:extLst>
      <p:ext uri="{BB962C8B-B14F-4D97-AF65-F5344CB8AC3E}">
        <p14:creationId xmlns:p14="http://schemas.microsoft.com/office/powerpoint/2010/main" val="14716783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246677"/>
            <a:ext cx="3060000" cy="177209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246677"/>
            <a:ext cx="3060000" cy="177209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246677"/>
            <a:ext cx="3060000" cy="177209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28" name="Text Placeholder 19">
            <a:extLst>
              <a:ext uri="{FF2B5EF4-FFF2-40B4-BE49-F238E27FC236}">
                <a16:creationId xmlns:a16="http://schemas.microsoft.com/office/drawing/2014/main" id="{7180DBA1-0635-2847-B6A9-41B3FCA43EEE}"/>
              </a:ext>
            </a:extLst>
          </p:cNvPr>
          <p:cNvSpPr>
            <a:spLocks noGrp="1"/>
          </p:cNvSpPr>
          <p:nvPr>
            <p:ph type="body" sz="quarter" idx="35" hasCustomPrompt="1"/>
          </p:nvPr>
        </p:nvSpPr>
        <p:spPr>
          <a:xfrm>
            <a:off x="621488"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0" name="Text Placeholder 19">
            <a:extLst>
              <a:ext uri="{FF2B5EF4-FFF2-40B4-BE49-F238E27FC236}">
                <a16:creationId xmlns:a16="http://schemas.microsoft.com/office/drawing/2014/main" id="{C6B30E14-B343-D142-89C3-959AEA7468E1}"/>
              </a:ext>
            </a:extLst>
          </p:cNvPr>
          <p:cNvSpPr>
            <a:spLocks noGrp="1"/>
          </p:cNvSpPr>
          <p:nvPr>
            <p:ph type="body" sz="quarter" idx="36" hasCustomPrompt="1"/>
          </p:nvPr>
        </p:nvSpPr>
        <p:spPr>
          <a:xfrm>
            <a:off x="4566682"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1" name="Text Placeholder 19">
            <a:extLst>
              <a:ext uri="{FF2B5EF4-FFF2-40B4-BE49-F238E27FC236}">
                <a16:creationId xmlns:a16="http://schemas.microsoft.com/office/drawing/2014/main" id="{AFC7A3A7-7479-E649-9071-C2A84931E87B}"/>
              </a:ext>
            </a:extLst>
          </p:cNvPr>
          <p:cNvSpPr>
            <a:spLocks noGrp="1"/>
          </p:cNvSpPr>
          <p:nvPr>
            <p:ph type="body" sz="quarter" idx="37" hasCustomPrompt="1"/>
          </p:nvPr>
        </p:nvSpPr>
        <p:spPr>
          <a:xfrm>
            <a:off x="8416011"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29302358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008575"/>
            <a:ext cx="3060000" cy="176103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008575"/>
            <a:ext cx="3060000" cy="176103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008575"/>
            <a:ext cx="3060000" cy="176103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4" name="Title 1">
            <a:extLst>
              <a:ext uri="{FF2B5EF4-FFF2-40B4-BE49-F238E27FC236}">
                <a16:creationId xmlns:a16="http://schemas.microsoft.com/office/drawing/2014/main" id="{17A93E60-A305-594B-BC78-B88B56C24FEE}"/>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45" name="Text Placeholder 19">
            <a:extLst>
              <a:ext uri="{FF2B5EF4-FFF2-40B4-BE49-F238E27FC236}">
                <a16:creationId xmlns:a16="http://schemas.microsoft.com/office/drawing/2014/main" id="{FFDD3FAA-25C4-DF40-B2AB-B5EA5792AEDA}"/>
              </a:ext>
            </a:extLst>
          </p:cNvPr>
          <p:cNvSpPr>
            <a:spLocks noGrp="1"/>
          </p:cNvSpPr>
          <p:nvPr>
            <p:ph type="body" sz="quarter" idx="35" hasCustomPrompt="1"/>
          </p:nvPr>
        </p:nvSpPr>
        <p:spPr>
          <a:xfrm>
            <a:off x="621488"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46" name="Text Placeholder 19">
            <a:extLst>
              <a:ext uri="{FF2B5EF4-FFF2-40B4-BE49-F238E27FC236}">
                <a16:creationId xmlns:a16="http://schemas.microsoft.com/office/drawing/2014/main" id="{D2C7FBBD-19E5-F44E-968A-62BA2952F3A7}"/>
              </a:ext>
            </a:extLst>
          </p:cNvPr>
          <p:cNvSpPr>
            <a:spLocks noGrp="1"/>
          </p:cNvSpPr>
          <p:nvPr>
            <p:ph type="body" sz="quarter" idx="36" hasCustomPrompt="1"/>
          </p:nvPr>
        </p:nvSpPr>
        <p:spPr>
          <a:xfrm>
            <a:off x="4566682"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47" name="Text Placeholder 19">
            <a:extLst>
              <a:ext uri="{FF2B5EF4-FFF2-40B4-BE49-F238E27FC236}">
                <a16:creationId xmlns:a16="http://schemas.microsoft.com/office/drawing/2014/main" id="{0724F50D-414E-0445-BC80-DF9678328A14}"/>
              </a:ext>
            </a:extLst>
          </p:cNvPr>
          <p:cNvSpPr>
            <a:spLocks noGrp="1"/>
          </p:cNvSpPr>
          <p:nvPr>
            <p:ph type="body" sz="quarter" idx="37" hasCustomPrompt="1"/>
          </p:nvPr>
        </p:nvSpPr>
        <p:spPr>
          <a:xfrm>
            <a:off x="8416011"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860973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246677"/>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246677"/>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246677"/>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246677"/>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63" name="Text Placeholder 19">
            <a:extLst>
              <a:ext uri="{FF2B5EF4-FFF2-40B4-BE49-F238E27FC236}">
                <a16:creationId xmlns:a16="http://schemas.microsoft.com/office/drawing/2014/main" id="{672A930A-EB3C-C245-A0AB-6DB90D743564}"/>
              </a:ext>
            </a:extLst>
          </p:cNvPr>
          <p:cNvSpPr>
            <a:spLocks noGrp="1"/>
          </p:cNvSpPr>
          <p:nvPr>
            <p:ph type="body" sz="quarter" idx="48" hasCustomPrompt="1"/>
          </p:nvPr>
        </p:nvSpPr>
        <p:spPr>
          <a:xfrm>
            <a:off x="621134"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6" name="Text Placeholder 19">
            <a:extLst>
              <a:ext uri="{FF2B5EF4-FFF2-40B4-BE49-F238E27FC236}">
                <a16:creationId xmlns:a16="http://schemas.microsoft.com/office/drawing/2014/main" id="{79629EC7-D639-7A40-9381-8E51549EFAF7}"/>
              </a:ext>
            </a:extLst>
          </p:cNvPr>
          <p:cNvSpPr>
            <a:spLocks noGrp="1"/>
          </p:cNvSpPr>
          <p:nvPr>
            <p:ph type="body" sz="quarter" idx="49" hasCustomPrompt="1"/>
          </p:nvPr>
        </p:nvSpPr>
        <p:spPr>
          <a:xfrm>
            <a:off x="3472399"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7" name="Text Placeholder 19">
            <a:extLst>
              <a:ext uri="{FF2B5EF4-FFF2-40B4-BE49-F238E27FC236}">
                <a16:creationId xmlns:a16="http://schemas.microsoft.com/office/drawing/2014/main" id="{493F62FD-58C5-C548-B750-0DF90ED4909A}"/>
              </a:ext>
            </a:extLst>
          </p:cNvPr>
          <p:cNvSpPr>
            <a:spLocks noGrp="1"/>
          </p:cNvSpPr>
          <p:nvPr>
            <p:ph type="body" sz="quarter" idx="50" hasCustomPrompt="1"/>
          </p:nvPr>
        </p:nvSpPr>
        <p:spPr>
          <a:xfrm>
            <a:off x="6340290"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8" name="Text Placeholder 19">
            <a:extLst>
              <a:ext uri="{FF2B5EF4-FFF2-40B4-BE49-F238E27FC236}">
                <a16:creationId xmlns:a16="http://schemas.microsoft.com/office/drawing/2014/main" id="{67C77277-C24C-9143-A569-14A97F30452E}"/>
              </a:ext>
            </a:extLst>
          </p:cNvPr>
          <p:cNvSpPr>
            <a:spLocks noGrp="1"/>
          </p:cNvSpPr>
          <p:nvPr>
            <p:ph type="body" sz="quarter" idx="51" hasCustomPrompt="1"/>
          </p:nvPr>
        </p:nvSpPr>
        <p:spPr>
          <a:xfrm>
            <a:off x="9191555"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37055750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008575"/>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008575"/>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008575"/>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008575"/>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3" name="Title 1">
            <a:extLst>
              <a:ext uri="{FF2B5EF4-FFF2-40B4-BE49-F238E27FC236}">
                <a16:creationId xmlns:a16="http://schemas.microsoft.com/office/drawing/2014/main" id="{3FC78697-BE24-A54F-9641-6CE2D667E758}"/>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34" name="Text Placeholder 19">
            <a:extLst>
              <a:ext uri="{FF2B5EF4-FFF2-40B4-BE49-F238E27FC236}">
                <a16:creationId xmlns:a16="http://schemas.microsoft.com/office/drawing/2014/main" id="{D7718604-10F6-4741-89DF-0242972A3E64}"/>
              </a:ext>
            </a:extLst>
          </p:cNvPr>
          <p:cNvSpPr>
            <a:spLocks noGrp="1"/>
          </p:cNvSpPr>
          <p:nvPr>
            <p:ph type="body" sz="quarter" idx="48" hasCustomPrompt="1"/>
          </p:nvPr>
        </p:nvSpPr>
        <p:spPr>
          <a:xfrm>
            <a:off x="621134"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6" name="Text Placeholder 19">
            <a:extLst>
              <a:ext uri="{FF2B5EF4-FFF2-40B4-BE49-F238E27FC236}">
                <a16:creationId xmlns:a16="http://schemas.microsoft.com/office/drawing/2014/main" id="{360F033E-EC13-AF49-8120-C97B270F67AB}"/>
              </a:ext>
            </a:extLst>
          </p:cNvPr>
          <p:cNvSpPr>
            <a:spLocks noGrp="1"/>
          </p:cNvSpPr>
          <p:nvPr>
            <p:ph type="body" sz="quarter" idx="49" hasCustomPrompt="1"/>
          </p:nvPr>
        </p:nvSpPr>
        <p:spPr>
          <a:xfrm>
            <a:off x="3472399"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7" name="Text Placeholder 19">
            <a:extLst>
              <a:ext uri="{FF2B5EF4-FFF2-40B4-BE49-F238E27FC236}">
                <a16:creationId xmlns:a16="http://schemas.microsoft.com/office/drawing/2014/main" id="{C4690658-27FF-F44D-B3B8-197DC8583E51}"/>
              </a:ext>
            </a:extLst>
          </p:cNvPr>
          <p:cNvSpPr>
            <a:spLocks noGrp="1"/>
          </p:cNvSpPr>
          <p:nvPr>
            <p:ph type="body" sz="quarter" idx="50" hasCustomPrompt="1"/>
          </p:nvPr>
        </p:nvSpPr>
        <p:spPr>
          <a:xfrm>
            <a:off x="6340290"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8" name="Text Placeholder 19">
            <a:extLst>
              <a:ext uri="{FF2B5EF4-FFF2-40B4-BE49-F238E27FC236}">
                <a16:creationId xmlns:a16="http://schemas.microsoft.com/office/drawing/2014/main" id="{3E738778-6FF2-274C-BCE6-096F5C0AFE6A}"/>
              </a:ext>
            </a:extLst>
          </p:cNvPr>
          <p:cNvSpPr>
            <a:spLocks noGrp="1"/>
          </p:cNvSpPr>
          <p:nvPr>
            <p:ph type="body" sz="quarter" idx="51" hasCustomPrompt="1"/>
          </p:nvPr>
        </p:nvSpPr>
        <p:spPr>
          <a:xfrm>
            <a:off x="9191555"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3852762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5184306"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5184308"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17694" y="2154358"/>
            <a:ext cx="51843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34" name="Text Placeholder 4">
            <a:extLst>
              <a:ext uri="{FF2B5EF4-FFF2-40B4-BE49-F238E27FC236}">
                <a16:creationId xmlns:a16="http://schemas.microsoft.com/office/drawing/2014/main" id="{96CDD4B5-EF56-DD46-AEE6-734C6C6C1CB0}"/>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
        <p:nvSpPr>
          <p:cNvPr id="35" name="Text Placeholder 4">
            <a:extLst>
              <a:ext uri="{FF2B5EF4-FFF2-40B4-BE49-F238E27FC236}">
                <a16:creationId xmlns:a16="http://schemas.microsoft.com/office/drawing/2014/main" id="{B9DA348C-A862-6447-AEA0-89F58A4354BA}"/>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4</a:t>
            </a:r>
          </a:p>
        </p:txBody>
      </p:sp>
      <p:sp>
        <p:nvSpPr>
          <p:cNvPr id="36" name="Text Placeholder 4">
            <a:extLst>
              <a:ext uri="{FF2B5EF4-FFF2-40B4-BE49-F238E27FC236}">
                <a16:creationId xmlns:a16="http://schemas.microsoft.com/office/drawing/2014/main" id="{702A0993-B4FF-8646-B55D-627AF91F31D8}"/>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37" name="Text Placeholder 4">
            <a:extLst>
              <a:ext uri="{FF2B5EF4-FFF2-40B4-BE49-F238E27FC236}">
                <a16:creationId xmlns:a16="http://schemas.microsoft.com/office/drawing/2014/main" id="{3CBCD022-E941-0C4A-A5C4-EED8BC3A393B}"/>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3</a:t>
            </a:r>
          </a:p>
        </p:txBody>
      </p:sp>
    </p:spTree>
    <p:extLst>
      <p:ext uri="{BB962C8B-B14F-4D97-AF65-F5344CB8AC3E}">
        <p14:creationId xmlns:p14="http://schemas.microsoft.com/office/powerpoint/2010/main" val="271571037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22" name="Content Placeholder 2">
            <a:extLst>
              <a:ext uri="{FF2B5EF4-FFF2-40B4-BE49-F238E27FC236}">
                <a16:creationId xmlns:a16="http://schemas.microsoft.com/office/drawing/2014/main" id="{331D0499-018D-0343-A2FE-983D6CE6F2F7}"/>
              </a:ext>
            </a:extLst>
          </p:cNvPr>
          <p:cNvSpPr>
            <a:spLocks noGrp="1"/>
          </p:cNvSpPr>
          <p:nvPr>
            <p:ph idx="46" hasCustomPrompt="1"/>
          </p:nvPr>
        </p:nvSpPr>
        <p:spPr>
          <a:xfrm>
            <a:off x="617693" y="1908061"/>
            <a:ext cx="518430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23" name="Title 1">
            <a:extLst>
              <a:ext uri="{FF2B5EF4-FFF2-40B4-BE49-F238E27FC236}">
                <a16:creationId xmlns:a16="http://schemas.microsoft.com/office/drawing/2014/main" id="{EE21965E-9E14-354B-B97D-235D02646393}"/>
              </a:ext>
            </a:extLst>
          </p:cNvPr>
          <p:cNvSpPr>
            <a:spLocks noGrp="1"/>
          </p:cNvSpPr>
          <p:nvPr>
            <p:ph type="title" hasCustomPrompt="1"/>
          </p:nvPr>
        </p:nvSpPr>
        <p:spPr>
          <a:xfrm>
            <a:off x="617693" y="688454"/>
            <a:ext cx="518430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24" name="Text Placeholder 4">
            <a:extLst>
              <a:ext uri="{FF2B5EF4-FFF2-40B4-BE49-F238E27FC236}">
                <a16:creationId xmlns:a16="http://schemas.microsoft.com/office/drawing/2014/main" id="{662ED520-B46D-2C44-8A68-4F0D542CDBB8}"/>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
        <p:nvSpPr>
          <p:cNvPr id="25" name="Text Placeholder 4">
            <a:extLst>
              <a:ext uri="{FF2B5EF4-FFF2-40B4-BE49-F238E27FC236}">
                <a16:creationId xmlns:a16="http://schemas.microsoft.com/office/drawing/2014/main" id="{ADFEC42D-9770-9645-8675-936531B9D66C}"/>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4</a:t>
            </a:r>
          </a:p>
        </p:txBody>
      </p:sp>
      <p:sp>
        <p:nvSpPr>
          <p:cNvPr id="34" name="Text Placeholder 4">
            <a:extLst>
              <a:ext uri="{FF2B5EF4-FFF2-40B4-BE49-F238E27FC236}">
                <a16:creationId xmlns:a16="http://schemas.microsoft.com/office/drawing/2014/main" id="{63B05CE3-5D8A-E74A-A03B-F0E6A592274B}"/>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35" name="Text Placeholder 4">
            <a:extLst>
              <a:ext uri="{FF2B5EF4-FFF2-40B4-BE49-F238E27FC236}">
                <a16:creationId xmlns:a16="http://schemas.microsoft.com/office/drawing/2014/main" id="{B1019EFD-BDFD-1245-BF19-B2F0F1D38DC7}"/>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3</a:t>
            </a:r>
          </a:p>
        </p:txBody>
      </p:sp>
    </p:spTree>
    <p:extLst>
      <p:ext uri="{BB962C8B-B14F-4D97-AF65-F5344CB8AC3E}">
        <p14:creationId xmlns:p14="http://schemas.microsoft.com/office/powerpoint/2010/main" val="363341882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Tree>
    <p:extLst>
      <p:ext uri="{BB962C8B-B14F-4D97-AF65-F5344CB8AC3E}">
        <p14:creationId xmlns:p14="http://schemas.microsoft.com/office/powerpoint/2010/main" val="25749679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233858732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5" name="Content Placeholder 2">
            <a:extLst>
              <a:ext uri="{FF2B5EF4-FFF2-40B4-BE49-F238E27FC236}">
                <a16:creationId xmlns:a16="http://schemas.microsoft.com/office/drawing/2014/main" id="{5F75D192-DA1D-4F46-B54F-60910BAD2EDB}"/>
              </a:ext>
            </a:extLst>
          </p:cNvPr>
          <p:cNvSpPr>
            <a:spLocks noGrp="1"/>
          </p:cNvSpPr>
          <p:nvPr>
            <p:ph idx="25" hasCustomPrompt="1"/>
          </p:nvPr>
        </p:nvSpPr>
        <p:spPr>
          <a:xfrm>
            <a:off x="6679552"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6" name="Title 1">
            <a:extLst>
              <a:ext uri="{FF2B5EF4-FFF2-40B4-BE49-F238E27FC236}">
                <a16:creationId xmlns:a16="http://schemas.microsoft.com/office/drawing/2014/main" id="{18A6BC4A-9619-B046-9D7F-B13BFFA1D5BA}"/>
              </a:ext>
            </a:extLst>
          </p:cNvPr>
          <p:cNvSpPr>
            <a:spLocks noGrp="1"/>
          </p:cNvSpPr>
          <p:nvPr>
            <p:ph type="title" hasCustomPrompt="1"/>
          </p:nvPr>
        </p:nvSpPr>
        <p:spPr>
          <a:xfrm>
            <a:off x="6679552"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427809722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Sub and 1xQuotes">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1" y="2154358"/>
            <a:ext cx="9703468" cy="2615940"/>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Tree>
    <p:extLst>
      <p:ext uri="{BB962C8B-B14F-4D97-AF65-F5344CB8AC3E}">
        <p14:creationId xmlns:p14="http://schemas.microsoft.com/office/powerpoint/2010/main" val="32028491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le,Sub and 1xQuotes">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3" name="Content Placeholder 2"/>
          <p:cNvSpPr>
            <a:spLocks noGrp="1"/>
          </p:cNvSpPr>
          <p:nvPr>
            <p:ph idx="1" hasCustomPrompt="1"/>
          </p:nvPr>
        </p:nvSpPr>
        <p:spPr>
          <a:xfrm>
            <a:off x="617691" y="1902234"/>
            <a:ext cx="9703468" cy="2868063"/>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0" name="Title 1">
            <a:extLst>
              <a:ext uri="{FF2B5EF4-FFF2-40B4-BE49-F238E27FC236}">
                <a16:creationId xmlns:a16="http://schemas.microsoft.com/office/drawing/2014/main" id="{8B468550-6451-EA4C-A312-1E70F2BE10EC}"/>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2109655604"/>
      </p:ext>
    </p:extLst>
  </p:cSld>
  <p:clrMapOvr>
    <a:masterClrMapping/>
  </p:clrMapOvr>
  <p:extLst>
    <p:ext uri="{DCECCB84-F9BA-43D5-87BE-67443E8EF086}">
      <p15:sldGuideLst xmlns:p15="http://schemas.microsoft.com/office/powerpoint/2012/main">
        <p15:guide id="1" orient="horz" pos="302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537312"/>
            <a:ext cx="5197889"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2152062"/>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2152062"/>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774789"/>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774789"/>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537312"/>
            <a:ext cx="5185600"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Tree>
    <p:extLst>
      <p:ext uri="{BB962C8B-B14F-4D97-AF65-F5344CB8AC3E}">
        <p14:creationId xmlns:p14="http://schemas.microsoft.com/office/powerpoint/2010/main" val="25770206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287360"/>
            <a:ext cx="5197889"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1902110"/>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1902110"/>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524837"/>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524837"/>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287360"/>
            <a:ext cx="5185600"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1" name="Title 1">
            <a:extLst>
              <a:ext uri="{FF2B5EF4-FFF2-40B4-BE49-F238E27FC236}">
                <a16:creationId xmlns:a16="http://schemas.microsoft.com/office/drawing/2014/main" id="{4C5EE489-6FC6-1F4C-A023-77BCF4171746}"/>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3762945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2120793"/>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2120793"/>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2120793"/>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Tree>
    <p:extLst>
      <p:ext uri="{BB962C8B-B14F-4D97-AF65-F5344CB8AC3E}">
        <p14:creationId xmlns:p14="http://schemas.microsoft.com/office/powerpoint/2010/main" val="24828299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1902110"/>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1902110"/>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1902110"/>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Title 1">
            <a:extLst>
              <a:ext uri="{FF2B5EF4-FFF2-40B4-BE49-F238E27FC236}">
                <a16:creationId xmlns:a16="http://schemas.microsoft.com/office/drawing/2014/main" id="{D362BA5C-960B-514F-A5A9-64F6B961F487}"/>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2967811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hank you option1_NO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3813" y="1764051"/>
            <a:ext cx="10143533" cy="1829040"/>
          </a:xfrm>
          <a:prstGeom prst="rect">
            <a:avLst/>
          </a:prstGeom>
        </p:spPr>
        <p:txBody>
          <a:bodyPr anchor="b">
            <a:normAutofit/>
          </a:bodyPr>
          <a:lstStyle>
            <a:lvl1pPr algn="ctr">
              <a:defRPr sz="7000" b="0" i="0">
                <a:solidFill>
                  <a:srgbClr val="005EB8"/>
                </a:solidFill>
                <a:latin typeface="Gibson Light" panose="02000000000000000000" pitchFamily="2" charset="77"/>
              </a:defRPr>
            </a:lvl1pPr>
          </a:lstStyle>
          <a:p>
            <a:r>
              <a:rPr lang="en-US"/>
              <a:t>Thank you</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A6A6A8"/>
                </a:solidFill>
                <a:latin typeface="Gibson" panose="02000000000000000000" pitchFamily="2" charset="77"/>
              </a:defRPr>
            </a:lvl1pPr>
          </a:lstStyle>
          <a:p>
            <a:r>
              <a:rPr lang="en-US"/>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40219295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hank you Option 2_Half Image">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9D856FA3-FE4A-AC49-8CDF-F79C165F4BF7}"/>
              </a:ext>
            </a:extLst>
          </p:cNvPr>
          <p:cNvSpPr>
            <a:spLocks noGrp="1"/>
          </p:cNvSpPr>
          <p:nvPr>
            <p:ph type="pic" sz="quarter" idx="17" hasCustomPrompt="1"/>
          </p:nvPr>
        </p:nvSpPr>
        <p:spPr>
          <a:xfrm rot="20117956">
            <a:off x="5825824" y="-34675"/>
            <a:ext cx="6688396" cy="7885590"/>
          </a:xfrm>
          <a:custGeom>
            <a:avLst/>
            <a:gdLst>
              <a:gd name="connsiteX0" fmla="*/ 3301050 w 6688396"/>
              <a:gd name="connsiteY0" fmla="*/ 205796 h 7885590"/>
              <a:gd name="connsiteX1" fmla="*/ 4489730 w 6688396"/>
              <a:gd name="connsiteY1" fmla="*/ 1266404 h 7885590"/>
              <a:gd name="connsiteX2" fmla="*/ 6470076 w 6688396"/>
              <a:gd name="connsiteY2" fmla="*/ 3642044 h 7885590"/>
              <a:gd name="connsiteX3" fmla="*/ 6688396 w 6688396"/>
              <a:gd name="connsiteY3" fmla="*/ 3903944 h 7885590"/>
              <a:gd name="connsiteX4" fmla="*/ 4856982 w 6688396"/>
              <a:gd name="connsiteY4" fmla="*/ 7885590 h 7885590"/>
              <a:gd name="connsiteX5" fmla="*/ 0 w 6688396"/>
              <a:gd name="connsiteY5" fmla="*/ 5651552 h 7885590"/>
              <a:gd name="connsiteX6" fmla="*/ 0 w 6688396"/>
              <a:gd name="connsiteY6" fmla="*/ 5408886 h 7885590"/>
              <a:gd name="connsiteX7" fmla="*/ 0 w 6688396"/>
              <a:gd name="connsiteY7" fmla="*/ 2372795 h 7885590"/>
              <a:gd name="connsiteX8" fmla="*/ 688980 w 6688396"/>
              <a:gd name="connsiteY8" fmla="*/ 694133 h 7885590"/>
              <a:gd name="connsiteX9" fmla="*/ 2448484 w 6688396"/>
              <a:gd name="connsiteY9" fmla="*/ 1234 h 7885590"/>
              <a:gd name="connsiteX10" fmla="*/ 3301050 w 6688396"/>
              <a:gd name="connsiteY10" fmla="*/ 205796 h 788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8396" h="7885590">
                <a:moveTo>
                  <a:pt x="3301050" y="205796"/>
                </a:moveTo>
                <a:cubicBezTo>
                  <a:pt x="3815891" y="449964"/>
                  <a:pt x="4141454" y="861999"/>
                  <a:pt x="4489730" y="1266404"/>
                </a:cubicBezTo>
                <a:cubicBezTo>
                  <a:pt x="4489730" y="1266404"/>
                  <a:pt x="4489730" y="1266404"/>
                  <a:pt x="6470076" y="3642044"/>
                </a:cubicBezTo>
                <a:lnTo>
                  <a:pt x="6688396" y="3903944"/>
                </a:lnTo>
                <a:lnTo>
                  <a:pt x="4856982" y="7885590"/>
                </a:lnTo>
                <a:lnTo>
                  <a:pt x="0" y="5651552"/>
                </a:lnTo>
                <a:lnTo>
                  <a:pt x="0" y="5408886"/>
                </a:lnTo>
                <a:cubicBezTo>
                  <a:pt x="0" y="4059802"/>
                  <a:pt x="0" y="2372795"/>
                  <a:pt x="0" y="2372795"/>
                </a:cubicBezTo>
                <a:cubicBezTo>
                  <a:pt x="0" y="1762372"/>
                  <a:pt x="227137" y="1159580"/>
                  <a:pt x="688980" y="694133"/>
                </a:cubicBezTo>
                <a:cubicBezTo>
                  <a:pt x="1152245" y="232501"/>
                  <a:pt x="1805173" y="-19954"/>
                  <a:pt x="2448484" y="1234"/>
                </a:cubicBezTo>
                <a:cubicBezTo>
                  <a:pt x="2740898" y="10865"/>
                  <a:pt x="3031325" y="77035"/>
                  <a:pt x="3301050" y="205796"/>
                </a:cubicBezTo>
                <a:close/>
              </a:path>
            </a:pathLst>
          </a:custGeom>
          <a:solidFill>
            <a:schemeClr val="bg1">
              <a:lumMod val="95000"/>
            </a:schemeClr>
          </a:solidFill>
        </p:spPr>
        <p:txBody>
          <a:bodyPr wrap="square" anchor="ctr">
            <a:noAutofit/>
          </a:bodyPr>
          <a:lstStyle>
            <a:lvl1pPr marL="0" indent="0" algn="l">
              <a:buNone/>
              <a:defRPr/>
            </a:lvl1pPr>
          </a:lstStyle>
          <a:p>
            <a:r>
              <a:rPr lang="en-GB" noProof="0"/>
              <a:t>     </a:t>
            </a:r>
            <a:br>
              <a:rPr lang="en-GB" noProof="0"/>
            </a:br>
            <a:br>
              <a:rPr lang="en-GB" noProof="0"/>
            </a:br>
            <a:r>
              <a:rPr lang="en-GB" noProof="0"/>
              <a:t> Insert your picture here</a:t>
            </a:r>
          </a:p>
        </p:txBody>
      </p:sp>
      <p:sp>
        <p:nvSpPr>
          <p:cNvPr id="2" name="Title 1"/>
          <p:cNvSpPr>
            <a:spLocks noGrp="1"/>
          </p:cNvSpPr>
          <p:nvPr>
            <p:ph type="ctrTitle" hasCustomPrompt="1"/>
          </p:nvPr>
        </p:nvSpPr>
        <p:spPr>
          <a:xfrm>
            <a:off x="535968" y="2465962"/>
            <a:ext cx="4057547" cy="1829040"/>
          </a:xfrm>
          <a:prstGeom prst="rect">
            <a:avLst/>
          </a:prstGeom>
        </p:spPr>
        <p:txBody>
          <a:bodyPr anchor="ctr">
            <a:normAutofit/>
          </a:bodyPr>
          <a:lstStyle>
            <a:lvl1pPr algn="l">
              <a:defRPr sz="6600" b="0" i="0">
                <a:solidFill>
                  <a:srgbClr val="005EB8"/>
                </a:solidFill>
                <a:latin typeface="Gibson Light" panose="02000000000000000000" pitchFamily="2" charset="77"/>
              </a:defRPr>
            </a:lvl1pPr>
          </a:lstStyle>
          <a:p>
            <a:r>
              <a:rPr lang="en-US"/>
              <a:t>Thank you</a:t>
            </a:r>
          </a:p>
        </p:txBody>
      </p:sp>
      <p:sp>
        <p:nvSpPr>
          <p:cNvPr id="5" name="Footer Placeholder 4"/>
          <p:cNvSpPr>
            <a:spLocks noGrp="1"/>
          </p:cNvSpPr>
          <p:nvPr>
            <p:ph type="ftr" sz="quarter" idx="11"/>
          </p:nvPr>
        </p:nvSpPr>
        <p:spPr>
          <a:xfrm>
            <a:off x="535969" y="6077296"/>
            <a:ext cx="5338058" cy="512347"/>
          </a:xfrm>
          <a:prstGeom prst="rect">
            <a:avLst/>
          </a:prstGeom>
        </p:spPr>
        <p:txBody>
          <a:bodyPr/>
          <a:lstStyle>
            <a:lvl1pPr algn="l">
              <a:defRPr sz="1200" b="0" i="0">
                <a:solidFill>
                  <a:srgbClr val="A6A6A8"/>
                </a:solidFill>
                <a:latin typeface="Gibson" panose="02000000000000000000" pitchFamily="2" charset="77"/>
              </a:defRPr>
            </a:lvl1pPr>
          </a:lstStyle>
          <a:p>
            <a:r>
              <a:rPr lang="en-US"/>
              <a:t>Footer  I  Credits  I  Links</a:t>
            </a:r>
          </a:p>
        </p:txBody>
      </p: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cxnSp>
        <p:nvCxnSpPr>
          <p:cNvPr id="10" name="Straight Connector 9">
            <a:extLst>
              <a:ext uri="{FF2B5EF4-FFF2-40B4-BE49-F238E27FC236}">
                <a16:creationId xmlns:a16="http://schemas.microsoft.com/office/drawing/2014/main" id="{994011DB-1362-834C-ABD9-CAA4FA4BA226}"/>
              </a:ext>
            </a:extLst>
          </p:cNvPr>
          <p:cNvCxnSpPr/>
          <p:nvPr userDrawn="1"/>
        </p:nvCxnSpPr>
        <p:spPr>
          <a:xfrm>
            <a:off x="623888" y="6004133"/>
            <a:ext cx="396962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588301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tx2"/>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7091701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hank you Option 3_Full Bleed Image">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226FD200-697D-5045-8FFC-0596A9748ECE}"/>
              </a:ext>
            </a:extLst>
          </p:cNvPr>
          <p:cNvSpPr/>
          <p:nvPr userDrawn="1"/>
        </p:nvSpPr>
        <p:spPr>
          <a:xfrm>
            <a:off x="7621232" y="2652793"/>
            <a:ext cx="4570769" cy="4205206"/>
          </a:xfrm>
          <a:custGeom>
            <a:avLst/>
            <a:gdLst>
              <a:gd name="connsiteX0" fmla="*/ 1745803 w 4570769"/>
              <a:gd name="connsiteY0" fmla="*/ 0 h 4205206"/>
              <a:gd name="connsiteX1" fmla="*/ 1785804 w 4570769"/>
              <a:gd name="connsiteY1" fmla="*/ 1070 h 4205206"/>
              <a:gd name="connsiteX2" fmla="*/ 1824652 w 4570769"/>
              <a:gd name="connsiteY2" fmla="*/ 1862 h 4205206"/>
              <a:gd name="connsiteX3" fmla="*/ 1863937 w 4570769"/>
              <a:gd name="connsiteY3" fmla="*/ 3370 h 4205206"/>
              <a:gd name="connsiteX4" fmla="*/ 1903384 w 4570769"/>
              <a:gd name="connsiteY4" fmla="*/ 6747 h 4205206"/>
              <a:gd name="connsiteX5" fmla="*/ 1941677 w 4570769"/>
              <a:gd name="connsiteY5" fmla="*/ 9846 h 4205206"/>
              <a:gd name="connsiteX6" fmla="*/ 1980847 w 4570769"/>
              <a:gd name="connsiteY6" fmla="*/ 14376 h 4205206"/>
              <a:gd name="connsiteX7" fmla="*/ 2018863 w 4570769"/>
              <a:gd name="connsiteY7" fmla="*/ 18628 h 4205206"/>
              <a:gd name="connsiteX8" fmla="*/ 2057040 w 4570769"/>
              <a:gd name="connsiteY8" fmla="*/ 24750 h 4205206"/>
              <a:gd name="connsiteX9" fmla="*/ 2095218 w 4570769"/>
              <a:gd name="connsiteY9" fmla="*/ 30871 h 4205206"/>
              <a:gd name="connsiteX10" fmla="*/ 2132680 w 4570769"/>
              <a:gd name="connsiteY10" fmla="*/ 37430 h 4205206"/>
              <a:gd name="connsiteX11" fmla="*/ 2171018 w 4570769"/>
              <a:gd name="connsiteY11" fmla="*/ 45420 h 4205206"/>
              <a:gd name="connsiteX12" fmla="*/ 2207926 w 4570769"/>
              <a:gd name="connsiteY12" fmla="*/ 54286 h 4205206"/>
              <a:gd name="connsiteX13" fmla="*/ 2283172 w 4570769"/>
              <a:gd name="connsiteY13" fmla="*/ 71142 h 4205206"/>
              <a:gd name="connsiteX14" fmla="*/ 2357150 w 4570769"/>
              <a:gd name="connsiteY14" fmla="*/ 90743 h 4205206"/>
              <a:gd name="connsiteX15" fmla="*/ 2430850 w 4570769"/>
              <a:gd name="connsiteY15" fmla="*/ 111498 h 4205206"/>
              <a:gd name="connsiteX16" fmla="*/ 2504710 w 4570769"/>
              <a:gd name="connsiteY16" fmla="*/ 134121 h 4205206"/>
              <a:gd name="connsiteX17" fmla="*/ 2577856 w 4570769"/>
              <a:gd name="connsiteY17" fmla="*/ 157182 h 4205206"/>
              <a:gd name="connsiteX18" fmla="*/ 2651440 w 4570769"/>
              <a:gd name="connsiteY18" fmla="*/ 180958 h 4205206"/>
              <a:gd name="connsiteX19" fmla="*/ 2797893 w 4570769"/>
              <a:gd name="connsiteY19" fmla="*/ 228949 h 4205206"/>
              <a:gd name="connsiteX20" fmla="*/ 4570769 w 4570769"/>
              <a:gd name="connsiteY20" fmla="*/ 819920 h 4205206"/>
              <a:gd name="connsiteX21" fmla="*/ 4570769 w 4570769"/>
              <a:gd name="connsiteY21" fmla="*/ 4205206 h 4205206"/>
              <a:gd name="connsiteX22" fmla="*/ 1143839 w 4570769"/>
              <a:gd name="connsiteY22" fmla="*/ 4205206 h 4205206"/>
              <a:gd name="connsiteX23" fmla="*/ 269883 w 4570769"/>
              <a:gd name="connsiteY23" fmla="*/ 2777014 h 4205206"/>
              <a:gd name="connsiteX24" fmla="*/ 247099 w 4570769"/>
              <a:gd name="connsiteY24" fmla="*/ 2739822 h 4205206"/>
              <a:gd name="connsiteX25" fmla="*/ 225745 w 4570769"/>
              <a:gd name="connsiteY25" fmla="*/ 2701755 h 4205206"/>
              <a:gd name="connsiteX26" fmla="*/ 204669 w 4570769"/>
              <a:gd name="connsiteY26" fmla="*/ 2662533 h 4205206"/>
              <a:gd name="connsiteX27" fmla="*/ 185461 w 4570769"/>
              <a:gd name="connsiteY27" fmla="*/ 2623151 h 4205206"/>
              <a:gd name="connsiteX28" fmla="*/ 166691 w 4570769"/>
              <a:gd name="connsiteY28" fmla="*/ 2584484 h 4205206"/>
              <a:gd name="connsiteX29" fmla="*/ 149191 w 4570769"/>
              <a:gd name="connsiteY29" fmla="*/ 2543072 h 4205206"/>
              <a:gd name="connsiteX30" fmla="*/ 132129 w 4570769"/>
              <a:gd name="connsiteY30" fmla="*/ 2502375 h 4205206"/>
              <a:gd name="connsiteX31" fmla="*/ 116220 w 4570769"/>
              <a:gd name="connsiteY31" fmla="*/ 2461956 h 4205206"/>
              <a:gd name="connsiteX32" fmla="*/ 100588 w 4570769"/>
              <a:gd name="connsiteY32" fmla="*/ 2420383 h 4205206"/>
              <a:gd name="connsiteX33" fmla="*/ 86825 w 4570769"/>
              <a:gd name="connsiteY33" fmla="*/ 2378649 h 4205206"/>
              <a:gd name="connsiteX34" fmla="*/ 74493 w 4570769"/>
              <a:gd name="connsiteY34" fmla="*/ 2336038 h 4205206"/>
              <a:gd name="connsiteX35" fmla="*/ 62598 w 4570769"/>
              <a:gd name="connsiteY35" fmla="*/ 2294143 h 4205206"/>
              <a:gd name="connsiteX36" fmla="*/ 51419 w 4570769"/>
              <a:gd name="connsiteY36" fmla="*/ 2251810 h 4205206"/>
              <a:gd name="connsiteX37" fmla="*/ 41232 w 4570769"/>
              <a:gd name="connsiteY37" fmla="*/ 2207885 h 4205206"/>
              <a:gd name="connsiteX38" fmla="*/ 32198 w 4570769"/>
              <a:gd name="connsiteY38" fmla="*/ 2164237 h 4205206"/>
              <a:gd name="connsiteX39" fmla="*/ 25033 w 4570769"/>
              <a:gd name="connsiteY39" fmla="*/ 2120428 h 4205206"/>
              <a:gd name="connsiteX40" fmla="*/ 17868 w 4570769"/>
              <a:gd name="connsiteY40" fmla="*/ 2076619 h 4205206"/>
              <a:gd name="connsiteX41" fmla="*/ 12133 w 4570769"/>
              <a:gd name="connsiteY41" fmla="*/ 2031934 h 4205206"/>
              <a:gd name="connsiteX42" fmla="*/ 7552 w 4570769"/>
              <a:gd name="connsiteY42" fmla="*/ 1987526 h 4205206"/>
              <a:gd name="connsiteX43" fmla="*/ 4839 w 4570769"/>
              <a:gd name="connsiteY43" fmla="*/ 1942957 h 4205206"/>
              <a:gd name="connsiteX44" fmla="*/ 1689 w 4570769"/>
              <a:gd name="connsiteY44" fmla="*/ 1897672 h 4205206"/>
              <a:gd name="connsiteX45" fmla="*/ 844 w 4570769"/>
              <a:gd name="connsiteY45" fmla="*/ 1852942 h 4205206"/>
              <a:gd name="connsiteX46" fmla="*/ 0 w 4570769"/>
              <a:gd name="connsiteY46" fmla="*/ 1808212 h 4205206"/>
              <a:gd name="connsiteX47" fmla="*/ 1302 w 4570769"/>
              <a:gd name="connsiteY47" fmla="*/ 1762167 h 4205206"/>
              <a:gd name="connsiteX48" fmla="*/ 3757 w 4570769"/>
              <a:gd name="connsiteY48" fmla="*/ 1716399 h 4205206"/>
              <a:gd name="connsiteX49" fmla="*/ 6650 w 4570769"/>
              <a:gd name="connsiteY49" fmla="*/ 1671347 h 4205206"/>
              <a:gd name="connsiteX50" fmla="*/ 10974 w 4570769"/>
              <a:gd name="connsiteY50" fmla="*/ 1625418 h 4205206"/>
              <a:gd name="connsiteX51" fmla="*/ 17166 w 4570769"/>
              <a:gd name="connsiteY51" fmla="*/ 1579328 h 4205206"/>
              <a:gd name="connsiteX52" fmla="*/ 24073 w 4570769"/>
              <a:gd name="connsiteY52" fmla="*/ 1532800 h 4205206"/>
              <a:gd name="connsiteX53" fmla="*/ 30704 w 4570769"/>
              <a:gd name="connsiteY53" fmla="*/ 1487426 h 4205206"/>
              <a:gd name="connsiteX54" fmla="*/ 40633 w 4570769"/>
              <a:gd name="connsiteY54" fmla="*/ 1441014 h 4205206"/>
              <a:gd name="connsiteX55" fmla="*/ 51001 w 4570769"/>
              <a:gd name="connsiteY55" fmla="*/ 1395317 h 4205206"/>
              <a:gd name="connsiteX56" fmla="*/ 60189 w 4570769"/>
              <a:gd name="connsiteY56" fmla="*/ 1362146 h 4205206"/>
              <a:gd name="connsiteX57" fmla="*/ 68939 w 4570769"/>
              <a:gd name="connsiteY57" fmla="*/ 1328260 h 4205206"/>
              <a:gd name="connsiteX58" fmla="*/ 78127 w 4570769"/>
              <a:gd name="connsiteY58" fmla="*/ 1295089 h 4205206"/>
              <a:gd name="connsiteX59" fmla="*/ 88907 w 4570769"/>
              <a:gd name="connsiteY59" fmla="*/ 1262911 h 4205206"/>
              <a:gd name="connsiteX60" fmla="*/ 99964 w 4570769"/>
              <a:gd name="connsiteY60" fmla="*/ 1229579 h 4205206"/>
              <a:gd name="connsiteX61" fmla="*/ 111182 w 4570769"/>
              <a:gd name="connsiteY61" fmla="*/ 1198116 h 4205206"/>
              <a:gd name="connsiteX62" fmla="*/ 123393 w 4570769"/>
              <a:gd name="connsiteY62" fmla="*/ 1165061 h 4205206"/>
              <a:gd name="connsiteX63" fmla="*/ 136479 w 4570769"/>
              <a:gd name="connsiteY63" fmla="*/ 1133437 h 4205206"/>
              <a:gd name="connsiteX64" fmla="*/ 148851 w 4570769"/>
              <a:gd name="connsiteY64" fmla="*/ 1102250 h 4205206"/>
              <a:gd name="connsiteX65" fmla="*/ 162652 w 4570769"/>
              <a:gd name="connsiteY65" fmla="*/ 1070188 h 4205206"/>
              <a:gd name="connsiteX66" fmla="*/ 178046 w 4570769"/>
              <a:gd name="connsiteY66" fmla="*/ 1039118 h 4205206"/>
              <a:gd name="connsiteX67" fmla="*/ 193439 w 4570769"/>
              <a:gd name="connsiteY67" fmla="*/ 1008048 h 4205206"/>
              <a:gd name="connsiteX68" fmla="*/ 209271 w 4570769"/>
              <a:gd name="connsiteY68" fmla="*/ 977693 h 4205206"/>
              <a:gd name="connsiteX69" fmla="*/ 224825 w 4570769"/>
              <a:gd name="connsiteY69" fmla="*/ 948491 h 4205206"/>
              <a:gd name="connsiteX70" fmla="*/ 241372 w 4570769"/>
              <a:gd name="connsiteY70" fmla="*/ 917698 h 4205206"/>
              <a:gd name="connsiteX71" fmla="*/ 259948 w 4570769"/>
              <a:gd name="connsiteY71" fmla="*/ 888612 h 4205206"/>
              <a:gd name="connsiteX72" fmla="*/ 276933 w 4570769"/>
              <a:gd name="connsiteY72" fmla="*/ 858534 h 4205206"/>
              <a:gd name="connsiteX73" fmla="*/ 295948 w 4570769"/>
              <a:gd name="connsiteY73" fmla="*/ 830164 h 4205206"/>
              <a:gd name="connsiteX74" fmla="*/ 313809 w 4570769"/>
              <a:gd name="connsiteY74" fmla="*/ 801516 h 4205206"/>
              <a:gd name="connsiteX75" fmla="*/ 333977 w 4570769"/>
              <a:gd name="connsiteY75" fmla="*/ 773423 h 4205206"/>
              <a:gd name="connsiteX76" fmla="*/ 354145 w 4570769"/>
              <a:gd name="connsiteY76" fmla="*/ 745330 h 4205206"/>
              <a:gd name="connsiteX77" fmla="*/ 374313 w 4570769"/>
              <a:gd name="connsiteY77" fmla="*/ 717236 h 4205206"/>
              <a:gd name="connsiteX78" fmla="*/ 395357 w 4570769"/>
              <a:gd name="connsiteY78" fmla="*/ 690573 h 4205206"/>
              <a:gd name="connsiteX79" fmla="*/ 417555 w 4570769"/>
              <a:gd name="connsiteY79" fmla="*/ 664188 h 4205206"/>
              <a:gd name="connsiteX80" fmla="*/ 439037 w 4570769"/>
              <a:gd name="connsiteY80" fmla="*/ 638240 h 4205206"/>
              <a:gd name="connsiteX81" fmla="*/ 461235 w 4570769"/>
              <a:gd name="connsiteY81" fmla="*/ 611854 h 4205206"/>
              <a:gd name="connsiteX82" fmla="*/ 483871 w 4570769"/>
              <a:gd name="connsiteY82" fmla="*/ 586184 h 4205206"/>
              <a:gd name="connsiteX83" fmla="*/ 506945 w 4570769"/>
              <a:gd name="connsiteY83" fmla="*/ 561228 h 4205206"/>
              <a:gd name="connsiteX84" fmla="*/ 530734 w 4570769"/>
              <a:gd name="connsiteY84" fmla="*/ 535835 h 4205206"/>
              <a:gd name="connsiteX85" fmla="*/ 555399 w 4570769"/>
              <a:gd name="connsiteY85" fmla="*/ 511872 h 4205206"/>
              <a:gd name="connsiteX86" fmla="*/ 580065 w 4570769"/>
              <a:gd name="connsiteY86" fmla="*/ 487908 h 4205206"/>
              <a:gd name="connsiteX87" fmla="*/ 605168 w 4570769"/>
              <a:gd name="connsiteY87" fmla="*/ 464661 h 4205206"/>
              <a:gd name="connsiteX88" fmla="*/ 629995 w 4570769"/>
              <a:gd name="connsiteY88" fmla="*/ 442566 h 4205206"/>
              <a:gd name="connsiteX89" fmla="*/ 655537 w 4570769"/>
              <a:gd name="connsiteY89" fmla="*/ 420033 h 4205206"/>
              <a:gd name="connsiteX90" fmla="*/ 682232 w 4570769"/>
              <a:gd name="connsiteY90" fmla="*/ 397778 h 4205206"/>
              <a:gd name="connsiteX91" fmla="*/ 708212 w 4570769"/>
              <a:gd name="connsiteY91" fmla="*/ 375960 h 4205206"/>
              <a:gd name="connsiteX92" fmla="*/ 735783 w 4570769"/>
              <a:gd name="connsiteY92" fmla="*/ 355135 h 4205206"/>
              <a:gd name="connsiteX93" fmla="*/ 763355 w 4570769"/>
              <a:gd name="connsiteY93" fmla="*/ 334310 h 4205206"/>
              <a:gd name="connsiteX94" fmla="*/ 791802 w 4570769"/>
              <a:gd name="connsiteY94" fmla="*/ 314915 h 4205206"/>
              <a:gd name="connsiteX95" fmla="*/ 819096 w 4570769"/>
              <a:gd name="connsiteY95" fmla="*/ 295244 h 4205206"/>
              <a:gd name="connsiteX96" fmla="*/ 847982 w 4570769"/>
              <a:gd name="connsiteY96" fmla="*/ 276564 h 4205206"/>
              <a:gd name="connsiteX97" fmla="*/ 876868 w 4570769"/>
              <a:gd name="connsiteY97" fmla="*/ 257885 h 4205206"/>
              <a:gd name="connsiteX98" fmla="*/ 905915 w 4570769"/>
              <a:gd name="connsiteY98" fmla="*/ 241074 h 4205206"/>
              <a:gd name="connsiteX99" fmla="*/ 935239 w 4570769"/>
              <a:gd name="connsiteY99" fmla="*/ 223110 h 4205206"/>
              <a:gd name="connsiteX100" fmla="*/ 964724 w 4570769"/>
              <a:gd name="connsiteY100" fmla="*/ 207014 h 4205206"/>
              <a:gd name="connsiteX101" fmla="*/ 994925 w 4570769"/>
              <a:gd name="connsiteY101" fmla="*/ 190480 h 4205206"/>
              <a:gd name="connsiteX102" fmla="*/ 1026001 w 4570769"/>
              <a:gd name="connsiteY102" fmla="*/ 175377 h 4205206"/>
              <a:gd name="connsiteX103" fmla="*/ 1056363 w 4570769"/>
              <a:gd name="connsiteY103" fmla="*/ 160712 h 4205206"/>
              <a:gd name="connsiteX104" fmla="*/ 1087440 w 4570769"/>
              <a:gd name="connsiteY104" fmla="*/ 145608 h 4205206"/>
              <a:gd name="connsiteX105" fmla="*/ 1119116 w 4570769"/>
              <a:gd name="connsiteY105" fmla="*/ 133089 h 4205206"/>
              <a:gd name="connsiteX106" fmla="*/ 1151068 w 4570769"/>
              <a:gd name="connsiteY106" fmla="*/ 119416 h 4205206"/>
              <a:gd name="connsiteX107" fmla="*/ 1182744 w 4570769"/>
              <a:gd name="connsiteY107" fmla="*/ 106896 h 4205206"/>
              <a:gd name="connsiteX108" fmla="*/ 1214143 w 4570769"/>
              <a:gd name="connsiteY108" fmla="*/ 95530 h 4205206"/>
              <a:gd name="connsiteX109" fmla="*/ 1246695 w 4570769"/>
              <a:gd name="connsiteY109" fmla="*/ 84441 h 4205206"/>
              <a:gd name="connsiteX110" fmla="*/ 1279248 w 4570769"/>
              <a:gd name="connsiteY110" fmla="*/ 73352 h 4205206"/>
              <a:gd name="connsiteX111" fmla="*/ 1312676 w 4570769"/>
              <a:gd name="connsiteY111" fmla="*/ 63693 h 4205206"/>
              <a:gd name="connsiteX112" fmla="*/ 1345828 w 4570769"/>
              <a:gd name="connsiteY112" fmla="*/ 55188 h 4205206"/>
              <a:gd name="connsiteX113" fmla="*/ 1378541 w 4570769"/>
              <a:gd name="connsiteY113" fmla="*/ 45967 h 4205206"/>
              <a:gd name="connsiteX114" fmla="*/ 1412130 w 4570769"/>
              <a:gd name="connsiteY114" fmla="*/ 38177 h 4205206"/>
              <a:gd name="connsiteX115" fmla="*/ 1446596 w 4570769"/>
              <a:gd name="connsiteY115" fmla="*/ 31817 h 4205206"/>
              <a:gd name="connsiteX116" fmla="*/ 1479909 w 4570769"/>
              <a:gd name="connsiteY116" fmla="*/ 25181 h 4205206"/>
              <a:gd name="connsiteX117" fmla="*/ 1513660 w 4570769"/>
              <a:gd name="connsiteY117" fmla="*/ 19259 h 4205206"/>
              <a:gd name="connsiteX118" fmla="*/ 1548287 w 4570769"/>
              <a:gd name="connsiteY118" fmla="*/ 14768 h 4205206"/>
              <a:gd name="connsiteX119" fmla="*/ 1582914 w 4570769"/>
              <a:gd name="connsiteY119" fmla="*/ 10277 h 4205206"/>
              <a:gd name="connsiteX120" fmla="*/ 1624738 w 4570769"/>
              <a:gd name="connsiteY120" fmla="*/ 6295 h 4205206"/>
              <a:gd name="connsiteX121" fmla="*/ 1665132 w 4570769"/>
              <a:gd name="connsiteY121" fmla="*/ 3189 h 4205206"/>
              <a:gd name="connsiteX122" fmla="*/ 1705687 w 4570769"/>
              <a:gd name="connsiteY122" fmla="*/ 1952 h 4205206"/>
              <a:gd name="connsiteX123" fmla="*/ 1745803 w 4570769"/>
              <a:gd name="connsiteY123" fmla="*/ 0 h 420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570769" h="4205206">
                <a:moveTo>
                  <a:pt x="1745803" y="0"/>
                </a:moveTo>
                <a:lnTo>
                  <a:pt x="1785804" y="1070"/>
                </a:lnTo>
                <a:lnTo>
                  <a:pt x="1824652" y="1862"/>
                </a:lnTo>
                <a:lnTo>
                  <a:pt x="1863937" y="3370"/>
                </a:lnTo>
                <a:lnTo>
                  <a:pt x="1903384" y="6747"/>
                </a:lnTo>
                <a:lnTo>
                  <a:pt x="1941677" y="9846"/>
                </a:lnTo>
                <a:lnTo>
                  <a:pt x="1980847" y="14376"/>
                </a:lnTo>
                <a:lnTo>
                  <a:pt x="2018863" y="18628"/>
                </a:lnTo>
                <a:lnTo>
                  <a:pt x="2057040" y="24750"/>
                </a:lnTo>
                <a:lnTo>
                  <a:pt x="2095218" y="30871"/>
                </a:lnTo>
                <a:lnTo>
                  <a:pt x="2132680" y="37430"/>
                </a:lnTo>
                <a:lnTo>
                  <a:pt x="2171018" y="45420"/>
                </a:lnTo>
                <a:lnTo>
                  <a:pt x="2207926" y="54286"/>
                </a:lnTo>
                <a:lnTo>
                  <a:pt x="2283172" y="71142"/>
                </a:lnTo>
                <a:lnTo>
                  <a:pt x="2357150" y="90743"/>
                </a:lnTo>
                <a:lnTo>
                  <a:pt x="2430850" y="111498"/>
                </a:lnTo>
                <a:lnTo>
                  <a:pt x="2504710" y="134121"/>
                </a:lnTo>
                <a:lnTo>
                  <a:pt x="2577856" y="157182"/>
                </a:lnTo>
                <a:lnTo>
                  <a:pt x="2651440" y="180958"/>
                </a:lnTo>
                <a:lnTo>
                  <a:pt x="2797893" y="228949"/>
                </a:lnTo>
                <a:lnTo>
                  <a:pt x="4570769" y="819920"/>
                </a:lnTo>
                <a:lnTo>
                  <a:pt x="4570769" y="4205206"/>
                </a:lnTo>
                <a:lnTo>
                  <a:pt x="1143839" y="4205206"/>
                </a:lnTo>
                <a:lnTo>
                  <a:pt x="269883" y="2777014"/>
                </a:lnTo>
                <a:lnTo>
                  <a:pt x="247099" y="2739822"/>
                </a:lnTo>
                <a:lnTo>
                  <a:pt x="225745" y="2701755"/>
                </a:lnTo>
                <a:lnTo>
                  <a:pt x="204669" y="2662533"/>
                </a:lnTo>
                <a:lnTo>
                  <a:pt x="185461" y="2623151"/>
                </a:lnTo>
                <a:lnTo>
                  <a:pt x="166691" y="2584484"/>
                </a:lnTo>
                <a:lnTo>
                  <a:pt x="149191" y="2543072"/>
                </a:lnTo>
                <a:lnTo>
                  <a:pt x="132129" y="2502375"/>
                </a:lnTo>
                <a:lnTo>
                  <a:pt x="116220" y="2461956"/>
                </a:lnTo>
                <a:lnTo>
                  <a:pt x="100588" y="2420383"/>
                </a:lnTo>
                <a:lnTo>
                  <a:pt x="86825" y="2378649"/>
                </a:lnTo>
                <a:lnTo>
                  <a:pt x="74493" y="2336038"/>
                </a:lnTo>
                <a:lnTo>
                  <a:pt x="62598" y="2294143"/>
                </a:lnTo>
                <a:lnTo>
                  <a:pt x="51419" y="2251810"/>
                </a:lnTo>
                <a:lnTo>
                  <a:pt x="41232" y="2207885"/>
                </a:lnTo>
                <a:lnTo>
                  <a:pt x="32198" y="2164237"/>
                </a:lnTo>
                <a:lnTo>
                  <a:pt x="25033" y="2120428"/>
                </a:lnTo>
                <a:lnTo>
                  <a:pt x="17868" y="2076619"/>
                </a:lnTo>
                <a:lnTo>
                  <a:pt x="12133" y="2031934"/>
                </a:lnTo>
                <a:lnTo>
                  <a:pt x="7552" y="1987526"/>
                </a:lnTo>
                <a:lnTo>
                  <a:pt x="4839" y="1942957"/>
                </a:lnTo>
                <a:lnTo>
                  <a:pt x="1689" y="1897672"/>
                </a:lnTo>
                <a:lnTo>
                  <a:pt x="844" y="1852942"/>
                </a:lnTo>
                <a:lnTo>
                  <a:pt x="0" y="1808212"/>
                </a:lnTo>
                <a:lnTo>
                  <a:pt x="1302" y="1762167"/>
                </a:lnTo>
                <a:lnTo>
                  <a:pt x="3757" y="1716399"/>
                </a:lnTo>
                <a:lnTo>
                  <a:pt x="6650" y="1671347"/>
                </a:lnTo>
                <a:lnTo>
                  <a:pt x="10974" y="1625418"/>
                </a:lnTo>
                <a:lnTo>
                  <a:pt x="17166" y="1579328"/>
                </a:lnTo>
                <a:lnTo>
                  <a:pt x="24073" y="1532800"/>
                </a:lnTo>
                <a:lnTo>
                  <a:pt x="30704" y="1487426"/>
                </a:lnTo>
                <a:lnTo>
                  <a:pt x="40633" y="1441014"/>
                </a:lnTo>
                <a:lnTo>
                  <a:pt x="51001" y="1395317"/>
                </a:lnTo>
                <a:lnTo>
                  <a:pt x="60189" y="1362146"/>
                </a:lnTo>
                <a:lnTo>
                  <a:pt x="68939" y="1328260"/>
                </a:lnTo>
                <a:lnTo>
                  <a:pt x="78127" y="1295089"/>
                </a:lnTo>
                <a:lnTo>
                  <a:pt x="88907" y="1262911"/>
                </a:lnTo>
                <a:lnTo>
                  <a:pt x="99964" y="1229579"/>
                </a:lnTo>
                <a:lnTo>
                  <a:pt x="111182" y="1198116"/>
                </a:lnTo>
                <a:lnTo>
                  <a:pt x="123393" y="1165061"/>
                </a:lnTo>
                <a:lnTo>
                  <a:pt x="136479" y="1133437"/>
                </a:lnTo>
                <a:lnTo>
                  <a:pt x="148851" y="1102250"/>
                </a:lnTo>
                <a:lnTo>
                  <a:pt x="162652" y="1070188"/>
                </a:lnTo>
                <a:lnTo>
                  <a:pt x="178046" y="1039118"/>
                </a:lnTo>
                <a:lnTo>
                  <a:pt x="193439" y="1008048"/>
                </a:lnTo>
                <a:lnTo>
                  <a:pt x="209271" y="977693"/>
                </a:lnTo>
                <a:lnTo>
                  <a:pt x="224825" y="948491"/>
                </a:lnTo>
                <a:lnTo>
                  <a:pt x="241372" y="917698"/>
                </a:lnTo>
                <a:lnTo>
                  <a:pt x="259948" y="888612"/>
                </a:lnTo>
                <a:lnTo>
                  <a:pt x="276933" y="858534"/>
                </a:lnTo>
                <a:lnTo>
                  <a:pt x="295948" y="830164"/>
                </a:lnTo>
                <a:lnTo>
                  <a:pt x="313809" y="801516"/>
                </a:lnTo>
                <a:lnTo>
                  <a:pt x="333977" y="773423"/>
                </a:lnTo>
                <a:lnTo>
                  <a:pt x="354145" y="745330"/>
                </a:lnTo>
                <a:lnTo>
                  <a:pt x="374313" y="717236"/>
                </a:lnTo>
                <a:lnTo>
                  <a:pt x="395357" y="690573"/>
                </a:lnTo>
                <a:lnTo>
                  <a:pt x="417555" y="664188"/>
                </a:lnTo>
                <a:lnTo>
                  <a:pt x="439037" y="638240"/>
                </a:lnTo>
                <a:lnTo>
                  <a:pt x="461235" y="611854"/>
                </a:lnTo>
                <a:lnTo>
                  <a:pt x="483871" y="586184"/>
                </a:lnTo>
                <a:lnTo>
                  <a:pt x="506945" y="561228"/>
                </a:lnTo>
                <a:lnTo>
                  <a:pt x="530734" y="535835"/>
                </a:lnTo>
                <a:lnTo>
                  <a:pt x="555399" y="511872"/>
                </a:lnTo>
                <a:lnTo>
                  <a:pt x="580065" y="487908"/>
                </a:lnTo>
                <a:lnTo>
                  <a:pt x="605168" y="464661"/>
                </a:lnTo>
                <a:lnTo>
                  <a:pt x="629995" y="442566"/>
                </a:lnTo>
                <a:lnTo>
                  <a:pt x="655537" y="420033"/>
                </a:lnTo>
                <a:lnTo>
                  <a:pt x="682232" y="397778"/>
                </a:lnTo>
                <a:lnTo>
                  <a:pt x="708212" y="375960"/>
                </a:lnTo>
                <a:lnTo>
                  <a:pt x="735783" y="355135"/>
                </a:lnTo>
                <a:lnTo>
                  <a:pt x="763355" y="334310"/>
                </a:lnTo>
                <a:lnTo>
                  <a:pt x="791802" y="314915"/>
                </a:lnTo>
                <a:lnTo>
                  <a:pt x="819096" y="295244"/>
                </a:lnTo>
                <a:lnTo>
                  <a:pt x="847982" y="276564"/>
                </a:lnTo>
                <a:lnTo>
                  <a:pt x="876868" y="257885"/>
                </a:lnTo>
                <a:lnTo>
                  <a:pt x="905915" y="241074"/>
                </a:lnTo>
                <a:lnTo>
                  <a:pt x="935239" y="223110"/>
                </a:lnTo>
                <a:lnTo>
                  <a:pt x="964724" y="207014"/>
                </a:lnTo>
                <a:lnTo>
                  <a:pt x="994925" y="190480"/>
                </a:lnTo>
                <a:lnTo>
                  <a:pt x="1026001" y="175377"/>
                </a:lnTo>
                <a:lnTo>
                  <a:pt x="1056363" y="160712"/>
                </a:lnTo>
                <a:lnTo>
                  <a:pt x="1087440" y="145608"/>
                </a:lnTo>
                <a:lnTo>
                  <a:pt x="1119116" y="133089"/>
                </a:lnTo>
                <a:lnTo>
                  <a:pt x="1151068" y="119416"/>
                </a:lnTo>
                <a:lnTo>
                  <a:pt x="1182744" y="106896"/>
                </a:lnTo>
                <a:lnTo>
                  <a:pt x="1214143" y="95530"/>
                </a:lnTo>
                <a:lnTo>
                  <a:pt x="1246695" y="84441"/>
                </a:lnTo>
                <a:lnTo>
                  <a:pt x="1279248" y="73352"/>
                </a:lnTo>
                <a:lnTo>
                  <a:pt x="1312676" y="63693"/>
                </a:lnTo>
                <a:lnTo>
                  <a:pt x="1345828" y="55188"/>
                </a:lnTo>
                <a:lnTo>
                  <a:pt x="1378541" y="45967"/>
                </a:lnTo>
                <a:lnTo>
                  <a:pt x="1412130" y="38177"/>
                </a:lnTo>
                <a:lnTo>
                  <a:pt x="1446596" y="31817"/>
                </a:lnTo>
                <a:lnTo>
                  <a:pt x="1479909" y="25181"/>
                </a:lnTo>
                <a:lnTo>
                  <a:pt x="1513660" y="19259"/>
                </a:lnTo>
                <a:lnTo>
                  <a:pt x="1548287" y="14768"/>
                </a:lnTo>
                <a:lnTo>
                  <a:pt x="1582914" y="10277"/>
                </a:lnTo>
                <a:lnTo>
                  <a:pt x="1624738" y="6295"/>
                </a:lnTo>
                <a:lnTo>
                  <a:pt x="1665132" y="3189"/>
                </a:lnTo>
                <a:lnTo>
                  <a:pt x="1705687" y="1952"/>
                </a:lnTo>
                <a:lnTo>
                  <a:pt x="174580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25E0E32A-F106-F048-88D4-0509F5B5F353}"/>
              </a:ext>
            </a:extLst>
          </p:cNvPr>
          <p:cNvSpPr>
            <a:spLocks noGrp="1"/>
          </p:cNvSpPr>
          <p:nvPr>
            <p:ph type="title" hasCustomPrompt="1"/>
          </p:nvPr>
        </p:nvSpPr>
        <p:spPr>
          <a:xfrm>
            <a:off x="7211211" y="4204009"/>
            <a:ext cx="4506366" cy="860105"/>
          </a:xfrm>
          <a:prstGeom prst="rect">
            <a:avLst/>
          </a:prstGeom>
        </p:spPr>
        <p:txBody>
          <a:bodyPr anchor="b">
            <a:normAutofit/>
          </a:bodyPr>
          <a:lstStyle>
            <a:lvl1pPr algn="r">
              <a:defRPr sz="5600" b="0" i="0">
                <a:solidFill>
                  <a:srgbClr val="005EB8"/>
                </a:solidFill>
                <a:latin typeface="Gibson Light" panose="02000000000000000000" pitchFamily="2" charset="77"/>
                <a:ea typeface="Malgun Gothic Semilight" panose="020B0503020000020004" pitchFamily="34" charset="-127"/>
              </a:defRPr>
            </a:lvl1pPr>
          </a:lstStyle>
          <a:p>
            <a:r>
              <a:rPr lang="en-US"/>
              <a:t>Thank you</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3r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9" name="Text Placeholder 4">
            <a:extLst>
              <a:ext uri="{FF2B5EF4-FFF2-40B4-BE49-F238E27FC236}">
                <a16:creationId xmlns:a16="http://schemas.microsoft.com/office/drawing/2014/main" id="{555A55AF-823F-AE4B-968D-D0E9E3BD693F}"/>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4th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cxnSp>
        <p:nvCxnSpPr>
          <p:cNvPr id="19" name="Straight Connector 18">
            <a:extLst>
              <a:ext uri="{FF2B5EF4-FFF2-40B4-BE49-F238E27FC236}">
                <a16:creationId xmlns:a16="http://schemas.microsoft.com/office/drawing/2014/main" id="{716DB868-C384-2F41-818B-81375F7B364C}"/>
              </a:ext>
            </a:extLst>
          </p:cNvPr>
          <p:cNvCxnSpPr/>
          <p:nvPr userDrawn="1"/>
        </p:nvCxnSpPr>
        <p:spPr>
          <a:xfrm>
            <a:off x="9241971" y="5705195"/>
            <a:ext cx="2326139"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512546" y="5842556"/>
            <a:ext cx="3161516" cy="579469"/>
          </a:xfrm>
          <a:prstGeom prst="rect">
            <a:avLst/>
          </a:prstGeom>
        </p:spPr>
        <p:txBody>
          <a:bodyPr>
            <a:noAutofit/>
          </a:bodyPr>
          <a:lstStyle>
            <a:lvl1pPr marL="0" indent="0" algn="r">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10" name="Picture 9">
            <a:extLst>
              <a:ext uri="{FF2B5EF4-FFF2-40B4-BE49-F238E27FC236}">
                <a16:creationId xmlns:a16="http://schemas.microsoft.com/office/drawing/2014/main" id="{8A1E63B7-01B0-5B40-A891-874F247105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62805" y="416289"/>
            <a:ext cx="2105308" cy="385073"/>
          </a:xfrm>
          <a:prstGeom prst="rect">
            <a:avLst/>
          </a:prstGeom>
        </p:spPr>
      </p:pic>
      <p:pic>
        <p:nvPicPr>
          <p:cNvPr id="30" name="Picture 29">
            <a:extLst>
              <a:ext uri="{FF2B5EF4-FFF2-40B4-BE49-F238E27FC236}">
                <a16:creationId xmlns:a16="http://schemas.microsoft.com/office/drawing/2014/main" id="{E134701C-B683-5A41-97C1-6A5A5944138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677060" y="405167"/>
            <a:ext cx="2127533" cy="404949"/>
          </a:xfrm>
          <a:prstGeom prst="rect">
            <a:avLst/>
          </a:prstGeom>
        </p:spPr>
      </p:pic>
    </p:spTree>
    <p:extLst>
      <p:ext uri="{BB962C8B-B14F-4D97-AF65-F5344CB8AC3E}">
        <p14:creationId xmlns:p14="http://schemas.microsoft.com/office/powerpoint/2010/main" val="105988767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90A840C-D557-9E4F-A0B3-7E7E4FBFEAB6}"/>
              </a:ext>
            </a:extLst>
          </p:cNvPr>
          <p:cNvSpPr>
            <a:spLocks noGrp="1"/>
          </p:cNvSpPr>
          <p:nvPr>
            <p:ph type="pic" sz="quarter" idx="11" hasCustomPrompt="1"/>
          </p:nvPr>
        </p:nvSpPr>
        <p:spPr>
          <a:xfrm>
            <a:off x="495014" y="0"/>
            <a:ext cx="11696986" cy="6858005"/>
          </a:xfrm>
          <a:prstGeom prst="rect">
            <a:avLst/>
          </a:prstGeom>
          <a:solidFill>
            <a:schemeClr val="tx1"/>
          </a:solidFill>
        </p:spPr>
        <p:txBody>
          <a:bodyPr/>
          <a:lstStyle>
            <a:lvl1pPr marL="0" indent="0">
              <a:buNone/>
              <a:defRPr/>
            </a:lvl1pPr>
          </a:lstStyle>
          <a:p>
            <a:r>
              <a:rPr lang="en-DE"/>
              <a:t> </a:t>
            </a:r>
          </a:p>
        </p:txBody>
      </p:sp>
      <p:sp>
        <p:nvSpPr>
          <p:cNvPr id="5" name="Rectangle 4">
            <a:extLst>
              <a:ext uri="{FF2B5EF4-FFF2-40B4-BE49-F238E27FC236}">
                <a16:creationId xmlns:a16="http://schemas.microsoft.com/office/drawing/2014/main" id="{A3A3AE62-4A95-9C45-BD25-C8660A836CC6}"/>
              </a:ext>
            </a:extLst>
          </p:cNvPr>
          <p:cNvSpPr/>
          <p:nvPr userDrawn="1"/>
        </p:nvSpPr>
        <p:spPr>
          <a:xfrm rot="16200000">
            <a:off x="-3181494" y="3181488"/>
            <a:ext cx="6858003" cy="49501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6" name="Group 5">
            <a:extLst>
              <a:ext uri="{FF2B5EF4-FFF2-40B4-BE49-F238E27FC236}">
                <a16:creationId xmlns:a16="http://schemas.microsoft.com/office/drawing/2014/main" id="{0E65CC02-C422-1D4D-A9A6-D758A7048AFE}"/>
              </a:ext>
            </a:extLst>
          </p:cNvPr>
          <p:cNvGrpSpPr/>
          <p:nvPr userDrawn="1"/>
        </p:nvGrpSpPr>
        <p:grpSpPr>
          <a:xfrm rot="16200000">
            <a:off x="-663877" y="1002053"/>
            <a:ext cx="1796264" cy="149227"/>
            <a:chOff x="1856561" y="571293"/>
            <a:chExt cx="1606306" cy="133446"/>
          </a:xfrm>
        </p:grpSpPr>
        <p:pic>
          <p:nvPicPr>
            <p:cNvPr id="7" name="Picture 6">
              <a:extLst>
                <a:ext uri="{FF2B5EF4-FFF2-40B4-BE49-F238E27FC236}">
                  <a16:creationId xmlns:a16="http://schemas.microsoft.com/office/drawing/2014/main" id="{D83CD45F-1CA3-5D4D-B6CB-54424B640B00}"/>
                </a:ext>
              </a:extLst>
            </p:cNvPr>
            <p:cNvPicPr>
              <a:picLocks noChangeAspect="1"/>
            </p:cNvPicPr>
            <p:nvPr/>
          </p:nvPicPr>
          <p:blipFill>
            <a:blip r:embed="rId2"/>
            <a:stretch>
              <a:fillRect/>
            </a:stretch>
          </p:blipFill>
          <p:spPr>
            <a:xfrm>
              <a:off x="1856561" y="571293"/>
              <a:ext cx="729587" cy="133446"/>
            </a:xfrm>
            <a:prstGeom prst="rect">
              <a:avLst/>
            </a:prstGeom>
          </p:spPr>
        </p:pic>
        <p:pic>
          <p:nvPicPr>
            <p:cNvPr id="8" name="Picture 7">
              <a:extLst>
                <a:ext uri="{FF2B5EF4-FFF2-40B4-BE49-F238E27FC236}">
                  <a16:creationId xmlns:a16="http://schemas.microsoft.com/office/drawing/2014/main" id="{F9BCFCA3-667A-6544-B6AD-6C9937AB7401}"/>
                </a:ext>
              </a:extLst>
            </p:cNvPr>
            <p:cNvPicPr>
              <a:picLocks noChangeAspect="1"/>
            </p:cNvPicPr>
            <p:nvPr/>
          </p:nvPicPr>
          <p:blipFill>
            <a:blip r:embed="rId3"/>
            <a:stretch>
              <a:fillRect/>
            </a:stretch>
          </p:blipFill>
          <p:spPr>
            <a:xfrm>
              <a:off x="2790827" y="598644"/>
              <a:ext cx="672040" cy="98870"/>
            </a:xfrm>
            <a:prstGeom prst="rect">
              <a:avLst/>
            </a:prstGeom>
          </p:spPr>
        </p:pic>
        <p:cxnSp>
          <p:nvCxnSpPr>
            <p:cNvPr id="9" name="Straight Connector 8">
              <a:extLst>
                <a:ext uri="{FF2B5EF4-FFF2-40B4-BE49-F238E27FC236}">
                  <a16:creationId xmlns:a16="http://schemas.microsoft.com/office/drawing/2014/main" id="{F053EFFE-D6A9-534D-9E0C-E1EA99B42833}"/>
                </a:ext>
              </a:extLst>
            </p:cNvPr>
            <p:cNvCxnSpPr/>
            <p:nvPr/>
          </p:nvCxnSpPr>
          <p:spPr>
            <a:xfrm>
              <a:off x="2694302" y="596424"/>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 Placeholder 18">
            <a:extLst>
              <a:ext uri="{FF2B5EF4-FFF2-40B4-BE49-F238E27FC236}">
                <a16:creationId xmlns:a16="http://schemas.microsoft.com/office/drawing/2014/main" id="{77A8D188-987A-CB45-83C7-656C6C9EF3AC}"/>
              </a:ext>
            </a:extLst>
          </p:cNvPr>
          <p:cNvSpPr>
            <a:spLocks noGrp="1"/>
          </p:cNvSpPr>
          <p:nvPr>
            <p:ph type="body" sz="quarter" idx="13" hasCustomPrompt="1"/>
          </p:nvPr>
        </p:nvSpPr>
        <p:spPr>
          <a:xfrm>
            <a:off x="681165" y="2427111"/>
            <a:ext cx="6506819" cy="845040"/>
          </a:xfrm>
          <a:prstGeom prst="rect">
            <a:avLst/>
          </a:prstGeom>
        </p:spPr>
        <p:txBody>
          <a:bodyPr anchor="b"/>
          <a:lstStyle>
            <a:lvl1pPr marL="0" indent="0" algn="l">
              <a:buNone/>
              <a:defRPr sz="5400" spc="-150">
                <a:solidFill>
                  <a:schemeClr val="bg1"/>
                </a:solidFill>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The quick</a:t>
            </a:r>
            <a:endParaRPr lang="en-DE"/>
          </a:p>
        </p:txBody>
      </p:sp>
      <p:sp>
        <p:nvSpPr>
          <p:cNvPr id="24" name="Text Placeholder 23">
            <a:extLst>
              <a:ext uri="{FF2B5EF4-FFF2-40B4-BE49-F238E27FC236}">
                <a16:creationId xmlns:a16="http://schemas.microsoft.com/office/drawing/2014/main" id="{CE116B43-E2CF-DF49-8EC5-E273D7D2134D}"/>
              </a:ext>
            </a:extLst>
          </p:cNvPr>
          <p:cNvSpPr>
            <a:spLocks noGrp="1"/>
          </p:cNvSpPr>
          <p:nvPr>
            <p:ph type="body" sz="quarter" idx="14" hasCustomPrompt="1"/>
          </p:nvPr>
        </p:nvSpPr>
        <p:spPr>
          <a:xfrm>
            <a:off x="503097" y="-14488"/>
            <a:ext cx="11696985" cy="2191093"/>
          </a:xfrm>
          <a:prstGeom prst="rect">
            <a:avLst/>
          </a:prstGeom>
          <a:gradFill>
            <a:gsLst>
              <a:gs pos="0">
                <a:schemeClr val="tx1">
                  <a:lumMod val="45000"/>
                  <a:alpha val="43000"/>
                </a:schemeClr>
              </a:gs>
              <a:gs pos="100000">
                <a:schemeClr val="tx1">
                  <a:lumMod val="0"/>
                  <a:alpha val="0"/>
                </a:schemeClr>
              </a:gs>
            </a:gsLst>
            <a:lin ang="5400000" scaled="1"/>
          </a:gradFill>
        </p:spPr>
        <p:txBody>
          <a:bodyPr/>
          <a:lstStyle>
            <a:lvl1pPr marL="0" indent="0">
              <a:buNone/>
              <a:defRPr/>
            </a:lvl1pPr>
          </a:lstStyle>
          <a:p>
            <a:pPr lvl="0"/>
            <a:r>
              <a:rPr lang="en-DE"/>
              <a:t> </a:t>
            </a:r>
          </a:p>
        </p:txBody>
      </p:sp>
      <p:sp>
        <p:nvSpPr>
          <p:cNvPr id="11" name="Text Placeholder 18">
            <a:extLst>
              <a:ext uri="{FF2B5EF4-FFF2-40B4-BE49-F238E27FC236}">
                <a16:creationId xmlns:a16="http://schemas.microsoft.com/office/drawing/2014/main" id="{AA770413-9688-0B43-B47F-F78229611823}"/>
              </a:ext>
            </a:extLst>
          </p:cNvPr>
          <p:cNvSpPr>
            <a:spLocks noGrp="1"/>
          </p:cNvSpPr>
          <p:nvPr>
            <p:ph type="body" sz="quarter" idx="15" hasCustomPrompt="1"/>
          </p:nvPr>
        </p:nvSpPr>
        <p:spPr>
          <a:xfrm>
            <a:off x="1674587" y="3093156"/>
            <a:ext cx="8417679" cy="2046109"/>
          </a:xfrm>
          <a:prstGeom prst="rect">
            <a:avLst/>
          </a:prstGeom>
        </p:spPr>
        <p:txBody>
          <a:bodyPr anchor="b"/>
          <a:lstStyle>
            <a:lvl1pPr marL="0" indent="0" algn="l">
              <a:buNone/>
              <a:defRPr sz="13800" b="1" i="0" spc="-150">
                <a:solidFill>
                  <a:schemeClr val="bg1"/>
                </a:solidFill>
                <a:latin typeface="Gibson SemBd" panose="02000000000000000000" pitchFamily="2" charset="77"/>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brown fox</a:t>
            </a:r>
            <a:endParaRPr lang="en-DE"/>
          </a:p>
        </p:txBody>
      </p:sp>
      <p:sp>
        <p:nvSpPr>
          <p:cNvPr id="12" name="Text Placeholder 18">
            <a:extLst>
              <a:ext uri="{FF2B5EF4-FFF2-40B4-BE49-F238E27FC236}">
                <a16:creationId xmlns:a16="http://schemas.microsoft.com/office/drawing/2014/main" id="{C9DB7E5C-8BF4-7A4C-B8A5-9BC3D7CF1074}"/>
              </a:ext>
            </a:extLst>
          </p:cNvPr>
          <p:cNvSpPr>
            <a:spLocks noGrp="1"/>
          </p:cNvSpPr>
          <p:nvPr>
            <p:ph type="body" sz="quarter" idx="16" hasCustomPrompt="1"/>
          </p:nvPr>
        </p:nvSpPr>
        <p:spPr>
          <a:xfrm>
            <a:off x="4779031" y="5170311"/>
            <a:ext cx="6506819" cy="845040"/>
          </a:xfrm>
          <a:prstGeom prst="rect">
            <a:avLst/>
          </a:prstGeom>
        </p:spPr>
        <p:txBody>
          <a:bodyPr anchor="b"/>
          <a:lstStyle>
            <a:lvl1pPr marL="0" indent="0" algn="l">
              <a:buNone/>
              <a:defRPr sz="5400" spc="-150">
                <a:solidFill>
                  <a:schemeClr val="bg1"/>
                </a:solidFill>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J</a:t>
            </a:r>
            <a:r>
              <a:rPr lang="en-DE"/>
              <a:t>umps over the lazy dog.</a:t>
            </a:r>
          </a:p>
        </p:txBody>
      </p:sp>
      <p:sp>
        <p:nvSpPr>
          <p:cNvPr id="13" name="Footer Placeholder 4">
            <a:extLst>
              <a:ext uri="{FF2B5EF4-FFF2-40B4-BE49-F238E27FC236}">
                <a16:creationId xmlns:a16="http://schemas.microsoft.com/office/drawing/2014/main" id="{9F01C915-0B7B-8C41-B18D-9FDC7C2D292E}"/>
              </a:ext>
            </a:extLst>
          </p:cNvPr>
          <p:cNvSpPr txBox="1">
            <a:spLocks/>
          </p:cNvSpPr>
          <p:nvPr userDrawn="1"/>
        </p:nvSpPr>
        <p:spPr>
          <a:xfrm rot="16200000">
            <a:off x="10535707" y="5201706"/>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tx1">
                    <a:lumMod val="40000"/>
                    <a:lumOff val="60000"/>
                  </a:schemeClr>
                </a:solidFill>
                <a:latin typeface="Calibri Light" panose="020F0302020204030204"/>
              </a:rPr>
              <a:t>© Amadeus IT Group and its affiliates and subsidiaries</a:t>
            </a:r>
          </a:p>
        </p:txBody>
      </p:sp>
    </p:spTree>
    <p:extLst>
      <p:ext uri="{BB962C8B-B14F-4D97-AF65-F5344CB8AC3E}">
        <p14:creationId xmlns:p14="http://schemas.microsoft.com/office/powerpoint/2010/main" val="29746718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Standard + Coun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pic>
        <p:nvPicPr>
          <p:cNvPr id="26" name="Picture 25">
            <a:extLst>
              <a:ext uri="{FF2B5EF4-FFF2-40B4-BE49-F238E27FC236}">
                <a16:creationId xmlns:a16="http://schemas.microsoft.com/office/drawing/2014/main" id="{43FB8492-7937-5B4C-811E-EF340072848E}"/>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
        <p:nvSpPr>
          <p:cNvPr id="18" name="Content Placeholder 47">
            <a:extLst>
              <a:ext uri="{FF2B5EF4-FFF2-40B4-BE49-F238E27FC236}">
                <a16:creationId xmlns:a16="http://schemas.microsoft.com/office/drawing/2014/main" id="{1A5F5276-5A52-4B44-AEDE-57EBC294D06D}"/>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
        <p:nvSpPr>
          <p:cNvPr id="19" name="Footer Placeholder 4">
            <a:extLst>
              <a:ext uri="{FF2B5EF4-FFF2-40B4-BE49-F238E27FC236}">
                <a16:creationId xmlns:a16="http://schemas.microsoft.com/office/drawing/2014/main" id="{1BE21BE3-A810-304B-B4DF-3AEDBB60BF24}"/>
              </a:ext>
            </a:extLst>
          </p:cNvPr>
          <p:cNvSpPr txBox="1">
            <a:spLocks/>
          </p:cNvSpPr>
          <p:nvPr userDrawn="1"/>
        </p:nvSpPr>
        <p:spPr>
          <a:xfrm rot="16200000">
            <a:off x="10535707" y="5201706"/>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rgbClr val="FFFFFF">
                    <a:lumMod val="65000"/>
                  </a:srgbClr>
                </a:solidFill>
                <a:latin typeface="Calibri Light" panose="020F0302020204030204"/>
              </a:rPr>
              <a:t>© Amadeus IT Group and its affiliates and subsidiaries</a:t>
            </a:r>
          </a:p>
        </p:txBody>
      </p:sp>
      <p:pic>
        <p:nvPicPr>
          <p:cNvPr id="20" name="Graphic 19">
            <a:extLst>
              <a:ext uri="{FF2B5EF4-FFF2-40B4-BE49-F238E27FC236}">
                <a16:creationId xmlns:a16="http://schemas.microsoft.com/office/drawing/2014/main" id="{1C408F52-7C87-8C43-9963-0C859F431FA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9631" y="328121"/>
            <a:ext cx="121343" cy="121343"/>
          </a:xfrm>
          <a:prstGeom prst="rect">
            <a:avLst/>
          </a:prstGeom>
        </p:spPr>
      </p:pic>
      <p:sp>
        <p:nvSpPr>
          <p:cNvPr id="21" name="TextBox 20">
            <a:extLst>
              <a:ext uri="{FF2B5EF4-FFF2-40B4-BE49-F238E27FC236}">
                <a16:creationId xmlns:a16="http://schemas.microsoft.com/office/drawing/2014/main" id="{DD2BFA43-AA04-FC4C-9B1A-ADC45037CD7B}"/>
              </a:ext>
            </a:extLst>
          </p:cNvPr>
          <p:cNvSpPr txBox="1"/>
          <p:nvPr userDrawn="1"/>
        </p:nvSpPr>
        <p:spPr>
          <a:xfrm>
            <a:off x="11070193" y="296459"/>
            <a:ext cx="926857" cy="184666"/>
          </a:xfrm>
          <a:prstGeom prst="rect">
            <a:avLst/>
          </a:prstGeom>
          <a:noFill/>
        </p:spPr>
        <p:txBody>
          <a:bodyPr wrap="square" rtlCol="0">
            <a:spAutoFit/>
          </a:bodyPr>
          <a:lstStyle/>
          <a:p>
            <a:r>
              <a:rPr lang="en-US" sz="600" b="0" i="0" spc="150" baseline="0">
                <a:latin typeface="Gibson" panose="02000000000000000000" pitchFamily="2" charset="77"/>
              </a:rPr>
              <a:t>CONFIDENTIAL</a:t>
            </a:r>
          </a:p>
        </p:txBody>
      </p:sp>
    </p:spTree>
    <p:extLst>
      <p:ext uri="{BB962C8B-B14F-4D97-AF65-F5344CB8AC3E}">
        <p14:creationId xmlns:p14="http://schemas.microsoft.com/office/powerpoint/2010/main" val="18008782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ver option_NO IMAGE">
    <p:spTree>
      <p:nvGrpSpPr>
        <p:cNvPr id="1" name=""/>
        <p:cNvGrpSpPr/>
        <p:nvPr/>
      </p:nvGrpSpPr>
      <p:grpSpPr>
        <a:xfrm>
          <a:off x="0" y="0"/>
          <a:ext cx="0" cy="0"/>
          <a:chOff x="0" y="0"/>
          <a:chExt cx="0" cy="0"/>
        </a:xfrm>
      </p:grpSpPr>
      <p:sp>
        <p:nvSpPr>
          <p:cNvPr id="2" name="Title 1"/>
          <p:cNvSpPr>
            <a:spLocks noGrp="1"/>
          </p:cNvSpPr>
          <p:nvPr>
            <p:ph type="ctrTitle"/>
          </p:nvPr>
        </p:nvSpPr>
        <p:spPr>
          <a:xfrm>
            <a:off x="963813" y="1764051"/>
            <a:ext cx="10143533" cy="1829040"/>
          </a:xfrm>
          <a:prstGeom prst="rect">
            <a:avLst/>
          </a:prstGeom>
        </p:spPr>
        <p:txBody>
          <a:bodyPr anchor="b">
            <a:normAutofit/>
          </a:bodyPr>
          <a:lstStyle>
            <a:lvl1pPr algn="ctr">
              <a:defRPr sz="6600" b="0" i="0">
                <a:solidFill>
                  <a:srgbClr val="005EB8"/>
                </a:solidFill>
                <a:latin typeface="Gibson Light" panose="02000000000000000000" pitchFamily="2" charset="77"/>
              </a:defRPr>
            </a:lvl1pPr>
          </a:lstStyle>
          <a:p>
            <a:r>
              <a:rPr lang="en-US"/>
              <a:t>Click to edit Master title style</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A6A6A8"/>
                </a:solidFill>
                <a:latin typeface="Gibson" panose="02000000000000000000" pitchFamily="2" charset="77"/>
              </a:defRPr>
            </a:lvl1pPr>
          </a:lstStyle>
          <a:p>
            <a:r>
              <a:rPr lang="en-US"/>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18859089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Opener Slide Option 2_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406758"/>
            <a:ext cx="6750067" cy="6451241"/>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a:br>
            <a:br>
              <a:rPr lang="en-GB" noProof="0"/>
            </a:br>
            <a:br>
              <a:rPr lang="en-GB" noProof="0"/>
            </a:br>
            <a:br>
              <a:rPr lang="en-GB" noProof="0"/>
            </a:br>
            <a:r>
              <a:rPr lang="en-GB" noProof="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1" name="Picture 10">
            <a:extLst>
              <a:ext uri="{FF2B5EF4-FFF2-40B4-BE49-F238E27FC236}">
                <a16:creationId xmlns:a16="http://schemas.microsoft.com/office/drawing/2014/main" id="{BA9E8555-23CF-394B-ABCD-6DE2F00383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7609971" y="1501996"/>
            <a:ext cx="4061316"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7609971" y="4029740"/>
            <a:ext cx="4076388"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A6A6A8"/>
                </a:solidFill>
                <a:latin typeface="Gibson" panose="02000000000000000000" pitchFamily="2" charset="77"/>
              </a:defRPr>
            </a:lvl1pPr>
          </a:lstStyle>
          <a:p>
            <a:r>
              <a:rPr lang="en-US"/>
              <a:t>Name  I  00.00.00  I  Location</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32339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Opener Slide Option 2_ MORE LOGOS small 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1087551"/>
            <a:ext cx="6037739" cy="5770448"/>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a:br>
            <a:br>
              <a:rPr lang="en-GB" noProof="0"/>
            </a:br>
            <a:br>
              <a:rPr lang="en-GB" noProof="0"/>
            </a:br>
            <a:br>
              <a:rPr lang="en-GB" noProof="0"/>
            </a:br>
            <a:r>
              <a:rPr lang="en-GB" noProof="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1" name="Picture 10">
            <a:extLst>
              <a:ext uri="{FF2B5EF4-FFF2-40B4-BE49-F238E27FC236}">
                <a16:creationId xmlns:a16="http://schemas.microsoft.com/office/drawing/2014/main" id="{BA9E8555-23CF-394B-ABCD-6DE2F00383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6963508" y="1501996"/>
            <a:ext cx="4707779"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6963508" y="4029740"/>
            <a:ext cx="4722851"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A6A6A8"/>
                </a:solidFill>
                <a:latin typeface="Gibson" panose="02000000000000000000" pitchFamily="2" charset="77"/>
              </a:defRPr>
            </a:lvl1pPr>
          </a:lstStyle>
          <a:p>
            <a:r>
              <a:rPr lang="en-US"/>
              <a:t>Footer  I  Credits  I  Links</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0888DE82-4B10-EB43-9EAA-BB5F42FAD224}"/>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18" name="Text Placeholder 4">
            <a:extLst>
              <a:ext uri="{FF2B5EF4-FFF2-40B4-BE49-F238E27FC236}">
                <a16:creationId xmlns:a16="http://schemas.microsoft.com/office/drawing/2014/main" id="{1CCD96D0-224D-6749-B3D8-5716E30A170E}"/>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Tree>
    <p:extLst>
      <p:ext uri="{BB962C8B-B14F-4D97-AF65-F5344CB8AC3E}">
        <p14:creationId xmlns:p14="http://schemas.microsoft.com/office/powerpoint/2010/main" val="28027647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Opener Slide Option 3_Full Bleed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email">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775791"/>
            <a:ext cx="5317622"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p:nvPr>
        </p:nvSpPr>
        <p:spPr>
          <a:xfrm>
            <a:off x="534536" y="2189075"/>
            <a:ext cx="4506366"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016033"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449891" cy="579469"/>
          </a:xfrm>
          <a:prstGeom prst="rect">
            <a:avLst/>
          </a:prstGeom>
        </p:spPr>
        <p:txBody>
          <a:bodyPr>
            <a:noAutofit/>
          </a:bodyPr>
          <a:lstStyle>
            <a:lvl1pPr marL="0" indent="0" algn="l">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sp>
        <p:nvSpPr>
          <p:cNvPr id="14" name="Text Placeholder 4">
            <a:extLst>
              <a:ext uri="{FF2B5EF4-FFF2-40B4-BE49-F238E27FC236}">
                <a16:creationId xmlns:a16="http://schemas.microsoft.com/office/drawing/2014/main" id="{4E2C0494-05EB-9E40-B272-C4CB4781CE9B}"/>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3" name="Picture 2">
            <a:extLst>
              <a:ext uri="{FF2B5EF4-FFF2-40B4-BE49-F238E27FC236}">
                <a16:creationId xmlns:a16="http://schemas.microsoft.com/office/drawing/2014/main" id="{AEADAC17-718C-0C45-AF32-FFD3C2842BC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2826490" y="416228"/>
            <a:ext cx="2108200" cy="381000"/>
          </a:xfrm>
          <a:prstGeom prst="rect">
            <a:avLst/>
          </a:prstGeom>
        </p:spPr>
      </p:pic>
      <p:pic>
        <p:nvPicPr>
          <p:cNvPr id="20" name="Picture 19">
            <a:extLst>
              <a:ext uri="{FF2B5EF4-FFF2-40B4-BE49-F238E27FC236}">
                <a16:creationId xmlns:a16="http://schemas.microsoft.com/office/drawing/2014/main" id="{842AE032-B14A-E845-AE07-2A8FA0DF75C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27827839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Opener Slide Option 3_ta Full Bleed Image Long Header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email">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025236"/>
            <a:ext cx="6102944" cy="5832764"/>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hasCustomPrompt="1"/>
          </p:nvPr>
        </p:nvSpPr>
        <p:spPr>
          <a:xfrm>
            <a:off x="534536" y="2189075"/>
            <a:ext cx="5169578"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 For really long topics her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506366"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950634" cy="579469"/>
          </a:xfrm>
          <a:prstGeom prst="rect">
            <a:avLst/>
          </a:prstGeom>
        </p:spPr>
        <p:txBody>
          <a:bodyPr>
            <a:noAutofit/>
          </a:bodyPr>
          <a:lstStyle>
            <a:lvl1pPr marL="0" indent="0" algn="l">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3" name="Picture 2">
            <a:extLst>
              <a:ext uri="{FF2B5EF4-FFF2-40B4-BE49-F238E27FC236}">
                <a16:creationId xmlns:a16="http://schemas.microsoft.com/office/drawing/2014/main" id="{AEADAC17-718C-0C45-AF32-FFD3C2842BC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72471" y="415100"/>
            <a:ext cx="2108200" cy="381000"/>
          </a:xfrm>
          <a:prstGeom prst="rect">
            <a:avLst/>
          </a:prstGeom>
        </p:spPr>
      </p:pic>
      <p:pic>
        <p:nvPicPr>
          <p:cNvPr id="10" name="Picture 9">
            <a:extLst>
              <a:ext uri="{FF2B5EF4-FFF2-40B4-BE49-F238E27FC236}">
                <a16:creationId xmlns:a16="http://schemas.microsoft.com/office/drawing/2014/main" id="{6B40274C-D405-EF40-99EF-BA445245027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2677060" y="405167"/>
            <a:ext cx="2127533" cy="404949"/>
          </a:xfrm>
          <a:prstGeom prst="rect">
            <a:avLst/>
          </a:prstGeom>
        </p:spPr>
      </p:pic>
    </p:spTree>
    <p:extLst>
      <p:ext uri="{BB962C8B-B14F-4D97-AF65-F5344CB8AC3E}">
        <p14:creationId xmlns:p14="http://schemas.microsoft.com/office/powerpoint/2010/main" val="12873521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Opener Slide Option 3_MORE LOGOS Full Bleed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email">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flipH="1">
            <a:off x="6865648" y="1775791"/>
            <a:ext cx="5326351"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355318" y="6142362"/>
            <a:ext cx="3318744" cy="579469"/>
          </a:xfrm>
          <a:prstGeom prst="rect">
            <a:avLst/>
          </a:prstGeom>
        </p:spPr>
        <p:txBody>
          <a:bodyPr>
            <a:noAutofit/>
          </a:bodyPr>
          <a:lstStyle>
            <a:lvl1pPr marL="0" indent="0" algn="r">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10" name="Picture 9">
            <a:extLst>
              <a:ext uri="{FF2B5EF4-FFF2-40B4-BE49-F238E27FC236}">
                <a16:creationId xmlns:a16="http://schemas.microsoft.com/office/drawing/2014/main" id="{8A1E63B7-01B0-5B40-A891-874F2471055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73917" y="416289"/>
            <a:ext cx="2105308" cy="385073"/>
          </a:xfrm>
          <a:prstGeom prst="rect">
            <a:avLst/>
          </a:prstGeom>
        </p:spPr>
      </p:pic>
      <p:cxnSp>
        <p:nvCxnSpPr>
          <p:cNvPr id="21" name="Straight Connector 20">
            <a:extLst>
              <a:ext uri="{FF2B5EF4-FFF2-40B4-BE49-F238E27FC236}">
                <a16:creationId xmlns:a16="http://schemas.microsoft.com/office/drawing/2014/main" id="{8464986D-46E9-F345-86A1-64EAD1F6B93F}"/>
              </a:ext>
            </a:extLst>
          </p:cNvPr>
          <p:cNvCxnSpPr/>
          <p:nvPr userDrawn="1"/>
        </p:nvCxnSpPr>
        <p:spPr>
          <a:xfrm>
            <a:off x="8355318"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25" name="Title 1">
            <a:extLst>
              <a:ext uri="{FF2B5EF4-FFF2-40B4-BE49-F238E27FC236}">
                <a16:creationId xmlns:a16="http://schemas.microsoft.com/office/drawing/2014/main" id="{25E0E32A-F106-F048-88D4-0509F5B5F353}"/>
              </a:ext>
            </a:extLst>
          </p:cNvPr>
          <p:cNvSpPr>
            <a:spLocks noGrp="1"/>
          </p:cNvSpPr>
          <p:nvPr>
            <p:ph type="title"/>
          </p:nvPr>
        </p:nvSpPr>
        <p:spPr>
          <a:xfrm>
            <a:off x="7077354" y="2189075"/>
            <a:ext cx="4506366" cy="2852737"/>
          </a:xfrm>
          <a:prstGeom prst="rect">
            <a:avLst/>
          </a:prstGeom>
        </p:spPr>
        <p:txBody>
          <a:bodyPr anchor="b">
            <a:normAutofit/>
          </a:bodyPr>
          <a:lstStyle>
            <a:lvl1pPr algn="r">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a:t>
            </a:r>
          </a:p>
        </p:txBody>
      </p:sp>
      <p:sp>
        <p:nvSpPr>
          <p:cNvPr id="26" name="Text Placeholder 2">
            <a:extLst>
              <a:ext uri="{FF2B5EF4-FFF2-40B4-BE49-F238E27FC236}">
                <a16:creationId xmlns:a16="http://schemas.microsoft.com/office/drawing/2014/main" id="{8CA0C161-A898-0E42-A93F-E360D37B156B}"/>
              </a:ext>
            </a:extLst>
          </p:cNvPr>
          <p:cNvSpPr>
            <a:spLocks noGrp="1"/>
          </p:cNvSpPr>
          <p:nvPr>
            <p:ph type="body" idx="1"/>
          </p:nvPr>
        </p:nvSpPr>
        <p:spPr>
          <a:xfrm>
            <a:off x="7594556" y="5074217"/>
            <a:ext cx="4016033" cy="761468"/>
          </a:xfrm>
          <a:prstGeom prst="rect">
            <a:avLst/>
          </a:prstGeom>
        </p:spPr>
        <p:txBody>
          <a:bodyPr>
            <a:normAutofit/>
          </a:bodyPr>
          <a:lstStyle>
            <a:lvl1pPr marL="0" indent="0" algn="r">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3r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9" name="Text Placeholder 4">
            <a:extLst>
              <a:ext uri="{FF2B5EF4-FFF2-40B4-BE49-F238E27FC236}">
                <a16:creationId xmlns:a16="http://schemas.microsoft.com/office/drawing/2014/main" id="{555A55AF-823F-AE4B-968D-D0E9E3BD693F}"/>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4th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4" name="Picture 13">
            <a:extLst>
              <a:ext uri="{FF2B5EF4-FFF2-40B4-BE49-F238E27FC236}">
                <a16:creationId xmlns:a16="http://schemas.microsoft.com/office/drawing/2014/main" id="{7AF13188-E65C-314D-856B-E6536F261102}"/>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2640571" y="405167"/>
            <a:ext cx="2127533" cy="404949"/>
          </a:xfrm>
          <a:prstGeom prst="rect">
            <a:avLst/>
          </a:prstGeom>
        </p:spPr>
      </p:pic>
    </p:spTree>
    <p:extLst>
      <p:ext uri="{BB962C8B-B14F-4D97-AF65-F5344CB8AC3E}">
        <p14:creationId xmlns:p14="http://schemas.microsoft.com/office/powerpoint/2010/main" val="2057428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ECTION HEADER: Title and Dark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solidFill>
            <a:srgbClr val="E5E5E5"/>
          </a:solidFill>
        </p:spPr>
      </p:sp>
      <p:sp>
        <p:nvSpPr>
          <p:cNvPr id="16" name="Title 1"/>
          <p:cNvSpPr>
            <a:spLocks noGrp="1"/>
          </p:cNvSpPr>
          <p:nvPr>
            <p:ph type="title" hasCustomPrompt="1"/>
          </p:nvPr>
        </p:nvSpPr>
        <p:spPr>
          <a:xfrm>
            <a:off x="600600" y="4571999"/>
            <a:ext cx="10990800" cy="1446693"/>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chemeClr val="bg1"/>
                </a:solidFill>
                <a:latin typeface="Gibson Light" charset="0"/>
                <a:ea typeface="Gibson Light" charset="0"/>
                <a:cs typeface="Gibson Light" charset="0"/>
              </a:defRPr>
            </a:lvl1pPr>
          </a:lstStyle>
          <a:p>
            <a:r>
              <a:rPr lang="de-DE" noProof="0" err="1"/>
              <a:t>Section</a:t>
            </a:r>
            <a:r>
              <a:rPr lang="de-DE" noProof="0"/>
              <a:t> Header/Dark </a:t>
            </a:r>
            <a:r>
              <a:rPr lang="de-DE" noProof="0" err="1"/>
              <a:t>Imagery</a:t>
            </a:r>
            <a:r>
              <a:rPr lang="de-DE" noProof="0"/>
              <a:t> </a:t>
            </a:r>
            <a:r>
              <a:rPr lang="de-DE" noProof="0" err="1"/>
              <a:t>description</a:t>
            </a:r>
            <a:endParaRPr lang="en-GB" noProof="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chemeClr val="bg1"/>
                </a:solidFill>
                <a:latin typeface="Gibson" panose="02000000000000000000" pitchFamily="2" charset="77"/>
              </a:defRPr>
            </a:lvl1pPr>
          </a:lstStyle>
          <a:p>
            <a:r>
              <a:rPr lang="en-US"/>
              <a:t>Footer  I  Credits  I  Links</a:t>
            </a:r>
          </a:p>
        </p:txBody>
      </p:sp>
    </p:spTree>
    <p:extLst>
      <p:ext uri="{BB962C8B-B14F-4D97-AF65-F5344CB8AC3E}">
        <p14:creationId xmlns:p14="http://schemas.microsoft.com/office/powerpoint/2010/main" val="94765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2000" b="0" i="0">
                <a:solidFill>
                  <a:srgbClr val="323232"/>
                </a:solidFill>
                <a:latin typeface="Calibri Light" panose="020F0302020204030204" pitchFamily="34" charset="0"/>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GB" noProof="0"/>
              <a:t>Click to edit Master text styles</a:t>
            </a:r>
          </a:p>
        </p:txBody>
      </p:sp>
      <p:sp>
        <p:nvSpPr>
          <p:cNvPr id="24" name="Title 1"/>
          <p:cNvSpPr>
            <a:spLocks noGrp="1"/>
          </p:cNvSpPr>
          <p:nvPr>
            <p:ph type="title"/>
          </p:nvPr>
        </p:nvSpPr>
        <p:spPr>
          <a:xfrm>
            <a:off x="622570" y="188913"/>
            <a:ext cx="902702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5" name="Text Placeholder 19"/>
          <p:cNvSpPr>
            <a:spLocks noGrp="1"/>
          </p:cNvSpPr>
          <p:nvPr>
            <p:ph type="body" sz="quarter" idx="13"/>
          </p:nvPr>
        </p:nvSpPr>
        <p:spPr>
          <a:xfrm>
            <a:off x="620990" y="787824"/>
            <a:ext cx="4807728" cy="4515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937267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HEADER: Title and Light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noFill/>
        </p:spPr>
      </p:sp>
      <p:sp>
        <p:nvSpPr>
          <p:cNvPr id="16" name="Title 1"/>
          <p:cNvSpPr>
            <a:spLocks noGrp="1"/>
          </p:cNvSpPr>
          <p:nvPr>
            <p:ph type="title" hasCustomPrompt="1"/>
          </p:nvPr>
        </p:nvSpPr>
        <p:spPr>
          <a:xfrm>
            <a:off x="600600" y="4255127"/>
            <a:ext cx="10990800" cy="1763565"/>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rgbClr val="005EB8"/>
                </a:solidFill>
                <a:latin typeface="Gibson Light" charset="0"/>
                <a:ea typeface="Gibson Light" charset="0"/>
                <a:cs typeface="Gibson Light" charset="0"/>
              </a:defRPr>
            </a:lvl1pPr>
          </a:lstStyle>
          <a:p>
            <a:r>
              <a:rPr lang="de-DE" noProof="0" err="1"/>
              <a:t>Section</a:t>
            </a:r>
            <a:r>
              <a:rPr lang="de-DE" noProof="0"/>
              <a:t> Header/Light </a:t>
            </a:r>
            <a:r>
              <a:rPr lang="de-DE" noProof="0" err="1"/>
              <a:t>Imagery</a:t>
            </a:r>
            <a:r>
              <a:rPr lang="de-DE" noProof="0"/>
              <a:t> </a:t>
            </a:r>
            <a:r>
              <a:rPr lang="de-DE" noProof="0" err="1"/>
              <a:t>description</a:t>
            </a:r>
            <a:endParaRPr lang="en-GB" noProof="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Tree>
    <p:extLst>
      <p:ext uri="{BB962C8B-B14F-4D97-AF65-F5344CB8AC3E}">
        <p14:creationId xmlns:p14="http://schemas.microsoft.com/office/powerpoint/2010/main" val="22980324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ubhead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4331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3" y="1908061"/>
            <a:ext cx="1095041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Tree>
    <p:extLst>
      <p:ext uri="{BB962C8B-B14F-4D97-AF65-F5344CB8AC3E}">
        <p14:creationId xmlns:p14="http://schemas.microsoft.com/office/powerpoint/2010/main" val="19189702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Sub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4" y="2154358"/>
            <a:ext cx="5396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p:nvPr>
        </p:nvSpPr>
        <p:spPr>
          <a:xfrm>
            <a:off x="6172200" y="2154358"/>
            <a:ext cx="5395912" cy="3687642"/>
          </a:xfrm>
          <a:prstGeom prst="rect">
            <a:avLst/>
          </a:prstGeom>
        </p:spPr>
        <p:txBody>
          <a:bodyPr/>
          <a:lstStyle>
            <a:lvl1pPr marL="228600" indent="-228600">
              <a:defRPr lang="en-US" sz="2800" b="0" i="0" kern="1200" dirty="0">
                <a:solidFill>
                  <a:srgbClr val="787875"/>
                </a:solidFill>
                <a:latin typeface="Gibson Light" panose="02000000000000000000" pitchFamily="2" charset="77"/>
                <a:ea typeface="+mn-ea"/>
                <a:cs typeface="+mn-cs"/>
              </a:defRPr>
            </a:lvl1pPr>
            <a:lvl2pPr marL="685800" indent="-228600">
              <a:defRPr lang="en-US" sz="2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a:t>Second level</a:t>
            </a:r>
          </a:p>
          <a:p>
            <a:pPr marL="1143000" lvl="2" indent="-228600" algn="l" defTabSz="914400" rtl="0" eaLnBrk="1" latinLnBrk="0" hangingPunct="1">
              <a:lnSpc>
                <a:spcPct val="100000"/>
              </a:lnSpc>
              <a:spcBef>
                <a:spcPts val="500"/>
              </a:spcBef>
              <a:buSzPct val="70000"/>
              <a:buFont typeface="Symbol" pitchFamily="2" charset="2"/>
              <a:buChar char="-"/>
            </a:pPr>
            <a:r>
              <a:rPr lang="en-US"/>
              <a:t>Third level</a:t>
            </a:r>
          </a:p>
          <a:p>
            <a:pPr marL="1600200" lvl="3" indent="-228600" algn="l" defTabSz="914400" rtl="0" eaLnBrk="1" latinLnBrk="0" hangingPunct="1">
              <a:lnSpc>
                <a:spcPct val="100000"/>
              </a:lnSpc>
              <a:spcBef>
                <a:spcPts val="500"/>
              </a:spcBef>
              <a:buSzPct val="70000"/>
              <a:buFont typeface="Symbol" pitchFamily="2" charset="2"/>
              <a:buChar char="-"/>
            </a:pPr>
            <a:r>
              <a:rPr lang="en-US"/>
              <a:t>Fourth level</a:t>
            </a:r>
          </a:p>
          <a:p>
            <a:pPr marL="2057400" lvl="4" indent="-228600" algn="l" defTabSz="914400" rtl="0" eaLnBrk="1" latinLnBrk="0" hangingPunct="1">
              <a:lnSpc>
                <a:spcPct val="100000"/>
              </a:lnSpc>
              <a:spcBef>
                <a:spcPts val="500"/>
              </a:spcBef>
              <a:buSzPct val="70000"/>
              <a:buFont typeface="Symbol" pitchFamily="2" charset="2"/>
              <a:buChar char="-"/>
            </a:pPr>
            <a:r>
              <a:rPr lang="en-US"/>
              <a:t>Fifth level</a:t>
            </a:r>
          </a:p>
        </p:txBody>
      </p:sp>
    </p:spTree>
    <p:extLst>
      <p:ext uri="{BB962C8B-B14F-4D97-AF65-F5344CB8AC3E}">
        <p14:creationId xmlns:p14="http://schemas.microsoft.com/office/powerpoint/2010/main" val="38531019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4E45BF06-49B1-A844-8D28-F56D54BD99BB}"/>
              </a:ext>
            </a:extLst>
          </p:cNvPr>
          <p:cNvSpPr>
            <a:spLocks noGrp="1"/>
          </p:cNvSpPr>
          <p:nvPr>
            <p:ph idx="22" hasCustomPrompt="1"/>
          </p:nvPr>
        </p:nvSpPr>
        <p:spPr>
          <a:xfrm>
            <a:off x="617693"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13" name="Title 1">
            <a:extLst>
              <a:ext uri="{FF2B5EF4-FFF2-40B4-BE49-F238E27FC236}">
                <a16:creationId xmlns:a16="http://schemas.microsoft.com/office/drawing/2014/main" id="{2435B18A-4ED0-824B-99BE-DB030D8BF3F1}"/>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5" name="Content Placeholder 2">
            <a:extLst>
              <a:ext uri="{FF2B5EF4-FFF2-40B4-BE49-F238E27FC236}">
                <a16:creationId xmlns:a16="http://schemas.microsoft.com/office/drawing/2014/main" id="{7AB50851-71A5-7943-9150-54C8FEB44E19}"/>
              </a:ext>
            </a:extLst>
          </p:cNvPr>
          <p:cNvSpPr>
            <a:spLocks noGrp="1"/>
          </p:cNvSpPr>
          <p:nvPr>
            <p:ph idx="23" hasCustomPrompt="1"/>
          </p:nvPr>
        </p:nvSpPr>
        <p:spPr>
          <a:xfrm>
            <a:off x="6171470"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Tree>
    <p:extLst>
      <p:ext uri="{BB962C8B-B14F-4D97-AF65-F5344CB8AC3E}">
        <p14:creationId xmlns:p14="http://schemas.microsoft.com/office/powerpoint/2010/main" val="4093743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Listing: 2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4" y="2537034"/>
            <a:ext cx="5396400" cy="3304966"/>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hasCustomPrompt="1"/>
          </p:nvPr>
        </p:nvSpPr>
        <p:spPr>
          <a:xfrm>
            <a:off x="6172200" y="2537034"/>
            <a:ext cx="5395912" cy="3304966"/>
          </a:xfrm>
          <a:prstGeom prst="rect">
            <a:avLst/>
          </a:prstGeom>
        </p:spPr>
        <p:txBody>
          <a:bodyPr/>
          <a:lstStyle>
            <a:lvl1pPr marL="228600" indent="-228600">
              <a:defRPr lang="en-US" sz="1800" b="0" i="0" kern="1200" dirty="0">
                <a:solidFill>
                  <a:srgbClr val="787875"/>
                </a:solidFill>
                <a:latin typeface="Gibson Light" panose="02000000000000000000" pitchFamily="2" charset="77"/>
                <a:ea typeface="+mn-ea"/>
                <a:cs typeface="+mn-cs"/>
              </a:defRPr>
            </a:lvl1pPr>
            <a:lvl2pPr marL="685800" indent="-228600">
              <a:defRPr lang="en-US" sz="1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a:t>Second level</a:t>
            </a:r>
          </a:p>
        </p:txBody>
      </p:sp>
      <p:sp>
        <p:nvSpPr>
          <p:cNvPr id="21" name="Text Placeholder 19">
            <a:extLst>
              <a:ext uri="{FF2B5EF4-FFF2-40B4-BE49-F238E27FC236}">
                <a16:creationId xmlns:a16="http://schemas.microsoft.com/office/drawing/2014/main" id="{0317F79B-6462-2C4F-BD9B-322247BB510F}"/>
              </a:ext>
            </a:extLst>
          </p:cNvPr>
          <p:cNvSpPr>
            <a:spLocks noGrp="1"/>
          </p:cNvSpPr>
          <p:nvPr>
            <p:ph type="body" sz="quarter" idx="26" hasCustomPrompt="1"/>
          </p:nvPr>
        </p:nvSpPr>
        <p:spPr>
          <a:xfrm>
            <a:off x="617695"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3" name="Text Placeholder 19">
            <a:extLst>
              <a:ext uri="{FF2B5EF4-FFF2-40B4-BE49-F238E27FC236}">
                <a16:creationId xmlns:a16="http://schemas.microsoft.com/office/drawing/2014/main" id="{6AEEECBC-B8D0-364D-B845-8B4EB594FAD5}"/>
              </a:ext>
            </a:extLst>
          </p:cNvPr>
          <p:cNvSpPr>
            <a:spLocks noGrp="1"/>
          </p:cNvSpPr>
          <p:nvPr>
            <p:ph type="body" sz="quarter" idx="27" hasCustomPrompt="1"/>
          </p:nvPr>
        </p:nvSpPr>
        <p:spPr>
          <a:xfrm>
            <a:off x="6172920"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199389482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Listing: 2Poin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A3239D28-8547-704B-9FB0-06B6340E087B}"/>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6" name="Text Placeholder 19">
            <a:extLst>
              <a:ext uri="{FF2B5EF4-FFF2-40B4-BE49-F238E27FC236}">
                <a16:creationId xmlns:a16="http://schemas.microsoft.com/office/drawing/2014/main" id="{3F9BB059-A4B7-7F43-BCDA-6CBA9E886566}"/>
              </a:ext>
            </a:extLst>
          </p:cNvPr>
          <p:cNvSpPr>
            <a:spLocks noGrp="1"/>
          </p:cNvSpPr>
          <p:nvPr>
            <p:ph type="body" sz="quarter" idx="13" hasCustomPrompt="1"/>
          </p:nvPr>
        </p:nvSpPr>
        <p:spPr>
          <a:xfrm>
            <a:off x="617695" y="1891811"/>
            <a:ext cx="5396399"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17" name="Text Placeholder 19">
            <a:extLst>
              <a:ext uri="{FF2B5EF4-FFF2-40B4-BE49-F238E27FC236}">
                <a16:creationId xmlns:a16="http://schemas.microsoft.com/office/drawing/2014/main" id="{B56B6083-7026-174C-B503-D170BCFEBB87}"/>
              </a:ext>
            </a:extLst>
          </p:cNvPr>
          <p:cNvSpPr>
            <a:spLocks noGrp="1"/>
          </p:cNvSpPr>
          <p:nvPr>
            <p:ph type="body" sz="quarter" idx="24" hasCustomPrompt="1"/>
          </p:nvPr>
        </p:nvSpPr>
        <p:spPr>
          <a:xfrm>
            <a:off x="6171002" y="1891811"/>
            <a:ext cx="5396399" cy="300087"/>
          </a:xfrm>
          <a:prstGeom prst="rect">
            <a:avLst/>
          </a:prstGeom>
        </p:spPr>
        <p:txBody>
          <a:bodyPr anchor="ctr">
            <a:noAutofit/>
          </a:bodyPr>
          <a:lstStyle>
            <a:lvl1pPr marL="0" indent="0">
              <a:lnSpc>
                <a:spcPct val="100000"/>
              </a:lnSpc>
              <a:buNone/>
              <a:defRPr lang="de-DE" sz="2400" b="0" i="0" kern="1200" noProof="0" dirty="0">
                <a:solidFill>
                  <a:srgbClr val="00A9E0"/>
                </a:solidFill>
                <a:latin typeface="Gibson Light" panose="02000000000000000000" pitchFamily="2" charset="77"/>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marL="0" lvl="0" indent="0" algn="l" defTabSz="914400" rtl="0" eaLnBrk="1" latinLnBrk="0" hangingPunct="1">
              <a:lnSpc>
                <a:spcPct val="100000"/>
              </a:lnSpc>
              <a:spcBef>
                <a:spcPts val="1000"/>
              </a:spcBef>
              <a:buSzPct val="70000"/>
              <a:buFont typeface="Symbol" pitchFamily="2" charset="2"/>
              <a:buNone/>
            </a:pPr>
            <a:r>
              <a:rPr lang="de-DE" noProof="0"/>
              <a:t>Header</a:t>
            </a:r>
          </a:p>
        </p:txBody>
      </p:sp>
      <p:sp>
        <p:nvSpPr>
          <p:cNvPr id="20" name="Content Placeholder 2">
            <a:extLst>
              <a:ext uri="{FF2B5EF4-FFF2-40B4-BE49-F238E27FC236}">
                <a16:creationId xmlns:a16="http://schemas.microsoft.com/office/drawing/2014/main" id="{EE94C3F0-B99F-1A4E-A9C4-82B81C247511}"/>
              </a:ext>
            </a:extLst>
          </p:cNvPr>
          <p:cNvSpPr>
            <a:spLocks noGrp="1"/>
          </p:cNvSpPr>
          <p:nvPr>
            <p:ph idx="25" hasCustomPrompt="1"/>
          </p:nvPr>
        </p:nvSpPr>
        <p:spPr>
          <a:xfrm>
            <a:off x="617521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72929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2911"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2915"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8" name="Content Placeholder 2">
            <a:extLst>
              <a:ext uri="{FF2B5EF4-FFF2-40B4-BE49-F238E27FC236}">
                <a16:creationId xmlns:a16="http://schemas.microsoft.com/office/drawing/2014/main" id="{CDF71F77-03EB-1346-B49B-10A51BB83ACB}"/>
              </a:ext>
            </a:extLst>
          </p:cNvPr>
          <p:cNvSpPr>
            <a:spLocks noGrp="1"/>
          </p:cNvSpPr>
          <p:nvPr>
            <p:ph idx="1" hasCustomPrompt="1"/>
          </p:nvPr>
        </p:nvSpPr>
        <p:spPr>
          <a:xfrm>
            <a:off x="620710"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21866DAB-E4AF-B043-B044-1E29C1D8D9A3}"/>
              </a:ext>
            </a:extLst>
          </p:cNvPr>
          <p:cNvSpPr>
            <a:spLocks noGrp="1"/>
          </p:cNvSpPr>
          <p:nvPr>
            <p:ph idx="37" hasCustomPrompt="1"/>
          </p:nvPr>
        </p:nvSpPr>
        <p:spPr>
          <a:xfrm>
            <a:off x="3480642"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C90DAF5A-AE06-C647-9A81-A94C85251578}"/>
              </a:ext>
            </a:extLst>
          </p:cNvPr>
          <p:cNvSpPr>
            <a:spLocks noGrp="1"/>
          </p:cNvSpPr>
          <p:nvPr>
            <p:ph idx="38" hasCustomPrompt="1"/>
          </p:nvPr>
        </p:nvSpPr>
        <p:spPr>
          <a:xfrm>
            <a:off x="6369757"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4" name="Content Placeholder 2">
            <a:extLst>
              <a:ext uri="{FF2B5EF4-FFF2-40B4-BE49-F238E27FC236}">
                <a16:creationId xmlns:a16="http://schemas.microsoft.com/office/drawing/2014/main" id="{4ACA85C4-4370-2A42-80F6-914559227EFF}"/>
              </a:ext>
            </a:extLst>
          </p:cNvPr>
          <p:cNvSpPr>
            <a:spLocks noGrp="1"/>
          </p:cNvSpPr>
          <p:nvPr>
            <p:ph idx="39" hasCustomPrompt="1"/>
          </p:nvPr>
        </p:nvSpPr>
        <p:spPr>
          <a:xfrm>
            <a:off x="9229689"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5" name="Text Placeholder 19">
            <a:extLst>
              <a:ext uri="{FF2B5EF4-FFF2-40B4-BE49-F238E27FC236}">
                <a16:creationId xmlns:a16="http://schemas.microsoft.com/office/drawing/2014/main" id="{A89994AA-F55D-DF4A-B551-3108D79E1326}"/>
              </a:ext>
            </a:extLst>
          </p:cNvPr>
          <p:cNvSpPr>
            <a:spLocks noGrp="1"/>
          </p:cNvSpPr>
          <p:nvPr>
            <p:ph type="body" sz="quarter" idx="26" hasCustomPrompt="1"/>
          </p:nvPr>
        </p:nvSpPr>
        <p:spPr>
          <a:xfrm>
            <a:off x="617695"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6" name="Text Placeholder 19">
            <a:extLst>
              <a:ext uri="{FF2B5EF4-FFF2-40B4-BE49-F238E27FC236}">
                <a16:creationId xmlns:a16="http://schemas.microsoft.com/office/drawing/2014/main" id="{EE6829B0-CEA0-2A4F-A28E-D9E38408055B}"/>
              </a:ext>
            </a:extLst>
          </p:cNvPr>
          <p:cNvSpPr>
            <a:spLocks noGrp="1"/>
          </p:cNvSpPr>
          <p:nvPr>
            <p:ph type="body" sz="quarter" idx="40" hasCustomPrompt="1"/>
          </p:nvPr>
        </p:nvSpPr>
        <p:spPr>
          <a:xfrm>
            <a:off x="3478882"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7" name="Text Placeholder 19">
            <a:extLst>
              <a:ext uri="{FF2B5EF4-FFF2-40B4-BE49-F238E27FC236}">
                <a16:creationId xmlns:a16="http://schemas.microsoft.com/office/drawing/2014/main" id="{7FFCA151-D20D-CD49-A6DA-8FC7439479FC}"/>
              </a:ext>
            </a:extLst>
          </p:cNvPr>
          <p:cNvSpPr>
            <a:spLocks noGrp="1"/>
          </p:cNvSpPr>
          <p:nvPr>
            <p:ph type="body" sz="quarter" idx="41" hasCustomPrompt="1"/>
          </p:nvPr>
        </p:nvSpPr>
        <p:spPr>
          <a:xfrm>
            <a:off x="6369566"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8" name="Text Placeholder 19">
            <a:extLst>
              <a:ext uri="{FF2B5EF4-FFF2-40B4-BE49-F238E27FC236}">
                <a16:creationId xmlns:a16="http://schemas.microsoft.com/office/drawing/2014/main" id="{7CC0F432-FB69-754B-9B28-B2768DE6562B}"/>
              </a:ext>
            </a:extLst>
          </p:cNvPr>
          <p:cNvSpPr>
            <a:spLocks noGrp="1"/>
          </p:cNvSpPr>
          <p:nvPr>
            <p:ph type="body" sz="quarter" idx="42" hasCustomPrompt="1"/>
          </p:nvPr>
        </p:nvSpPr>
        <p:spPr>
          <a:xfrm>
            <a:off x="9230753"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25238498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Content Placeholder 2">
            <a:extLst>
              <a:ext uri="{FF2B5EF4-FFF2-40B4-BE49-F238E27FC236}">
                <a16:creationId xmlns:a16="http://schemas.microsoft.com/office/drawing/2014/main" id="{9819941D-7B0D-924D-B7F6-45A6F921F9A8}"/>
              </a:ext>
            </a:extLst>
          </p:cNvPr>
          <p:cNvSpPr>
            <a:spLocks noGrp="1"/>
          </p:cNvSpPr>
          <p:nvPr>
            <p:ph idx="1" hasCustomPrompt="1"/>
          </p:nvPr>
        </p:nvSpPr>
        <p:spPr>
          <a:xfrm>
            <a:off x="61769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18" name="Title 1">
            <a:extLst>
              <a:ext uri="{FF2B5EF4-FFF2-40B4-BE49-F238E27FC236}">
                <a16:creationId xmlns:a16="http://schemas.microsoft.com/office/drawing/2014/main" id="{92983D14-024B-E64E-9A32-D7ECA3EA1E02}"/>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9" name="Text Placeholder 19">
            <a:extLst>
              <a:ext uri="{FF2B5EF4-FFF2-40B4-BE49-F238E27FC236}">
                <a16:creationId xmlns:a16="http://schemas.microsoft.com/office/drawing/2014/main" id="{0E09045A-7B47-4D45-AB1E-84643EB4333A}"/>
              </a:ext>
            </a:extLst>
          </p:cNvPr>
          <p:cNvSpPr>
            <a:spLocks noGrp="1"/>
          </p:cNvSpPr>
          <p:nvPr>
            <p:ph type="body" sz="quarter" idx="13" hasCustomPrompt="1"/>
          </p:nvPr>
        </p:nvSpPr>
        <p:spPr>
          <a:xfrm>
            <a:off x="61769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0" name="Content Placeholder 2">
            <a:extLst>
              <a:ext uri="{FF2B5EF4-FFF2-40B4-BE49-F238E27FC236}">
                <a16:creationId xmlns:a16="http://schemas.microsoft.com/office/drawing/2014/main" id="{35D9DF33-216F-0E47-8D95-B729C84EF681}"/>
              </a:ext>
            </a:extLst>
          </p:cNvPr>
          <p:cNvSpPr>
            <a:spLocks noGrp="1"/>
          </p:cNvSpPr>
          <p:nvPr>
            <p:ph idx="37" hasCustomPrompt="1"/>
          </p:nvPr>
        </p:nvSpPr>
        <p:spPr>
          <a:xfrm>
            <a:off x="348281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21" name="Text Placeholder 19">
            <a:extLst>
              <a:ext uri="{FF2B5EF4-FFF2-40B4-BE49-F238E27FC236}">
                <a16:creationId xmlns:a16="http://schemas.microsoft.com/office/drawing/2014/main" id="{CB381CE9-ADB1-244D-938F-3BF56CDEE745}"/>
              </a:ext>
            </a:extLst>
          </p:cNvPr>
          <p:cNvSpPr>
            <a:spLocks noGrp="1"/>
          </p:cNvSpPr>
          <p:nvPr>
            <p:ph type="body" sz="quarter" idx="38" hasCustomPrompt="1"/>
          </p:nvPr>
        </p:nvSpPr>
        <p:spPr>
          <a:xfrm>
            <a:off x="348281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8" name="Content Placeholder 2">
            <a:extLst>
              <a:ext uri="{FF2B5EF4-FFF2-40B4-BE49-F238E27FC236}">
                <a16:creationId xmlns:a16="http://schemas.microsoft.com/office/drawing/2014/main" id="{08EA2A2A-2240-5F4C-B099-AA8FBE1A7E92}"/>
              </a:ext>
            </a:extLst>
          </p:cNvPr>
          <p:cNvSpPr>
            <a:spLocks noGrp="1"/>
          </p:cNvSpPr>
          <p:nvPr>
            <p:ph idx="39" hasCustomPrompt="1"/>
          </p:nvPr>
        </p:nvSpPr>
        <p:spPr>
          <a:xfrm>
            <a:off x="634793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29" name="Text Placeholder 19">
            <a:extLst>
              <a:ext uri="{FF2B5EF4-FFF2-40B4-BE49-F238E27FC236}">
                <a16:creationId xmlns:a16="http://schemas.microsoft.com/office/drawing/2014/main" id="{D18FD1BE-5D33-9541-8D27-AD219FFD9515}"/>
              </a:ext>
            </a:extLst>
          </p:cNvPr>
          <p:cNvSpPr>
            <a:spLocks noGrp="1"/>
          </p:cNvSpPr>
          <p:nvPr>
            <p:ph type="body" sz="quarter" idx="40" hasCustomPrompt="1"/>
          </p:nvPr>
        </p:nvSpPr>
        <p:spPr>
          <a:xfrm>
            <a:off x="634793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0" name="Content Placeholder 2">
            <a:extLst>
              <a:ext uri="{FF2B5EF4-FFF2-40B4-BE49-F238E27FC236}">
                <a16:creationId xmlns:a16="http://schemas.microsoft.com/office/drawing/2014/main" id="{4A1963F5-68ED-A44A-B7DA-BC6E24CAE4D6}"/>
              </a:ext>
            </a:extLst>
          </p:cNvPr>
          <p:cNvSpPr>
            <a:spLocks noGrp="1"/>
          </p:cNvSpPr>
          <p:nvPr>
            <p:ph idx="41" hasCustomPrompt="1"/>
          </p:nvPr>
        </p:nvSpPr>
        <p:spPr>
          <a:xfrm>
            <a:off x="921305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31" name="Text Placeholder 19">
            <a:extLst>
              <a:ext uri="{FF2B5EF4-FFF2-40B4-BE49-F238E27FC236}">
                <a16:creationId xmlns:a16="http://schemas.microsoft.com/office/drawing/2014/main" id="{2A8CD0F6-4EAE-8446-BC96-2278C63AA8D0}"/>
              </a:ext>
            </a:extLst>
          </p:cNvPr>
          <p:cNvSpPr>
            <a:spLocks noGrp="1"/>
          </p:cNvSpPr>
          <p:nvPr>
            <p:ph type="body" sz="quarter" idx="42" hasCustomPrompt="1"/>
          </p:nvPr>
        </p:nvSpPr>
        <p:spPr>
          <a:xfrm>
            <a:off x="921305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357922361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Numbered 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2145365"/>
            <a:ext cx="293670"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1</a:t>
            </a:r>
            <a:endParaRPr lang="en-US" sz="240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2136739"/>
            <a:ext cx="338554"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2</a:t>
            </a:r>
            <a:endParaRPr lang="en-US" sz="240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2148712"/>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542311"/>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2145365"/>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3</a:t>
            </a:r>
            <a:endParaRPr lang="en-US" sz="240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2140086"/>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2136739"/>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4</a:t>
            </a:r>
            <a:endParaRPr lang="en-US" sz="240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C784D1CF-3DCC-5D42-A479-884075BAD915}"/>
              </a:ext>
            </a:extLst>
          </p:cNvPr>
          <p:cNvSpPr>
            <a:spLocks noGrp="1"/>
          </p:cNvSpPr>
          <p:nvPr>
            <p:ph idx="1" hasCustomPrompt="1"/>
          </p:nvPr>
        </p:nvSpPr>
        <p:spPr>
          <a:xfrm>
            <a:off x="6481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0" name="Content Placeholder 2">
            <a:extLst>
              <a:ext uri="{FF2B5EF4-FFF2-40B4-BE49-F238E27FC236}">
                <a16:creationId xmlns:a16="http://schemas.microsoft.com/office/drawing/2014/main" id="{945449B0-7F6A-EB42-92CC-F4D1FD639AE0}"/>
              </a:ext>
            </a:extLst>
          </p:cNvPr>
          <p:cNvSpPr>
            <a:spLocks noGrp="1"/>
          </p:cNvSpPr>
          <p:nvPr>
            <p:ph idx="33" hasCustomPrompt="1"/>
          </p:nvPr>
        </p:nvSpPr>
        <p:spPr>
          <a:xfrm>
            <a:off x="349949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1" name="Content Placeholder 2">
            <a:extLst>
              <a:ext uri="{FF2B5EF4-FFF2-40B4-BE49-F238E27FC236}">
                <a16:creationId xmlns:a16="http://schemas.microsoft.com/office/drawing/2014/main" id="{159D94B7-DC41-564E-A436-172B8D1360CF}"/>
              </a:ext>
            </a:extLst>
          </p:cNvPr>
          <p:cNvSpPr>
            <a:spLocks noGrp="1"/>
          </p:cNvSpPr>
          <p:nvPr>
            <p:ph idx="34" hasCustomPrompt="1"/>
          </p:nvPr>
        </p:nvSpPr>
        <p:spPr>
          <a:xfrm>
            <a:off x="633118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2" name="Content Placeholder 2">
            <a:extLst>
              <a:ext uri="{FF2B5EF4-FFF2-40B4-BE49-F238E27FC236}">
                <a16:creationId xmlns:a16="http://schemas.microsoft.com/office/drawing/2014/main" id="{1835E241-DF8C-2946-B874-086E5DC31CA5}"/>
              </a:ext>
            </a:extLst>
          </p:cNvPr>
          <p:cNvSpPr>
            <a:spLocks noGrp="1"/>
          </p:cNvSpPr>
          <p:nvPr>
            <p:ph idx="35" hasCustomPrompt="1"/>
          </p:nvPr>
        </p:nvSpPr>
        <p:spPr>
          <a:xfrm>
            <a:off x="91825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3" name="Text Placeholder 19">
            <a:extLst>
              <a:ext uri="{FF2B5EF4-FFF2-40B4-BE49-F238E27FC236}">
                <a16:creationId xmlns:a16="http://schemas.microsoft.com/office/drawing/2014/main" id="{609176E0-FA74-9A4A-9F72-44DD42E13A08}"/>
              </a:ext>
            </a:extLst>
          </p:cNvPr>
          <p:cNvSpPr>
            <a:spLocks noGrp="1"/>
          </p:cNvSpPr>
          <p:nvPr>
            <p:ph type="body" sz="quarter" idx="26" hasCustomPrompt="1"/>
          </p:nvPr>
        </p:nvSpPr>
        <p:spPr>
          <a:xfrm>
            <a:off x="649100"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4" name="Text Placeholder 19">
            <a:extLst>
              <a:ext uri="{FF2B5EF4-FFF2-40B4-BE49-F238E27FC236}">
                <a16:creationId xmlns:a16="http://schemas.microsoft.com/office/drawing/2014/main" id="{D1624948-A3AD-B145-AEB1-98655E3A895D}"/>
              </a:ext>
            </a:extLst>
          </p:cNvPr>
          <p:cNvSpPr>
            <a:spLocks noGrp="1"/>
          </p:cNvSpPr>
          <p:nvPr>
            <p:ph type="body" sz="quarter" idx="41" hasCustomPrompt="1"/>
          </p:nvPr>
        </p:nvSpPr>
        <p:spPr>
          <a:xfrm>
            <a:off x="3495667"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5" name="Text Placeholder 19">
            <a:extLst>
              <a:ext uri="{FF2B5EF4-FFF2-40B4-BE49-F238E27FC236}">
                <a16:creationId xmlns:a16="http://schemas.microsoft.com/office/drawing/2014/main" id="{23C7B9BE-3267-4C4A-A2A0-C6678AB826EC}"/>
              </a:ext>
            </a:extLst>
          </p:cNvPr>
          <p:cNvSpPr>
            <a:spLocks noGrp="1"/>
          </p:cNvSpPr>
          <p:nvPr>
            <p:ph type="body" sz="quarter" idx="42" hasCustomPrompt="1"/>
          </p:nvPr>
        </p:nvSpPr>
        <p:spPr>
          <a:xfrm>
            <a:off x="6342234"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6" name="Text Placeholder 19">
            <a:extLst>
              <a:ext uri="{FF2B5EF4-FFF2-40B4-BE49-F238E27FC236}">
                <a16:creationId xmlns:a16="http://schemas.microsoft.com/office/drawing/2014/main" id="{8A5576B1-0E3D-3D42-A825-78FA27D4A270}"/>
              </a:ext>
            </a:extLst>
          </p:cNvPr>
          <p:cNvSpPr>
            <a:spLocks noGrp="1"/>
          </p:cNvSpPr>
          <p:nvPr>
            <p:ph type="body" sz="quarter" idx="43" hasCustomPrompt="1"/>
          </p:nvPr>
        </p:nvSpPr>
        <p:spPr>
          <a:xfrm>
            <a:off x="9188801"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331577537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5" name="Title 1"/>
          <p:cNvSpPr>
            <a:spLocks noGrp="1"/>
          </p:cNvSpPr>
          <p:nvPr>
            <p:ph type="title"/>
          </p:nvPr>
        </p:nvSpPr>
        <p:spPr>
          <a:xfrm>
            <a:off x="612843" y="188913"/>
            <a:ext cx="10183704"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7" name="Text Placeholder 19"/>
          <p:cNvSpPr>
            <a:spLocks noGrp="1"/>
          </p:cNvSpPr>
          <p:nvPr>
            <p:ph type="body" sz="quarter" idx="13"/>
          </p:nvPr>
        </p:nvSpPr>
        <p:spPr>
          <a:xfrm>
            <a:off x="621839" y="779414"/>
            <a:ext cx="10161440" cy="37614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8190266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Numbered Listing: 4Points">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696F0FF-6D84-834C-8F42-D56926E368AD}"/>
              </a:ext>
            </a:extLst>
          </p:cNvPr>
          <p:cNvSpPr>
            <a:spLocks noGrp="1"/>
          </p:cNvSpPr>
          <p:nvPr>
            <p:ph idx="1" hasCustomPrompt="1"/>
          </p:nvPr>
        </p:nvSpPr>
        <p:spPr>
          <a:xfrm>
            <a:off x="648142"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40" name="Text Placeholder 19">
            <a:extLst>
              <a:ext uri="{FF2B5EF4-FFF2-40B4-BE49-F238E27FC236}">
                <a16:creationId xmlns:a16="http://schemas.microsoft.com/office/drawing/2014/main" id="{8DC38367-9887-F543-A0A1-B066F0454454}"/>
              </a:ext>
            </a:extLst>
          </p:cNvPr>
          <p:cNvSpPr>
            <a:spLocks noGrp="1"/>
          </p:cNvSpPr>
          <p:nvPr>
            <p:ph type="body" sz="quarter" idx="34" hasCustomPrompt="1"/>
          </p:nvPr>
        </p:nvSpPr>
        <p:spPr>
          <a:xfrm>
            <a:off x="648143"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1892523"/>
            <a:ext cx="293670"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1</a:t>
            </a:r>
            <a:endParaRPr lang="en-US" sz="240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1883897"/>
            <a:ext cx="338554"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2</a:t>
            </a:r>
            <a:endParaRPr lang="en-US" sz="240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1895870"/>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289469"/>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1892523"/>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3</a:t>
            </a:r>
            <a:endParaRPr lang="en-US" sz="240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1887244"/>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1883897"/>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4</a:t>
            </a:r>
            <a:endParaRPr lang="en-US" sz="240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70502F7D-BCA4-DF4A-B6F1-8EB9F03647A9}"/>
              </a:ext>
            </a:extLst>
          </p:cNvPr>
          <p:cNvSpPr>
            <a:spLocks noGrp="1"/>
          </p:cNvSpPr>
          <p:nvPr>
            <p:ph idx="35" hasCustomPrompt="1"/>
          </p:nvPr>
        </p:nvSpPr>
        <p:spPr>
          <a:xfrm>
            <a:off x="3489064"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49" name="Text Placeholder 19">
            <a:extLst>
              <a:ext uri="{FF2B5EF4-FFF2-40B4-BE49-F238E27FC236}">
                <a16:creationId xmlns:a16="http://schemas.microsoft.com/office/drawing/2014/main" id="{E82954F1-73C2-E44C-B795-DA3EBA4B1E6D}"/>
              </a:ext>
            </a:extLst>
          </p:cNvPr>
          <p:cNvSpPr>
            <a:spLocks noGrp="1"/>
          </p:cNvSpPr>
          <p:nvPr>
            <p:ph type="body" sz="quarter" idx="36" hasCustomPrompt="1"/>
          </p:nvPr>
        </p:nvSpPr>
        <p:spPr>
          <a:xfrm>
            <a:off x="3489065"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0" name="Content Placeholder 2">
            <a:extLst>
              <a:ext uri="{FF2B5EF4-FFF2-40B4-BE49-F238E27FC236}">
                <a16:creationId xmlns:a16="http://schemas.microsoft.com/office/drawing/2014/main" id="{7B134228-FAB6-D44B-BA04-9233836EBCC0}"/>
              </a:ext>
            </a:extLst>
          </p:cNvPr>
          <p:cNvSpPr>
            <a:spLocks noGrp="1"/>
          </p:cNvSpPr>
          <p:nvPr>
            <p:ph idx="37" hasCustomPrompt="1"/>
          </p:nvPr>
        </p:nvSpPr>
        <p:spPr>
          <a:xfrm>
            <a:off x="6336966"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51" name="Text Placeholder 19">
            <a:extLst>
              <a:ext uri="{FF2B5EF4-FFF2-40B4-BE49-F238E27FC236}">
                <a16:creationId xmlns:a16="http://schemas.microsoft.com/office/drawing/2014/main" id="{6863A3B0-3023-7147-8329-3E4D3F2E8C4A}"/>
              </a:ext>
            </a:extLst>
          </p:cNvPr>
          <p:cNvSpPr>
            <a:spLocks noGrp="1"/>
          </p:cNvSpPr>
          <p:nvPr>
            <p:ph type="body" sz="quarter" idx="38" hasCustomPrompt="1"/>
          </p:nvPr>
        </p:nvSpPr>
        <p:spPr>
          <a:xfrm>
            <a:off x="6336967"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2" name="Content Placeholder 2">
            <a:extLst>
              <a:ext uri="{FF2B5EF4-FFF2-40B4-BE49-F238E27FC236}">
                <a16:creationId xmlns:a16="http://schemas.microsoft.com/office/drawing/2014/main" id="{2BB795D0-6C15-EB43-9C1F-13F7BFF1FCBC}"/>
              </a:ext>
            </a:extLst>
          </p:cNvPr>
          <p:cNvSpPr>
            <a:spLocks noGrp="1"/>
          </p:cNvSpPr>
          <p:nvPr>
            <p:ph idx="39" hasCustomPrompt="1"/>
          </p:nvPr>
        </p:nvSpPr>
        <p:spPr>
          <a:xfrm>
            <a:off x="9184869"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53" name="Text Placeholder 19">
            <a:extLst>
              <a:ext uri="{FF2B5EF4-FFF2-40B4-BE49-F238E27FC236}">
                <a16:creationId xmlns:a16="http://schemas.microsoft.com/office/drawing/2014/main" id="{9EAD9ADD-5928-914D-A66B-1E1C48132204}"/>
              </a:ext>
            </a:extLst>
          </p:cNvPr>
          <p:cNvSpPr>
            <a:spLocks noGrp="1"/>
          </p:cNvSpPr>
          <p:nvPr>
            <p:ph type="body" sz="quarter" idx="40" hasCustomPrompt="1"/>
          </p:nvPr>
        </p:nvSpPr>
        <p:spPr>
          <a:xfrm>
            <a:off x="9184870"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4" name="Title 1">
            <a:extLst>
              <a:ext uri="{FF2B5EF4-FFF2-40B4-BE49-F238E27FC236}">
                <a16:creationId xmlns:a16="http://schemas.microsoft.com/office/drawing/2014/main" id="{D8C69FA7-2287-A24F-B458-9527A8478ED8}"/>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Tree>
    <p:extLst>
      <p:ext uri="{BB962C8B-B14F-4D97-AF65-F5344CB8AC3E}">
        <p14:creationId xmlns:p14="http://schemas.microsoft.com/office/powerpoint/2010/main" val="166569482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368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Icon/Imagery Listing: 4Points">
    <p:spTree>
      <p:nvGrpSpPr>
        <p:cNvPr id="1" name=""/>
        <p:cNvGrpSpPr/>
        <p:nvPr/>
      </p:nvGrpSpPr>
      <p:grpSpPr>
        <a:xfrm>
          <a:off x="0" y="0"/>
          <a:ext cx="0" cy="0"/>
          <a:chOff x="0" y="0"/>
          <a:chExt cx="0" cy="0"/>
        </a:xfrm>
      </p:grpSpPr>
      <p:sp>
        <p:nvSpPr>
          <p:cNvPr id="66" name="Picture Placeholder 93">
            <a:extLst>
              <a:ext uri="{FF2B5EF4-FFF2-40B4-BE49-F238E27FC236}">
                <a16:creationId xmlns:a16="http://schemas.microsoft.com/office/drawing/2014/main" id="{E1558217-4734-4D4F-83FA-77A7D2F8A663}"/>
              </a:ext>
            </a:extLst>
          </p:cNvPr>
          <p:cNvSpPr>
            <a:spLocks noGrp="1" noChangeAspect="1"/>
          </p:cNvSpPr>
          <p:nvPr>
            <p:ph type="pic" sz="quarter" idx="4294967295"/>
          </p:nvPr>
        </p:nvSpPr>
        <p:spPr>
          <a:xfrm>
            <a:off x="3922076" y="2134515"/>
            <a:ext cx="1490997" cy="1494032"/>
          </a:xfrm>
          <a:prstGeom prst="ellipse">
            <a:avLst/>
          </a:prstGeom>
          <a:solidFill>
            <a:srgbClr val="9BCAEC"/>
          </a:solidFill>
        </p:spPr>
      </p:sp>
      <p:sp>
        <p:nvSpPr>
          <p:cNvPr id="65" name="Picture Placeholder 93" title="Add Icon/Image">
            <a:extLst>
              <a:ext uri="{FF2B5EF4-FFF2-40B4-BE49-F238E27FC236}">
                <a16:creationId xmlns:a16="http://schemas.microsoft.com/office/drawing/2014/main" id="{C8B27250-75E6-9243-9915-85D4522FEE68}"/>
              </a:ext>
            </a:extLst>
          </p:cNvPr>
          <p:cNvSpPr>
            <a:spLocks noGrp="1" noChangeAspect="1"/>
          </p:cNvSpPr>
          <p:nvPr>
            <p:ph type="pic" sz="quarter" idx="4294967295"/>
          </p:nvPr>
        </p:nvSpPr>
        <p:spPr>
          <a:xfrm>
            <a:off x="1003948" y="2134515"/>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54" name="Content Placeholder 2">
            <a:extLst>
              <a:ext uri="{FF2B5EF4-FFF2-40B4-BE49-F238E27FC236}">
                <a16:creationId xmlns:a16="http://schemas.microsoft.com/office/drawing/2014/main" id="{AF906C51-C6DC-3F40-87B9-5DEB9C122516}"/>
              </a:ext>
            </a:extLst>
          </p:cNvPr>
          <p:cNvSpPr>
            <a:spLocks noGrp="1"/>
          </p:cNvSpPr>
          <p:nvPr>
            <p:ph idx="1" hasCustomPrompt="1"/>
          </p:nvPr>
        </p:nvSpPr>
        <p:spPr>
          <a:xfrm>
            <a:off x="648142"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6" name="Content Placeholder 2">
            <a:extLst>
              <a:ext uri="{FF2B5EF4-FFF2-40B4-BE49-F238E27FC236}">
                <a16:creationId xmlns:a16="http://schemas.microsoft.com/office/drawing/2014/main" id="{214F2940-0470-FC4F-93C4-B02EBF6B2397}"/>
              </a:ext>
            </a:extLst>
          </p:cNvPr>
          <p:cNvSpPr>
            <a:spLocks noGrp="1"/>
          </p:cNvSpPr>
          <p:nvPr>
            <p:ph idx="36" hasCustomPrompt="1"/>
          </p:nvPr>
        </p:nvSpPr>
        <p:spPr>
          <a:xfrm>
            <a:off x="3497477"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8" name="Content Placeholder 2">
            <a:extLst>
              <a:ext uri="{FF2B5EF4-FFF2-40B4-BE49-F238E27FC236}">
                <a16:creationId xmlns:a16="http://schemas.microsoft.com/office/drawing/2014/main" id="{D8AD99B1-B447-0346-BED0-F41094538201}"/>
              </a:ext>
            </a:extLst>
          </p:cNvPr>
          <p:cNvSpPr>
            <a:spLocks noGrp="1"/>
          </p:cNvSpPr>
          <p:nvPr>
            <p:ph idx="38" hasCustomPrompt="1"/>
          </p:nvPr>
        </p:nvSpPr>
        <p:spPr>
          <a:xfrm>
            <a:off x="6338649"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60" name="Content Placeholder 2">
            <a:extLst>
              <a:ext uri="{FF2B5EF4-FFF2-40B4-BE49-F238E27FC236}">
                <a16:creationId xmlns:a16="http://schemas.microsoft.com/office/drawing/2014/main" id="{3008B580-40C3-BC45-A408-E688E157CA0F}"/>
              </a:ext>
            </a:extLst>
          </p:cNvPr>
          <p:cNvSpPr>
            <a:spLocks noGrp="1"/>
          </p:cNvSpPr>
          <p:nvPr>
            <p:ph idx="40" hasCustomPrompt="1"/>
          </p:nvPr>
        </p:nvSpPr>
        <p:spPr>
          <a:xfrm>
            <a:off x="9187984"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61" name="Text Placeholder 19">
            <a:extLst>
              <a:ext uri="{FF2B5EF4-FFF2-40B4-BE49-F238E27FC236}">
                <a16:creationId xmlns:a16="http://schemas.microsoft.com/office/drawing/2014/main" id="{CDA7A999-5851-8742-A7A9-C3476D639699}"/>
              </a:ext>
            </a:extLst>
          </p:cNvPr>
          <p:cNvSpPr>
            <a:spLocks noGrp="1"/>
          </p:cNvSpPr>
          <p:nvPr>
            <p:ph type="body" sz="quarter" idx="26" hasCustomPrompt="1"/>
          </p:nvPr>
        </p:nvSpPr>
        <p:spPr>
          <a:xfrm>
            <a:off x="649100"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2" name="Text Placeholder 19">
            <a:extLst>
              <a:ext uri="{FF2B5EF4-FFF2-40B4-BE49-F238E27FC236}">
                <a16:creationId xmlns:a16="http://schemas.microsoft.com/office/drawing/2014/main" id="{DEABDEED-C306-5644-87C1-75DB5665031A}"/>
              </a:ext>
            </a:extLst>
          </p:cNvPr>
          <p:cNvSpPr>
            <a:spLocks noGrp="1"/>
          </p:cNvSpPr>
          <p:nvPr>
            <p:ph type="body" sz="quarter" idx="41" hasCustomPrompt="1"/>
          </p:nvPr>
        </p:nvSpPr>
        <p:spPr>
          <a:xfrm>
            <a:off x="3495667"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3" name="Text Placeholder 19">
            <a:extLst>
              <a:ext uri="{FF2B5EF4-FFF2-40B4-BE49-F238E27FC236}">
                <a16:creationId xmlns:a16="http://schemas.microsoft.com/office/drawing/2014/main" id="{E857B253-9278-5A41-B709-168AF868566E}"/>
              </a:ext>
            </a:extLst>
          </p:cNvPr>
          <p:cNvSpPr>
            <a:spLocks noGrp="1"/>
          </p:cNvSpPr>
          <p:nvPr>
            <p:ph type="body" sz="quarter" idx="42" hasCustomPrompt="1"/>
          </p:nvPr>
        </p:nvSpPr>
        <p:spPr>
          <a:xfrm>
            <a:off x="6342234"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4" name="Text Placeholder 19">
            <a:extLst>
              <a:ext uri="{FF2B5EF4-FFF2-40B4-BE49-F238E27FC236}">
                <a16:creationId xmlns:a16="http://schemas.microsoft.com/office/drawing/2014/main" id="{907C3038-298B-0B42-AA2F-7B33BF529724}"/>
              </a:ext>
            </a:extLst>
          </p:cNvPr>
          <p:cNvSpPr>
            <a:spLocks noGrp="1"/>
          </p:cNvSpPr>
          <p:nvPr>
            <p:ph type="body" sz="quarter" idx="43" hasCustomPrompt="1"/>
          </p:nvPr>
        </p:nvSpPr>
        <p:spPr>
          <a:xfrm>
            <a:off x="9188801"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7" name="Picture Placeholder 93">
            <a:extLst>
              <a:ext uri="{FF2B5EF4-FFF2-40B4-BE49-F238E27FC236}">
                <a16:creationId xmlns:a16="http://schemas.microsoft.com/office/drawing/2014/main" id="{E792C213-9B27-1148-BC62-B45CA676A5B2}"/>
              </a:ext>
            </a:extLst>
          </p:cNvPr>
          <p:cNvSpPr>
            <a:spLocks noGrp="1" noChangeAspect="1"/>
          </p:cNvSpPr>
          <p:nvPr>
            <p:ph type="pic" sz="quarter" idx="4294967295"/>
          </p:nvPr>
        </p:nvSpPr>
        <p:spPr>
          <a:xfrm>
            <a:off x="9631112" y="2134515"/>
            <a:ext cx="1490997" cy="1494032"/>
          </a:xfrm>
          <a:prstGeom prst="ellipse">
            <a:avLst/>
          </a:prstGeom>
          <a:solidFill>
            <a:srgbClr val="9BCAEC"/>
          </a:solidFill>
        </p:spPr>
      </p:sp>
      <p:sp>
        <p:nvSpPr>
          <p:cNvPr id="68" name="Picture Placeholder 93">
            <a:extLst>
              <a:ext uri="{FF2B5EF4-FFF2-40B4-BE49-F238E27FC236}">
                <a16:creationId xmlns:a16="http://schemas.microsoft.com/office/drawing/2014/main" id="{971F4B52-1AC2-1A46-BFB9-EFBE55019CFB}"/>
              </a:ext>
            </a:extLst>
          </p:cNvPr>
          <p:cNvSpPr>
            <a:spLocks noGrp="1" noChangeAspect="1"/>
          </p:cNvSpPr>
          <p:nvPr>
            <p:ph type="pic" sz="quarter" idx="4294967295"/>
          </p:nvPr>
        </p:nvSpPr>
        <p:spPr>
          <a:xfrm>
            <a:off x="6776594" y="2134515"/>
            <a:ext cx="1490997" cy="1494032"/>
          </a:xfrm>
          <a:prstGeom prst="ellipse">
            <a:avLst/>
          </a:prstGeom>
          <a:solidFill>
            <a:srgbClr val="9BCAEC"/>
          </a:solidFill>
        </p:spPr>
      </p:sp>
    </p:spTree>
    <p:extLst>
      <p:ext uri="{BB962C8B-B14F-4D97-AF65-F5344CB8AC3E}">
        <p14:creationId xmlns:p14="http://schemas.microsoft.com/office/powerpoint/2010/main" val="111358156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Icon/Imagery Listing: 4Points">
    <p:spTree>
      <p:nvGrpSpPr>
        <p:cNvPr id="1" name=""/>
        <p:cNvGrpSpPr/>
        <p:nvPr/>
      </p:nvGrpSpPr>
      <p:grpSpPr>
        <a:xfrm>
          <a:off x="0" y="0"/>
          <a:ext cx="0" cy="0"/>
          <a:chOff x="0" y="0"/>
          <a:chExt cx="0" cy="0"/>
        </a:xfrm>
      </p:grpSpPr>
      <p:sp>
        <p:nvSpPr>
          <p:cNvPr id="27" name="Picture Placeholder 93">
            <a:extLst>
              <a:ext uri="{FF2B5EF4-FFF2-40B4-BE49-F238E27FC236}">
                <a16:creationId xmlns:a16="http://schemas.microsoft.com/office/drawing/2014/main" id="{088304DB-1861-404E-82CA-739F8435799F}"/>
              </a:ext>
            </a:extLst>
          </p:cNvPr>
          <p:cNvSpPr>
            <a:spLocks noGrp="1" noChangeAspect="1"/>
          </p:cNvSpPr>
          <p:nvPr>
            <p:ph type="pic" sz="quarter" idx="4294967295"/>
          </p:nvPr>
        </p:nvSpPr>
        <p:spPr>
          <a:xfrm>
            <a:off x="3922076" y="1880036"/>
            <a:ext cx="1490997" cy="1494032"/>
          </a:xfrm>
          <a:prstGeom prst="ellipse">
            <a:avLst/>
          </a:prstGeom>
          <a:solidFill>
            <a:srgbClr val="9BCAEC"/>
          </a:solidFill>
        </p:spPr>
      </p:sp>
      <p:sp>
        <p:nvSpPr>
          <p:cNvPr id="28" name="Picture Placeholder 93">
            <a:extLst>
              <a:ext uri="{FF2B5EF4-FFF2-40B4-BE49-F238E27FC236}">
                <a16:creationId xmlns:a16="http://schemas.microsoft.com/office/drawing/2014/main" id="{6263F53F-2A95-F545-B511-19169FB75975}"/>
              </a:ext>
            </a:extLst>
          </p:cNvPr>
          <p:cNvSpPr>
            <a:spLocks noGrp="1" noChangeAspect="1"/>
          </p:cNvSpPr>
          <p:nvPr>
            <p:ph type="pic" sz="quarter" idx="4294967295"/>
          </p:nvPr>
        </p:nvSpPr>
        <p:spPr>
          <a:xfrm>
            <a:off x="1003948" y="1880036"/>
            <a:ext cx="1490997" cy="1494032"/>
          </a:xfrm>
          <a:prstGeom prst="ellipse">
            <a:avLst/>
          </a:prstGeom>
          <a:solidFill>
            <a:srgbClr val="9BCAEC"/>
          </a:solidFill>
        </p:spPr>
      </p:sp>
      <p:sp>
        <p:nvSpPr>
          <p:cNvPr id="29" name="Picture Placeholder 93">
            <a:extLst>
              <a:ext uri="{FF2B5EF4-FFF2-40B4-BE49-F238E27FC236}">
                <a16:creationId xmlns:a16="http://schemas.microsoft.com/office/drawing/2014/main" id="{1666506C-C311-7A4B-8EBA-B7A74E13F914}"/>
              </a:ext>
            </a:extLst>
          </p:cNvPr>
          <p:cNvSpPr>
            <a:spLocks noGrp="1" noChangeAspect="1"/>
          </p:cNvSpPr>
          <p:nvPr>
            <p:ph type="pic" sz="quarter" idx="4294967295"/>
          </p:nvPr>
        </p:nvSpPr>
        <p:spPr>
          <a:xfrm>
            <a:off x="9631112" y="1880036"/>
            <a:ext cx="1490997" cy="1494032"/>
          </a:xfrm>
          <a:prstGeom prst="ellipse">
            <a:avLst/>
          </a:prstGeom>
          <a:solidFill>
            <a:srgbClr val="9BCAEC"/>
          </a:solidFill>
        </p:spPr>
      </p:sp>
      <p:sp>
        <p:nvSpPr>
          <p:cNvPr id="30" name="Picture Placeholder 93">
            <a:extLst>
              <a:ext uri="{FF2B5EF4-FFF2-40B4-BE49-F238E27FC236}">
                <a16:creationId xmlns:a16="http://schemas.microsoft.com/office/drawing/2014/main" id="{9DD4F94E-D814-ED47-B5D6-287197D169D3}"/>
              </a:ext>
            </a:extLst>
          </p:cNvPr>
          <p:cNvSpPr>
            <a:spLocks noGrp="1" noChangeAspect="1"/>
          </p:cNvSpPr>
          <p:nvPr>
            <p:ph type="pic" sz="quarter" idx="4294967295"/>
          </p:nvPr>
        </p:nvSpPr>
        <p:spPr>
          <a:xfrm>
            <a:off x="6776594" y="1880036"/>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6" name="Title 1">
            <a:extLst>
              <a:ext uri="{FF2B5EF4-FFF2-40B4-BE49-F238E27FC236}">
                <a16:creationId xmlns:a16="http://schemas.microsoft.com/office/drawing/2014/main" id="{866DB16C-3E98-2C4A-81BD-C5610057A08A}"/>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31" name="Content Placeholder 2">
            <a:extLst>
              <a:ext uri="{FF2B5EF4-FFF2-40B4-BE49-F238E27FC236}">
                <a16:creationId xmlns:a16="http://schemas.microsoft.com/office/drawing/2014/main" id="{BCADDA8D-FC6F-3B42-B632-B8DAC21DD735}"/>
              </a:ext>
            </a:extLst>
          </p:cNvPr>
          <p:cNvSpPr>
            <a:spLocks noGrp="1"/>
          </p:cNvSpPr>
          <p:nvPr>
            <p:ph idx="1" hasCustomPrompt="1"/>
          </p:nvPr>
        </p:nvSpPr>
        <p:spPr>
          <a:xfrm>
            <a:off x="648142"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2" name="Content Placeholder 2">
            <a:extLst>
              <a:ext uri="{FF2B5EF4-FFF2-40B4-BE49-F238E27FC236}">
                <a16:creationId xmlns:a16="http://schemas.microsoft.com/office/drawing/2014/main" id="{DEB7050D-6639-7A44-B787-8EAC96041B53}"/>
              </a:ext>
            </a:extLst>
          </p:cNvPr>
          <p:cNvSpPr>
            <a:spLocks noGrp="1"/>
          </p:cNvSpPr>
          <p:nvPr>
            <p:ph idx="36" hasCustomPrompt="1"/>
          </p:nvPr>
        </p:nvSpPr>
        <p:spPr>
          <a:xfrm>
            <a:off x="3497477"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3" name="Content Placeholder 2">
            <a:extLst>
              <a:ext uri="{FF2B5EF4-FFF2-40B4-BE49-F238E27FC236}">
                <a16:creationId xmlns:a16="http://schemas.microsoft.com/office/drawing/2014/main" id="{3411E307-6FA1-F148-9FEB-C53BB07FF815}"/>
              </a:ext>
            </a:extLst>
          </p:cNvPr>
          <p:cNvSpPr>
            <a:spLocks noGrp="1"/>
          </p:cNvSpPr>
          <p:nvPr>
            <p:ph idx="38" hasCustomPrompt="1"/>
          </p:nvPr>
        </p:nvSpPr>
        <p:spPr>
          <a:xfrm>
            <a:off x="6338649"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4" name="Content Placeholder 2">
            <a:extLst>
              <a:ext uri="{FF2B5EF4-FFF2-40B4-BE49-F238E27FC236}">
                <a16:creationId xmlns:a16="http://schemas.microsoft.com/office/drawing/2014/main" id="{65B63584-0AE9-D545-83CC-5AC06C5AE327}"/>
              </a:ext>
            </a:extLst>
          </p:cNvPr>
          <p:cNvSpPr>
            <a:spLocks noGrp="1"/>
          </p:cNvSpPr>
          <p:nvPr>
            <p:ph idx="40" hasCustomPrompt="1"/>
          </p:nvPr>
        </p:nvSpPr>
        <p:spPr>
          <a:xfrm>
            <a:off x="9187984"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5" name="Text Placeholder 19">
            <a:extLst>
              <a:ext uri="{FF2B5EF4-FFF2-40B4-BE49-F238E27FC236}">
                <a16:creationId xmlns:a16="http://schemas.microsoft.com/office/drawing/2014/main" id="{C94D6155-B139-474A-A582-37AE9793FB09}"/>
              </a:ext>
            </a:extLst>
          </p:cNvPr>
          <p:cNvSpPr>
            <a:spLocks noGrp="1"/>
          </p:cNvSpPr>
          <p:nvPr>
            <p:ph type="body" sz="quarter" idx="26" hasCustomPrompt="1"/>
          </p:nvPr>
        </p:nvSpPr>
        <p:spPr>
          <a:xfrm>
            <a:off x="649100"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6" name="Text Placeholder 19">
            <a:extLst>
              <a:ext uri="{FF2B5EF4-FFF2-40B4-BE49-F238E27FC236}">
                <a16:creationId xmlns:a16="http://schemas.microsoft.com/office/drawing/2014/main" id="{2E1F09EB-E83E-F748-99C8-81CFF53D8F88}"/>
              </a:ext>
            </a:extLst>
          </p:cNvPr>
          <p:cNvSpPr>
            <a:spLocks noGrp="1"/>
          </p:cNvSpPr>
          <p:nvPr>
            <p:ph type="body" sz="quarter" idx="41" hasCustomPrompt="1"/>
          </p:nvPr>
        </p:nvSpPr>
        <p:spPr>
          <a:xfrm>
            <a:off x="3495667"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7" name="Text Placeholder 19">
            <a:extLst>
              <a:ext uri="{FF2B5EF4-FFF2-40B4-BE49-F238E27FC236}">
                <a16:creationId xmlns:a16="http://schemas.microsoft.com/office/drawing/2014/main" id="{48D96706-6D4D-A94C-9B0F-138374B02D6C}"/>
              </a:ext>
            </a:extLst>
          </p:cNvPr>
          <p:cNvSpPr>
            <a:spLocks noGrp="1"/>
          </p:cNvSpPr>
          <p:nvPr>
            <p:ph type="body" sz="quarter" idx="42" hasCustomPrompt="1"/>
          </p:nvPr>
        </p:nvSpPr>
        <p:spPr>
          <a:xfrm>
            <a:off x="6342234"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3" name="Text Placeholder 19">
            <a:extLst>
              <a:ext uri="{FF2B5EF4-FFF2-40B4-BE49-F238E27FC236}">
                <a16:creationId xmlns:a16="http://schemas.microsoft.com/office/drawing/2014/main" id="{78CEDEFE-B08B-8043-82D1-02A9A908458A}"/>
              </a:ext>
            </a:extLst>
          </p:cNvPr>
          <p:cNvSpPr>
            <a:spLocks noGrp="1"/>
          </p:cNvSpPr>
          <p:nvPr>
            <p:ph type="body" sz="quarter" idx="43" hasCustomPrompt="1"/>
          </p:nvPr>
        </p:nvSpPr>
        <p:spPr>
          <a:xfrm>
            <a:off x="9188801"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155333461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Sub, 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17694"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133308780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3" name="Content Placeholder 2">
            <a:extLst>
              <a:ext uri="{FF2B5EF4-FFF2-40B4-BE49-F238E27FC236}">
                <a16:creationId xmlns:a16="http://schemas.microsoft.com/office/drawing/2014/main" id="{179E887B-5F60-4B41-BADB-DC479D13F9ED}"/>
              </a:ext>
            </a:extLst>
          </p:cNvPr>
          <p:cNvSpPr>
            <a:spLocks noGrp="1"/>
          </p:cNvSpPr>
          <p:nvPr>
            <p:ph idx="22" hasCustomPrompt="1"/>
          </p:nvPr>
        </p:nvSpPr>
        <p:spPr>
          <a:xfrm>
            <a:off x="617693"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5" name="Title 1">
            <a:extLst>
              <a:ext uri="{FF2B5EF4-FFF2-40B4-BE49-F238E27FC236}">
                <a16:creationId xmlns:a16="http://schemas.microsoft.com/office/drawing/2014/main" id="{0FAC615D-FBA5-2C4A-A177-4A1754D01052}"/>
              </a:ext>
            </a:extLst>
          </p:cNvPr>
          <p:cNvSpPr>
            <a:spLocks noGrp="1"/>
          </p:cNvSpPr>
          <p:nvPr>
            <p:ph type="title" hasCustomPrompt="1"/>
          </p:nvPr>
        </p:nvSpPr>
        <p:spPr>
          <a:xfrm>
            <a:off x="617693"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112378142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88752931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 name="Title 1"/>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3" name="Content Placeholder 2">
            <a:extLst>
              <a:ext uri="{FF2B5EF4-FFF2-40B4-BE49-F238E27FC236}">
                <a16:creationId xmlns:a16="http://schemas.microsoft.com/office/drawing/2014/main" id="{46BC3ACF-93AA-6443-BFB5-777AF4794F42}"/>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Tree>
    <p:extLst>
      <p:ext uri="{BB962C8B-B14F-4D97-AF65-F5344CB8AC3E}">
        <p14:creationId xmlns:p14="http://schemas.microsoft.com/office/powerpoint/2010/main" val="376079833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Tree>
    <p:extLst>
      <p:ext uri="{BB962C8B-B14F-4D97-AF65-F5344CB8AC3E}">
        <p14:creationId xmlns:p14="http://schemas.microsoft.com/office/powerpoint/2010/main" val="401853287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Title 1">
            <a:extLst>
              <a:ext uri="{FF2B5EF4-FFF2-40B4-BE49-F238E27FC236}">
                <a16:creationId xmlns:a16="http://schemas.microsoft.com/office/drawing/2014/main" id="{FE94CB47-5B0E-6F48-ADD5-FAC44662AA1D}"/>
              </a:ext>
            </a:extLst>
          </p:cNvPr>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15" name="Content Placeholder 2">
            <a:extLst>
              <a:ext uri="{FF2B5EF4-FFF2-40B4-BE49-F238E27FC236}">
                <a16:creationId xmlns:a16="http://schemas.microsoft.com/office/drawing/2014/main" id="{ABAD9182-868A-2546-BB2F-FC5B549DD02A}"/>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Tree>
    <p:extLst>
      <p:ext uri="{BB962C8B-B14F-4D97-AF65-F5344CB8AC3E}">
        <p14:creationId xmlns:p14="http://schemas.microsoft.com/office/powerpoint/2010/main" val="160959168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2" y="2154358"/>
            <a:ext cx="6548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spTree>
    <p:extLst>
      <p:ext uri="{BB962C8B-B14F-4D97-AF65-F5344CB8AC3E}">
        <p14:creationId xmlns:p14="http://schemas.microsoft.com/office/powerpoint/2010/main" val="15672450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7" name="Title 1"/>
          <p:cNvSpPr>
            <a:spLocks noGrp="1"/>
          </p:cNvSpPr>
          <p:nvPr>
            <p:ph type="title"/>
          </p:nvPr>
        </p:nvSpPr>
        <p:spPr>
          <a:xfrm>
            <a:off x="622572" y="188913"/>
            <a:ext cx="1093778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1" name="Text Placeholder 19"/>
          <p:cNvSpPr>
            <a:spLocks noGrp="1"/>
          </p:cNvSpPr>
          <p:nvPr>
            <p:ph type="body" sz="quarter" idx="13"/>
          </p:nvPr>
        </p:nvSpPr>
        <p:spPr>
          <a:xfrm>
            <a:off x="621882" y="779413"/>
            <a:ext cx="10913867" cy="4258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1768952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sp>
        <p:nvSpPr>
          <p:cNvPr id="15" name="Content Placeholder 2">
            <a:extLst>
              <a:ext uri="{FF2B5EF4-FFF2-40B4-BE49-F238E27FC236}">
                <a16:creationId xmlns:a16="http://schemas.microsoft.com/office/drawing/2014/main" id="{57560E50-0346-CF4E-A099-E0A994E75385}"/>
              </a:ext>
            </a:extLst>
          </p:cNvPr>
          <p:cNvSpPr>
            <a:spLocks noGrp="1"/>
          </p:cNvSpPr>
          <p:nvPr>
            <p:ph idx="26" hasCustomPrompt="1"/>
          </p:nvPr>
        </p:nvSpPr>
        <p:spPr>
          <a:xfrm>
            <a:off x="617693" y="1908061"/>
            <a:ext cx="654839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6" name="Title 1">
            <a:extLst>
              <a:ext uri="{FF2B5EF4-FFF2-40B4-BE49-F238E27FC236}">
                <a16:creationId xmlns:a16="http://schemas.microsoft.com/office/drawing/2014/main" id="{CCD04EB8-DC64-6E43-BC6B-ED620D418F5A}"/>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280620630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2" y="2154358"/>
            <a:ext cx="60879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28" name="Footer Placeholder 4">
            <a:extLst>
              <a:ext uri="{FF2B5EF4-FFF2-40B4-BE49-F238E27FC236}">
                <a16:creationId xmlns:a16="http://schemas.microsoft.com/office/drawing/2014/main" id="{5D3068BC-5471-B44F-9FA2-0957E0FE976D}"/>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9" name="Text Placeholder 4">
            <a:extLst>
              <a:ext uri="{FF2B5EF4-FFF2-40B4-BE49-F238E27FC236}">
                <a16:creationId xmlns:a16="http://schemas.microsoft.com/office/drawing/2014/main" id="{A10C9537-B16D-394F-83FB-740A6A55232D}"/>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Tree>
    <p:extLst>
      <p:ext uri="{BB962C8B-B14F-4D97-AF65-F5344CB8AC3E}">
        <p14:creationId xmlns:p14="http://schemas.microsoft.com/office/powerpoint/2010/main" val="405218467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8" name="Content Placeholder 2">
            <a:extLst>
              <a:ext uri="{FF2B5EF4-FFF2-40B4-BE49-F238E27FC236}">
                <a16:creationId xmlns:a16="http://schemas.microsoft.com/office/drawing/2014/main" id="{46F634A7-3DCC-7E40-AA8E-69EC11FC63D4}"/>
              </a:ext>
            </a:extLst>
          </p:cNvPr>
          <p:cNvSpPr>
            <a:spLocks noGrp="1"/>
          </p:cNvSpPr>
          <p:nvPr>
            <p:ph idx="26" hasCustomPrompt="1"/>
          </p:nvPr>
        </p:nvSpPr>
        <p:spPr>
          <a:xfrm>
            <a:off x="617693" y="1908061"/>
            <a:ext cx="6087907"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9" name="Title 1">
            <a:extLst>
              <a:ext uri="{FF2B5EF4-FFF2-40B4-BE49-F238E27FC236}">
                <a16:creationId xmlns:a16="http://schemas.microsoft.com/office/drawing/2014/main" id="{63454A8E-216F-4B48-861C-1037CD05B175}"/>
              </a:ext>
            </a:extLst>
          </p:cNvPr>
          <p:cNvSpPr>
            <a:spLocks noGrp="1"/>
          </p:cNvSpPr>
          <p:nvPr>
            <p:ph type="title" hasCustomPrompt="1"/>
          </p:nvPr>
        </p:nvSpPr>
        <p:spPr>
          <a:xfrm>
            <a:off x="617693" y="688454"/>
            <a:ext cx="6087907"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20" name="Footer Placeholder 4">
            <a:extLst>
              <a:ext uri="{FF2B5EF4-FFF2-40B4-BE49-F238E27FC236}">
                <a16:creationId xmlns:a16="http://schemas.microsoft.com/office/drawing/2014/main" id="{F54F3E25-37E2-0E47-AFEA-25A21A4F8B97}"/>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2" name="Text Placeholder 4">
            <a:extLst>
              <a:ext uri="{FF2B5EF4-FFF2-40B4-BE49-F238E27FC236}">
                <a16:creationId xmlns:a16="http://schemas.microsoft.com/office/drawing/2014/main" id="{0D6A3FED-15C7-C54B-A90A-0910317C391E}"/>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23" name="Text Placeholder 4">
            <a:extLst>
              <a:ext uri="{FF2B5EF4-FFF2-40B4-BE49-F238E27FC236}">
                <a16:creationId xmlns:a16="http://schemas.microsoft.com/office/drawing/2014/main" id="{C5B9E6EB-8576-D741-8456-BBFFA4A78E8B}"/>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Tree>
    <p:extLst>
      <p:ext uri="{BB962C8B-B14F-4D97-AF65-F5344CB8AC3E}">
        <p14:creationId xmlns:p14="http://schemas.microsoft.com/office/powerpoint/2010/main" val="324032079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246677"/>
            <a:ext cx="3060000" cy="177209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246677"/>
            <a:ext cx="3060000" cy="177209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246677"/>
            <a:ext cx="3060000" cy="177209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28" name="Text Placeholder 19">
            <a:extLst>
              <a:ext uri="{FF2B5EF4-FFF2-40B4-BE49-F238E27FC236}">
                <a16:creationId xmlns:a16="http://schemas.microsoft.com/office/drawing/2014/main" id="{7180DBA1-0635-2847-B6A9-41B3FCA43EEE}"/>
              </a:ext>
            </a:extLst>
          </p:cNvPr>
          <p:cNvSpPr>
            <a:spLocks noGrp="1"/>
          </p:cNvSpPr>
          <p:nvPr>
            <p:ph type="body" sz="quarter" idx="35" hasCustomPrompt="1"/>
          </p:nvPr>
        </p:nvSpPr>
        <p:spPr>
          <a:xfrm>
            <a:off x="621488"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0" name="Text Placeholder 19">
            <a:extLst>
              <a:ext uri="{FF2B5EF4-FFF2-40B4-BE49-F238E27FC236}">
                <a16:creationId xmlns:a16="http://schemas.microsoft.com/office/drawing/2014/main" id="{C6B30E14-B343-D142-89C3-959AEA7468E1}"/>
              </a:ext>
            </a:extLst>
          </p:cNvPr>
          <p:cNvSpPr>
            <a:spLocks noGrp="1"/>
          </p:cNvSpPr>
          <p:nvPr>
            <p:ph type="body" sz="quarter" idx="36" hasCustomPrompt="1"/>
          </p:nvPr>
        </p:nvSpPr>
        <p:spPr>
          <a:xfrm>
            <a:off x="4566682"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1" name="Text Placeholder 19">
            <a:extLst>
              <a:ext uri="{FF2B5EF4-FFF2-40B4-BE49-F238E27FC236}">
                <a16:creationId xmlns:a16="http://schemas.microsoft.com/office/drawing/2014/main" id="{AFC7A3A7-7479-E649-9071-C2A84931E87B}"/>
              </a:ext>
            </a:extLst>
          </p:cNvPr>
          <p:cNvSpPr>
            <a:spLocks noGrp="1"/>
          </p:cNvSpPr>
          <p:nvPr>
            <p:ph type="body" sz="quarter" idx="37" hasCustomPrompt="1"/>
          </p:nvPr>
        </p:nvSpPr>
        <p:spPr>
          <a:xfrm>
            <a:off x="8416011"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4879335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008575"/>
            <a:ext cx="3060000" cy="176103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008575"/>
            <a:ext cx="3060000" cy="176103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008575"/>
            <a:ext cx="3060000" cy="176103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4" name="Title 1">
            <a:extLst>
              <a:ext uri="{FF2B5EF4-FFF2-40B4-BE49-F238E27FC236}">
                <a16:creationId xmlns:a16="http://schemas.microsoft.com/office/drawing/2014/main" id="{17A93E60-A305-594B-BC78-B88B56C24FEE}"/>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45" name="Text Placeholder 19">
            <a:extLst>
              <a:ext uri="{FF2B5EF4-FFF2-40B4-BE49-F238E27FC236}">
                <a16:creationId xmlns:a16="http://schemas.microsoft.com/office/drawing/2014/main" id="{FFDD3FAA-25C4-DF40-B2AB-B5EA5792AEDA}"/>
              </a:ext>
            </a:extLst>
          </p:cNvPr>
          <p:cNvSpPr>
            <a:spLocks noGrp="1"/>
          </p:cNvSpPr>
          <p:nvPr>
            <p:ph type="body" sz="quarter" idx="35" hasCustomPrompt="1"/>
          </p:nvPr>
        </p:nvSpPr>
        <p:spPr>
          <a:xfrm>
            <a:off x="621488"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46" name="Text Placeholder 19">
            <a:extLst>
              <a:ext uri="{FF2B5EF4-FFF2-40B4-BE49-F238E27FC236}">
                <a16:creationId xmlns:a16="http://schemas.microsoft.com/office/drawing/2014/main" id="{D2C7FBBD-19E5-F44E-968A-62BA2952F3A7}"/>
              </a:ext>
            </a:extLst>
          </p:cNvPr>
          <p:cNvSpPr>
            <a:spLocks noGrp="1"/>
          </p:cNvSpPr>
          <p:nvPr>
            <p:ph type="body" sz="quarter" idx="36" hasCustomPrompt="1"/>
          </p:nvPr>
        </p:nvSpPr>
        <p:spPr>
          <a:xfrm>
            <a:off x="4566682"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47" name="Text Placeholder 19">
            <a:extLst>
              <a:ext uri="{FF2B5EF4-FFF2-40B4-BE49-F238E27FC236}">
                <a16:creationId xmlns:a16="http://schemas.microsoft.com/office/drawing/2014/main" id="{0724F50D-414E-0445-BC80-DF9678328A14}"/>
              </a:ext>
            </a:extLst>
          </p:cNvPr>
          <p:cNvSpPr>
            <a:spLocks noGrp="1"/>
          </p:cNvSpPr>
          <p:nvPr>
            <p:ph type="body" sz="quarter" idx="37" hasCustomPrompt="1"/>
          </p:nvPr>
        </p:nvSpPr>
        <p:spPr>
          <a:xfrm>
            <a:off x="8416011"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21090415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246677"/>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246677"/>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246677"/>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246677"/>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63" name="Text Placeholder 19">
            <a:extLst>
              <a:ext uri="{FF2B5EF4-FFF2-40B4-BE49-F238E27FC236}">
                <a16:creationId xmlns:a16="http://schemas.microsoft.com/office/drawing/2014/main" id="{672A930A-EB3C-C245-A0AB-6DB90D743564}"/>
              </a:ext>
            </a:extLst>
          </p:cNvPr>
          <p:cNvSpPr>
            <a:spLocks noGrp="1"/>
          </p:cNvSpPr>
          <p:nvPr>
            <p:ph type="body" sz="quarter" idx="48" hasCustomPrompt="1"/>
          </p:nvPr>
        </p:nvSpPr>
        <p:spPr>
          <a:xfrm>
            <a:off x="621134"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6" name="Text Placeholder 19">
            <a:extLst>
              <a:ext uri="{FF2B5EF4-FFF2-40B4-BE49-F238E27FC236}">
                <a16:creationId xmlns:a16="http://schemas.microsoft.com/office/drawing/2014/main" id="{79629EC7-D639-7A40-9381-8E51549EFAF7}"/>
              </a:ext>
            </a:extLst>
          </p:cNvPr>
          <p:cNvSpPr>
            <a:spLocks noGrp="1"/>
          </p:cNvSpPr>
          <p:nvPr>
            <p:ph type="body" sz="quarter" idx="49" hasCustomPrompt="1"/>
          </p:nvPr>
        </p:nvSpPr>
        <p:spPr>
          <a:xfrm>
            <a:off x="3472399"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7" name="Text Placeholder 19">
            <a:extLst>
              <a:ext uri="{FF2B5EF4-FFF2-40B4-BE49-F238E27FC236}">
                <a16:creationId xmlns:a16="http://schemas.microsoft.com/office/drawing/2014/main" id="{493F62FD-58C5-C548-B750-0DF90ED4909A}"/>
              </a:ext>
            </a:extLst>
          </p:cNvPr>
          <p:cNvSpPr>
            <a:spLocks noGrp="1"/>
          </p:cNvSpPr>
          <p:nvPr>
            <p:ph type="body" sz="quarter" idx="50" hasCustomPrompt="1"/>
          </p:nvPr>
        </p:nvSpPr>
        <p:spPr>
          <a:xfrm>
            <a:off x="6340290"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68" name="Text Placeholder 19">
            <a:extLst>
              <a:ext uri="{FF2B5EF4-FFF2-40B4-BE49-F238E27FC236}">
                <a16:creationId xmlns:a16="http://schemas.microsoft.com/office/drawing/2014/main" id="{67C77277-C24C-9143-A569-14A97F30452E}"/>
              </a:ext>
            </a:extLst>
          </p:cNvPr>
          <p:cNvSpPr>
            <a:spLocks noGrp="1"/>
          </p:cNvSpPr>
          <p:nvPr>
            <p:ph type="body" sz="quarter" idx="51" hasCustomPrompt="1"/>
          </p:nvPr>
        </p:nvSpPr>
        <p:spPr>
          <a:xfrm>
            <a:off x="9191555"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22119545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008575"/>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008575"/>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008575"/>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008575"/>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a:p>
        </p:txBody>
      </p:sp>
      <p:sp>
        <p:nvSpPr>
          <p:cNvPr id="33" name="Title 1">
            <a:extLst>
              <a:ext uri="{FF2B5EF4-FFF2-40B4-BE49-F238E27FC236}">
                <a16:creationId xmlns:a16="http://schemas.microsoft.com/office/drawing/2014/main" id="{3FC78697-BE24-A54F-9641-6CE2D667E758}"/>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34" name="Text Placeholder 19">
            <a:extLst>
              <a:ext uri="{FF2B5EF4-FFF2-40B4-BE49-F238E27FC236}">
                <a16:creationId xmlns:a16="http://schemas.microsoft.com/office/drawing/2014/main" id="{D7718604-10F6-4741-89DF-0242972A3E64}"/>
              </a:ext>
            </a:extLst>
          </p:cNvPr>
          <p:cNvSpPr>
            <a:spLocks noGrp="1"/>
          </p:cNvSpPr>
          <p:nvPr>
            <p:ph type="body" sz="quarter" idx="48" hasCustomPrompt="1"/>
          </p:nvPr>
        </p:nvSpPr>
        <p:spPr>
          <a:xfrm>
            <a:off x="621134"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6" name="Text Placeholder 19">
            <a:extLst>
              <a:ext uri="{FF2B5EF4-FFF2-40B4-BE49-F238E27FC236}">
                <a16:creationId xmlns:a16="http://schemas.microsoft.com/office/drawing/2014/main" id="{360F033E-EC13-AF49-8120-C97B270F67AB}"/>
              </a:ext>
            </a:extLst>
          </p:cNvPr>
          <p:cNvSpPr>
            <a:spLocks noGrp="1"/>
          </p:cNvSpPr>
          <p:nvPr>
            <p:ph type="body" sz="quarter" idx="49" hasCustomPrompt="1"/>
          </p:nvPr>
        </p:nvSpPr>
        <p:spPr>
          <a:xfrm>
            <a:off x="3472399"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7" name="Text Placeholder 19">
            <a:extLst>
              <a:ext uri="{FF2B5EF4-FFF2-40B4-BE49-F238E27FC236}">
                <a16:creationId xmlns:a16="http://schemas.microsoft.com/office/drawing/2014/main" id="{C4690658-27FF-F44D-B3B8-197DC8583E51}"/>
              </a:ext>
            </a:extLst>
          </p:cNvPr>
          <p:cNvSpPr>
            <a:spLocks noGrp="1"/>
          </p:cNvSpPr>
          <p:nvPr>
            <p:ph type="body" sz="quarter" idx="50" hasCustomPrompt="1"/>
          </p:nvPr>
        </p:nvSpPr>
        <p:spPr>
          <a:xfrm>
            <a:off x="6340290"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
        <p:nvSpPr>
          <p:cNvPr id="38" name="Text Placeholder 19">
            <a:extLst>
              <a:ext uri="{FF2B5EF4-FFF2-40B4-BE49-F238E27FC236}">
                <a16:creationId xmlns:a16="http://schemas.microsoft.com/office/drawing/2014/main" id="{3E738778-6FF2-274C-BCE6-096F5C0AFE6A}"/>
              </a:ext>
            </a:extLst>
          </p:cNvPr>
          <p:cNvSpPr>
            <a:spLocks noGrp="1"/>
          </p:cNvSpPr>
          <p:nvPr>
            <p:ph type="body" sz="quarter" idx="51" hasCustomPrompt="1"/>
          </p:nvPr>
        </p:nvSpPr>
        <p:spPr>
          <a:xfrm>
            <a:off x="9191555"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err="1"/>
              <a:t>Imagery</a:t>
            </a:r>
            <a:r>
              <a:rPr lang="de-DE" noProof="0"/>
              <a:t>/Point title </a:t>
            </a:r>
            <a:r>
              <a:rPr lang="de-DE" noProof="0" err="1"/>
              <a:t>or</a:t>
            </a:r>
            <a:r>
              <a:rPr lang="de-DE" noProof="0"/>
              <a:t> </a:t>
            </a:r>
            <a:r>
              <a:rPr lang="de-DE" noProof="0" err="1"/>
              <a:t>some</a:t>
            </a:r>
            <a:r>
              <a:rPr lang="de-DE" noProof="0"/>
              <a:t> </a:t>
            </a:r>
            <a:r>
              <a:rPr lang="de-DE" noProof="0" err="1"/>
              <a:t>description</a:t>
            </a:r>
            <a:r>
              <a:rPr lang="de-DE" noProof="0"/>
              <a:t> </a:t>
            </a:r>
            <a:r>
              <a:rPr lang="de-DE" noProof="0" err="1"/>
              <a:t>here</a:t>
            </a:r>
            <a:endParaRPr lang="de-DE" noProof="0"/>
          </a:p>
        </p:txBody>
      </p:sp>
    </p:spTree>
    <p:extLst>
      <p:ext uri="{BB962C8B-B14F-4D97-AF65-F5344CB8AC3E}">
        <p14:creationId xmlns:p14="http://schemas.microsoft.com/office/powerpoint/2010/main" val="17730089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5184306"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4" y="594811"/>
            <a:ext cx="5184308"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17694" y="2154358"/>
            <a:ext cx="51843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34" name="Text Placeholder 4">
            <a:extLst>
              <a:ext uri="{FF2B5EF4-FFF2-40B4-BE49-F238E27FC236}">
                <a16:creationId xmlns:a16="http://schemas.microsoft.com/office/drawing/2014/main" id="{96CDD4B5-EF56-DD46-AEE6-734C6C6C1CB0}"/>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
        <p:nvSpPr>
          <p:cNvPr id="35" name="Text Placeholder 4">
            <a:extLst>
              <a:ext uri="{FF2B5EF4-FFF2-40B4-BE49-F238E27FC236}">
                <a16:creationId xmlns:a16="http://schemas.microsoft.com/office/drawing/2014/main" id="{B9DA348C-A862-6447-AEA0-89F58A4354BA}"/>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4</a:t>
            </a:r>
          </a:p>
        </p:txBody>
      </p:sp>
      <p:sp>
        <p:nvSpPr>
          <p:cNvPr id="36" name="Text Placeholder 4">
            <a:extLst>
              <a:ext uri="{FF2B5EF4-FFF2-40B4-BE49-F238E27FC236}">
                <a16:creationId xmlns:a16="http://schemas.microsoft.com/office/drawing/2014/main" id="{702A0993-B4FF-8646-B55D-627AF91F31D8}"/>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37" name="Text Placeholder 4">
            <a:extLst>
              <a:ext uri="{FF2B5EF4-FFF2-40B4-BE49-F238E27FC236}">
                <a16:creationId xmlns:a16="http://schemas.microsoft.com/office/drawing/2014/main" id="{3CBCD022-E941-0C4A-A5C4-EED8BC3A393B}"/>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3</a:t>
            </a:r>
          </a:p>
        </p:txBody>
      </p:sp>
    </p:spTree>
    <p:extLst>
      <p:ext uri="{BB962C8B-B14F-4D97-AF65-F5344CB8AC3E}">
        <p14:creationId xmlns:p14="http://schemas.microsoft.com/office/powerpoint/2010/main" val="294912115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22" name="Content Placeholder 2">
            <a:extLst>
              <a:ext uri="{FF2B5EF4-FFF2-40B4-BE49-F238E27FC236}">
                <a16:creationId xmlns:a16="http://schemas.microsoft.com/office/drawing/2014/main" id="{331D0499-018D-0343-A2FE-983D6CE6F2F7}"/>
              </a:ext>
            </a:extLst>
          </p:cNvPr>
          <p:cNvSpPr>
            <a:spLocks noGrp="1"/>
          </p:cNvSpPr>
          <p:nvPr>
            <p:ph idx="46" hasCustomPrompt="1"/>
          </p:nvPr>
        </p:nvSpPr>
        <p:spPr>
          <a:xfrm>
            <a:off x="617693" y="1908061"/>
            <a:ext cx="518430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23" name="Title 1">
            <a:extLst>
              <a:ext uri="{FF2B5EF4-FFF2-40B4-BE49-F238E27FC236}">
                <a16:creationId xmlns:a16="http://schemas.microsoft.com/office/drawing/2014/main" id="{EE21965E-9E14-354B-B97D-235D02646393}"/>
              </a:ext>
            </a:extLst>
          </p:cNvPr>
          <p:cNvSpPr>
            <a:spLocks noGrp="1"/>
          </p:cNvSpPr>
          <p:nvPr>
            <p:ph type="title" hasCustomPrompt="1"/>
          </p:nvPr>
        </p:nvSpPr>
        <p:spPr>
          <a:xfrm>
            <a:off x="617693" y="688454"/>
            <a:ext cx="518430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24" name="Text Placeholder 4">
            <a:extLst>
              <a:ext uri="{FF2B5EF4-FFF2-40B4-BE49-F238E27FC236}">
                <a16:creationId xmlns:a16="http://schemas.microsoft.com/office/drawing/2014/main" id="{662ED520-B46D-2C44-8A68-4F0D542CDBB8}"/>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2</a:t>
            </a:r>
          </a:p>
        </p:txBody>
      </p:sp>
      <p:sp>
        <p:nvSpPr>
          <p:cNvPr id="25" name="Text Placeholder 4">
            <a:extLst>
              <a:ext uri="{FF2B5EF4-FFF2-40B4-BE49-F238E27FC236}">
                <a16:creationId xmlns:a16="http://schemas.microsoft.com/office/drawing/2014/main" id="{ADFEC42D-9770-9645-8675-936531B9D66C}"/>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4</a:t>
            </a:r>
          </a:p>
        </p:txBody>
      </p:sp>
      <p:sp>
        <p:nvSpPr>
          <p:cNvPr id="34" name="Text Placeholder 4">
            <a:extLst>
              <a:ext uri="{FF2B5EF4-FFF2-40B4-BE49-F238E27FC236}">
                <a16:creationId xmlns:a16="http://schemas.microsoft.com/office/drawing/2014/main" id="{63B05CE3-5D8A-E74A-A03B-F0E6A592274B}"/>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1</a:t>
            </a:r>
          </a:p>
        </p:txBody>
      </p:sp>
      <p:sp>
        <p:nvSpPr>
          <p:cNvPr id="35" name="Text Placeholder 4">
            <a:extLst>
              <a:ext uri="{FF2B5EF4-FFF2-40B4-BE49-F238E27FC236}">
                <a16:creationId xmlns:a16="http://schemas.microsoft.com/office/drawing/2014/main" id="{B1019EFD-BDFD-1245-BF19-B2F0F1D38DC7}"/>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3</a:t>
            </a:r>
          </a:p>
        </p:txBody>
      </p:sp>
    </p:spTree>
    <p:extLst>
      <p:ext uri="{BB962C8B-B14F-4D97-AF65-F5344CB8AC3E}">
        <p14:creationId xmlns:p14="http://schemas.microsoft.com/office/powerpoint/2010/main" val="335683602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4247113354"/>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i="0">
                <a:solidFill>
                  <a:schemeClr val="accent2"/>
                </a:solidFill>
                <a:latin typeface="Calibri Light" panose="020F0302020204030204" pitchFamily="34" charset="0"/>
              </a:defRPr>
            </a:lvl1pPr>
          </a:lstStyle>
          <a:p>
            <a:pPr lvl="0"/>
            <a:r>
              <a:rPr lang="en-GB" noProof="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6" name="Title 1"/>
          <p:cNvSpPr>
            <a:spLocks noGrp="1"/>
          </p:cNvSpPr>
          <p:nvPr>
            <p:ph type="title"/>
          </p:nvPr>
        </p:nvSpPr>
        <p:spPr>
          <a:xfrm>
            <a:off x="622570" y="188913"/>
            <a:ext cx="1090859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9" name="Text Placeholder 19"/>
          <p:cNvSpPr>
            <a:spLocks noGrp="1"/>
          </p:cNvSpPr>
          <p:nvPr>
            <p:ph type="body" sz="quarter" idx="13"/>
          </p:nvPr>
        </p:nvSpPr>
        <p:spPr>
          <a:xfrm>
            <a:off x="621818" y="779413"/>
            <a:ext cx="10884747" cy="40611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339133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5" name="Content Placeholder 2">
            <a:extLst>
              <a:ext uri="{FF2B5EF4-FFF2-40B4-BE49-F238E27FC236}">
                <a16:creationId xmlns:a16="http://schemas.microsoft.com/office/drawing/2014/main" id="{5F75D192-DA1D-4F46-B54F-60910BAD2EDB}"/>
              </a:ext>
            </a:extLst>
          </p:cNvPr>
          <p:cNvSpPr>
            <a:spLocks noGrp="1"/>
          </p:cNvSpPr>
          <p:nvPr>
            <p:ph idx="25" hasCustomPrompt="1"/>
          </p:nvPr>
        </p:nvSpPr>
        <p:spPr>
          <a:xfrm>
            <a:off x="6679552"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6" name="Title 1">
            <a:extLst>
              <a:ext uri="{FF2B5EF4-FFF2-40B4-BE49-F238E27FC236}">
                <a16:creationId xmlns:a16="http://schemas.microsoft.com/office/drawing/2014/main" id="{18A6BC4A-9619-B046-9D7F-B13BFFA1D5BA}"/>
              </a:ext>
            </a:extLst>
          </p:cNvPr>
          <p:cNvSpPr>
            <a:spLocks noGrp="1"/>
          </p:cNvSpPr>
          <p:nvPr>
            <p:ph type="title" hasCustomPrompt="1"/>
          </p:nvPr>
        </p:nvSpPr>
        <p:spPr>
          <a:xfrm>
            <a:off x="6679552"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316011198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Sub and 1xQuotes">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1" y="2154358"/>
            <a:ext cx="9703468" cy="2615940"/>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Tree>
    <p:extLst>
      <p:ext uri="{BB962C8B-B14F-4D97-AF65-F5344CB8AC3E}">
        <p14:creationId xmlns:p14="http://schemas.microsoft.com/office/powerpoint/2010/main" val="85093573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Sub and 1xQuotes">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3" name="Content Placeholder 2"/>
          <p:cNvSpPr>
            <a:spLocks noGrp="1"/>
          </p:cNvSpPr>
          <p:nvPr>
            <p:ph idx="1" hasCustomPrompt="1"/>
          </p:nvPr>
        </p:nvSpPr>
        <p:spPr>
          <a:xfrm>
            <a:off x="617691" y="1902234"/>
            <a:ext cx="9703468" cy="2868063"/>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a:t>
            </a:r>
            <a:r>
              <a:rPr lang="de-DE" noProof="0" err="1"/>
              <a:t>logos</a:t>
            </a:r>
            <a:r>
              <a:rPr lang="de-DE" noProof="0"/>
              <a:t> </a:t>
            </a:r>
            <a:r>
              <a:rPr lang="de-DE" noProof="0" err="1"/>
              <a:t>here</a:t>
            </a:r>
            <a:r>
              <a:rPr lang="de-DE" noProof="0"/>
              <a:t> in </a:t>
            </a:r>
            <a:r>
              <a:rPr lang="de-DE" noProof="0" err="1"/>
              <a:t>this</a:t>
            </a:r>
            <a:r>
              <a:rPr lang="de-DE" noProof="0"/>
              <a:t> </a:t>
            </a:r>
            <a:r>
              <a:rPr lang="de-DE" noProof="0" err="1"/>
              <a:t>block‘s</a:t>
            </a:r>
            <a:r>
              <a:rPr lang="de-DE" noProof="0"/>
              <a:t> EXACT HEIGHT </a:t>
            </a:r>
            <a:r>
              <a:rPr lang="de-DE" noProof="0" err="1"/>
              <a:t>or</a:t>
            </a:r>
            <a:r>
              <a:rPr lang="de-DE" noProof="0"/>
              <a:t> DELETE</a:t>
            </a:r>
          </a:p>
        </p:txBody>
      </p:sp>
      <p:sp>
        <p:nvSpPr>
          <p:cNvPr id="20" name="Title 1">
            <a:extLst>
              <a:ext uri="{FF2B5EF4-FFF2-40B4-BE49-F238E27FC236}">
                <a16:creationId xmlns:a16="http://schemas.microsoft.com/office/drawing/2014/main" id="{8B468550-6451-EA4C-A312-1E70F2BE10EC}"/>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3215838123"/>
      </p:ext>
    </p:extLst>
  </p:cSld>
  <p:clrMapOvr>
    <a:masterClrMapping/>
  </p:clrMapOvr>
  <p:extLst>
    <p:ext uri="{DCECCB84-F9BA-43D5-87BE-67443E8EF086}">
      <p15:sldGuideLst xmlns:p15="http://schemas.microsoft.com/office/powerpoint/2012/main">
        <p15:guide id="1" orient="horz" pos="302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537312"/>
            <a:ext cx="5197889"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2152062"/>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2152062"/>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774789"/>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774789"/>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537312"/>
            <a:ext cx="5185600"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Tree>
    <p:extLst>
      <p:ext uri="{BB962C8B-B14F-4D97-AF65-F5344CB8AC3E}">
        <p14:creationId xmlns:p14="http://schemas.microsoft.com/office/powerpoint/2010/main" val="14675708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287360"/>
            <a:ext cx="5197889"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1902110"/>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1902110"/>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524837"/>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524837"/>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287360"/>
            <a:ext cx="5185600"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here please</a:t>
            </a:r>
          </a:p>
        </p:txBody>
      </p:sp>
      <p:sp>
        <p:nvSpPr>
          <p:cNvPr id="21" name="Title 1">
            <a:extLst>
              <a:ext uri="{FF2B5EF4-FFF2-40B4-BE49-F238E27FC236}">
                <a16:creationId xmlns:a16="http://schemas.microsoft.com/office/drawing/2014/main" id="{4C5EE489-6FC6-1F4C-A023-77BCF4171746}"/>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4078113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2120793"/>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2120793"/>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2120793"/>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Tree>
    <p:extLst>
      <p:ext uri="{BB962C8B-B14F-4D97-AF65-F5344CB8AC3E}">
        <p14:creationId xmlns:p14="http://schemas.microsoft.com/office/powerpoint/2010/main" val="36507403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1902110"/>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1902110"/>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1902110"/>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Job position 	</a:t>
            </a:r>
            <a:br>
              <a:rPr lang="en-US"/>
            </a:br>
            <a:r>
              <a:rPr lang="en-US"/>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a:t>Name Surname</a:t>
            </a:r>
          </a:p>
        </p:txBody>
      </p:sp>
      <p:sp>
        <p:nvSpPr>
          <p:cNvPr id="25" name="Title 1">
            <a:extLst>
              <a:ext uri="{FF2B5EF4-FFF2-40B4-BE49-F238E27FC236}">
                <a16:creationId xmlns:a16="http://schemas.microsoft.com/office/drawing/2014/main" id="{D362BA5C-960B-514F-A5A9-64F6B961F487}"/>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28220444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hank you option1_NO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3813" y="1764051"/>
            <a:ext cx="10143533" cy="1829040"/>
          </a:xfrm>
          <a:prstGeom prst="rect">
            <a:avLst/>
          </a:prstGeom>
        </p:spPr>
        <p:txBody>
          <a:bodyPr anchor="b">
            <a:normAutofit/>
          </a:bodyPr>
          <a:lstStyle>
            <a:lvl1pPr algn="ctr">
              <a:defRPr sz="7000" b="0" i="0">
                <a:solidFill>
                  <a:srgbClr val="005EB8"/>
                </a:solidFill>
                <a:latin typeface="Gibson Light" panose="02000000000000000000" pitchFamily="2" charset="77"/>
              </a:defRPr>
            </a:lvl1pPr>
          </a:lstStyle>
          <a:p>
            <a:r>
              <a:rPr lang="en-US"/>
              <a:t>Thank you</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A6A6A8"/>
                </a:solidFill>
                <a:latin typeface="Gibson" panose="02000000000000000000" pitchFamily="2" charset="77"/>
              </a:defRPr>
            </a:lvl1pPr>
          </a:lstStyle>
          <a:p>
            <a:r>
              <a:rPr lang="en-US"/>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2417786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hank you Option 2_Half Image">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9D856FA3-FE4A-AC49-8CDF-F79C165F4BF7}"/>
              </a:ext>
            </a:extLst>
          </p:cNvPr>
          <p:cNvSpPr>
            <a:spLocks noGrp="1"/>
          </p:cNvSpPr>
          <p:nvPr>
            <p:ph type="pic" sz="quarter" idx="17" hasCustomPrompt="1"/>
          </p:nvPr>
        </p:nvSpPr>
        <p:spPr>
          <a:xfrm rot="20117956">
            <a:off x="5825824" y="-34675"/>
            <a:ext cx="6688396" cy="7885590"/>
          </a:xfrm>
          <a:custGeom>
            <a:avLst/>
            <a:gdLst>
              <a:gd name="connsiteX0" fmla="*/ 3301050 w 6688396"/>
              <a:gd name="connsiteY0" fmla="*/ 205796 h 7885590"/>
              <a:gd name="connsiteX1" fmla="*/ 4489730 w 6688396"/>
              <a:gd name="connsiteY1" fmla="*/ 1266404 h 7885590"/>
              <a:gd name="connsiteX2" fmla="*/ 6470076 w 6688396"/>
              <a:gd name="connsiteY2" fmla="*/ 3642044 h 7885590"/>
              <a:gd name="connsiteX3" fmla="*/ 6688396 w 6688396"/>
              <a:gd name="connsiteY3" fmla="*/ 3903944 h 7885590"/>
              <a:gd name="connsiteX4" fmla="*/ 4856982 w 6688396"/>
              <a:gd name="connsiteY4" fmla="*/ 7885590 h 7885590"/>
              <a:gd name="connsiteX5" fmla="*/ 0 w 6688396"/>
              <a:gd name="connsiteY5" fmla="*/ 5651552 h 7885590"/>
              <a:gd name="connsiteX6" fmla="*/ 0 w 6688396"/>
              <a:gd name="connsiteY6" fmla="*/ 5408886 h 7885590"/>
              <a:gd name="connsiteX7" fmla="*/ 0 w 6688396"/>
              <a:gd name="connsiteY7" fmla="*/ 2372795 h 7885590"/>
              <a:gd name="connsiteX8" fmla="*/ 688980 w 6688396"/>
              <a:gd name="connsiteY8" fmla="*/ 694133 h 7885590"/>
              <a:gd name="connsiteX9" fmla="*/ 2448484 w 6688396"/>
              <a:gd name="connsiteY9" fmla="*/ 1234 h 7885590"/>
              <a:gd name="connsiteX10" fmla="*/ 3301050 w 6688396"/>
              <a:gd name="connsiteY10" fmla="*/ 205796 h 788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8396" h="7885590">
                <a:moveTo>
                  <a:pt x="3301050" y="205796"/>
                </a:moveTo>
                <a:cubicBezTo>
                  <a:pt x="3815891" y="449964"/>
                  <a:pt x="4141454" y="861999"/>
                  <a:pt x="4489730" y="1266404"/>
                </a:cubicBezTo>
                <a:cubicBezTo>
                  <a:pt x="4489730" y="1266404"/>
                  <a:pt x="4489730" y="1266404"/>
                  <a:pt x="6470076" y="3642044"/>
                </a:cubicBezTo>
                <a:lnTo>
                  <a:pt x="6688396" y="3903944"/>
                </a:lnTo>
                <a:lnTo>
                  <a:pt x="4856982" y="7885590"/>
                </a:lnTo>
                <a:lnTo>
                  <a:pt x="0" y="5651552"/>
                </a:lnTo>
                <a:lnTo>
                  <a:pt x="0" y="5408886"/>
                </a:lnTo>
                <a:cubicBezTo>
                  <a:pt x="0" y="4059802"/>
                  <a:pt x="0" y="2372795"/>
                  <a:pt x="0" y="2372795"/>
                </a:cubicBezTo>
                <a:cubicBezTo>
                  <a:pt x="0" y="1762372"/>
                  <a:pt x="227137" y="1159580"/>
                  <a:pt x="688980" y="694133"/>
                </a:cubicBezTo>
                <a:cubicBezTo>
                  <a:pt x="1152245" y="232501"/>
                  <a:pt x="1805173" y="-19954"/>
                  <a:pt x="2448484" y="1234"/>
                </a:cubicBezTo>
                <a:cubicBezTo>
                  <a:pt x="2740898" y="10865"/>
                  <a:pt x="3031325" y="77035"/>
                  <a:pt x="3301050" y="205796"/>
                </a:cubicBezTo>
                <a:close/>
              </a:path>
            </a:pathLst>
          </a:custGeom>
          <a:solidFill>
            <a:schemeClr val="bg1">
              <a:lumMod val="95000"/>
            </a:schemeClr>
          </a:solidFill>
        </p:spPr>
        <p:txBody>
          <a:bodyPr wrap="square" anchor="ctr">
            <a:noAutofit/>
          </a:bodyPr>
          <a:lstStyle>
            <a:lvl1pPr marL="0" indent="0" algn="l">
              <a:buNone/>
              <a:defRPr/>
            </a:lvl1pPr>
          </a:lstStyle>
          <a:p>
            <a:r>
              <a:rPr lang="en-GB" noProof="0"/>
              <a:t>     </a:t>
            </a:r>
            <a:br>
              <a:rPr lang="en-GB" noProof="0"/>
            </a:br>
            <a:br>
              <a:rPr lang="en-GB" noProof="0"/>
            </a:br>
            <a:r>
              <a:rPr lang="en-GB" noProof="0"/>
              <a:t> Insert your picture here</a:t>
            </a:r>
          </a:p>
        </p:txBody>
      </p:sp>
      <p:sp>
        <p:nvSpPr>
          <p:cNvPr id="2" name="Title 1"/>
          <p:cNvSpPr>
            <a:spLocks noGrp="1"/>
          </p:cNvSpPr>
          <p:nvPr>
            <p:ph type="ctrTitle" hasCustomPrompt="1"/>
          </p:nvPr>
        </p:nvSpPr>
        <p:spPr>
          <a:xfrm>
            <a:off x="535968" y="2465962"/>
            <a:ext cx="4057547" cy="1829040"/>
          </a:xfrm>
          <a:prstGeom prst="rect">
            <a:avLst/>
          </a:prstGeom>
        </p:spPr>
        <p:txBody>
          <a:bodyPr anchor="ctr">
            <a:normAutofit/>
          </a:bodyPr>
          <a:lstStyle>
            <a:lvl1pPr algn="l">
              <a:defRPr sz="6600" b="0" i="0">
                <a:solidFill>
                  <a:srgbClr val="005EB8"/>
                </a:solidFill>
                <a:latin typeface="Gibson Light" panose="02000000000000000000" pitchFamily="2" charset="77"/>
              </a:defRPr>
            </a:lvl1pPr>
          </a:lstStyle>
          <a:p>
            <a:r>
              <a:rPr lang="en-US"/>
              <a:t>Thank you</a:t>
            </a:r>
          </a:p>
        </p:txBody>
      </p:sp>
      <p:sp>
        <p:nvSpPr>
          <p:cNvPr id="5" name="Footer Placeholder 4"/>
          <p:cNvSpPr>
            <a:spLocks noGrp="1"/>
          </p:cNvSpPr>
          <p:nvPr>
            <p:ph type="ftr" sz="quarter" idx="11"/>
          </p:nvPr>
        </p:nvSpPr>
        <p:spPr>
          <a:xfrm>
            <a:off x="535969" y="6077296"/>
            <a:ext cx="5338058" cy="512347"/>
          </a:xfrm>
          <a:prstGeom prst="rect">
            <a:avLst/>
          </a:prstGeom>
        </p:spPr>
        <p:txBody>
          <a:bodyPr/>
          <a:lstStyle>
            <a:lvl1pPr algn="l">
              <a:defRPr sz="1200" b="0" i="0">
                <a:solidFill>
                  <a:srgbClr val="A6A6A8"/>
                </a:solidFill>
                <a:latin typeface="Gibson" panose="02000000000000000000" pitchFamily="2" charset="77"/>
              </a:defRPr>
            </a:lvl1pPr>
          </a:lstStyle>
          <a:p>
            <a:r>
              <a:rPr lang="en-US"/>
              <a:t>Footer  I  Credits  I  Links</a:t>
            </a:r>
          </a:p>
        </p:txBody>
      </p: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cxnSp>
        <p:nvCxnSpPr>
          <p:cNvPr id="10" name="Straight Connector 9">
            <a:extLst>
              <a:ext uri="{FF2B5EF4-FFF2-40B4-BE49-F238E27FC236}">
                <a16:creationId xmlns:a16="http://schemas.microsoft.com/office/drawing/2014/main" id="{994011DB-1362-834C-ABD9-CAA4FA4BA226}"/>
              </a:ext>
            </a:extLst>
          </p:cNvPr>
          <p:cNvCxnSpPr/>
          <p:nvPr userDrawn="1"/>
        </p:nvCxnSpPr>
        <p:spPr>
          <a:xfrm>
            <a:off x="623888" y="6004133"/>
            <a:ext cx="396962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923338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hank you Option 3_Full Bleed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226FD200-697D-5045-8FFC-0596A9748ECE}"/>
              </a:ext>
            </a:extLst>
          </p:cNvPr>
          <p:cNvSpPr/>
          <p:nvPr userDrawn="1"/>
        </p:nvSpPr>
        <p:spPr>
          <a:xfrm>
            <a:off x="7621232" y="2652793"/>
            <a:ext cx="4570769" cy="4205206"/>
          </a:xfrm>
          <a:custGeom>
            <a:avLst/>
            <a:gdLst>
              <a:gd name="connsiteX0" fmla="*/ 1745803 w 4570769"/>
              <a:gd name="connsiteY0" fmla="*/ 0 h 4205206"/>
              <a:gd name="connsiteX1" fmla="*/ 1785804 w 4570769"/>
              <a:gd name="connsiteY1" fmla="*/ 1070 h 4205206"/>
              <a:gd name="connsiteX2" fmla="*/ 1824652 w 4570769"/>
              <a:gd name="connsiteY2" fmla="*/ 1862 h 4205206"/>
              <a:gd name="connsiteX3" fmla="*/ 1863937 w 4570769"/>
              <a:gd name="connsiteY3" fmla="*/ 3370 h 4205206"/>
              <a:gd name="connsiteX4" fmla="*/ 1903384 w 4570769"/>
              <a:gd name="connsiteY4" fmla="*/ 6747 h 4205206"/>
              <a:gd name="connsiteX5" fmla="*/ 1941677 w 4570769"/>
              <a:gd name="connsiteY5" fmla="*/ 9846 h 4205206"/>
              <a:gd name="connsiteX6" fmla="*/ 1980847 w 4570769"/>
              <a:gd name="connsiteY6" fmla="*/ 14376 h 4205206"/>
              <a:gd name="connsiteX7" fmla="*/ 2018863 w 4570769"/>
              <a:gd name="connsiteY7" fmla="*/ 18628 h 4205206"/>
              <a:gd name="connsiteX8" fmla="*/ 2057040 w 4570769"/>
              <a:gd name="connsiteY8" fmla="*/ 24750 h 4205206"/>
              <a:gd name="connsiteX9" fmla="*/ 2095218 w 4570769"/>
              <a:gd name="connsiteY9" fmla="*/ 30871 h 4205206"/>
              <a:gd name="connsiteX10" fmla="*/ 2132680 w 4570769"/>
              <a:gd name="connsiteY10" fmla="*/ 37430 h 4205206"/>
              <a:gd name="connsiteX11" fmla="*/ 2171018 w 4570769"/>
              <a:gd name="connsiteY11" fmla="*/ 45420 h 4205206"/>
              <a:gd name="connsiteX12" fmla="*/ 2207926 w 4570769"/>
              <a:gd name="connsiteY12" fmla="*/ 54286 h 4205206"/>
              <a:gd name="connsiteX13" fmla="*/ 2283172 w 4570769"/>
              <a:gd name="connsiteY13" fmla="*/ 71142 h 4205206"/>
              <a:gd name="connsiteX14" fmla="*/ 2357150 w 4570769"/>
              <a:gd name="connsiteY14" fmla="*/ 90743 h 4205206"/>
              <a:gd name="connsiteX15" fmla="*/ 2430850 w 4570769"/>
              <a:gd name="connsiteY15" fmla="*/ 111498 h 4205206"/>
              <a:gd name="connsiteX16" fmla="*/ 2504710 w 4570769"/>
              <a:gd name="connsiteY16" fmla="*/ 134121 h 4205206"/>
              <a:gd name="connsiteX17" fmla="*/ 2577856 w 4570769"/>
              <a:gd name="connsiteY17" fmla="*/ 157182 h 4205206"/>
              <a:gd name="connsiteX18" fmla="*/ 2651440 w 4570769"/>
              <a:gd name="connsiteY18" fmla="*/ 180958 h 4205206"/>
              <a:gd name="connsiteX19" fmla="*/ 2797893 w 4570769"/>
              <a:gd name="connsiteY19" fmla="*/ 228949 h 4205206"/>
              <a:gd name="connsiteX20" fmla="*/ 4570769 w 4570769"/>
              <a:gd name="connsiteY20" fmla="*/ 819920 h 4205206"/>
              <a:gd name="connsiteX21" fmla="*/ 4570769 w 4570769"/>
              <a:gd name="connsiteY21" fmla="*/ 4205206 h 4205206"/>
              <a:gd name="connsiteX22" fmla="*/ 1143839 w 4570769"/>
              <a:gd name="connsiteY22" fmla="*/ 4205206 h 4205206"/>
              <a:gd name="connsiteX23" fmla="*/ 269883 w 4570769"/>
              <a:gd name="connsiteY23" fmla="*/ 2777014 h 4205206"/>
              <a:gd name="connsiteX24" fmla="*/ 247099 w 4570769"/>
              <a:gd name="connsiteY24" fmla="*/ 2739822 h 4205206"/>
              <a:gd name="connsiteX25" fmla="*/ 225745 w 4570769"/>
              <a:gd name="connsiteY25" fmla="*/ 2701755 h 4205206"/>
              <a:gd name="connsiteX26" fmla="*/ 204669 w 4570769"/>
              <a:gd name="connsiteY26" fmla="*/ 2662533 h 4205206"/>
              <a:gd name="connsiteX27" fmla="*/ 185461 w 4570769"/>
              <a:gd name="connsiteY27" fmla="*/ 2623151 h 4205206"/>
              <a:gd name="connsiteX28" fmla="*/ 166691 w 4570769"/>
              <a:gd name="connsiteY28" fmla="*/ 2584484 h 4205206"/>
              <a:gd name="connsiteX29" fmla="*/ 149191 w 4570769"/>
              <a:gd name="connsiteY29" fmla="*/ 2543072 h 4205206"/>
              <a:gd name="connsiteX30" fmla="*/ 132129 w 4570769"/>
              <a:gd name="connsiteY30" fmla="*/ 2502375 h 4205206"/>
              <a:gd name="connsiteX31" fmla="*/ 116220 w 4570769"/>
              <a:gd name="connsiteY31" fmla="*/ 2461956 h 4205206"/>
              <a:gd name="connsiteX32" fmla="*/ 100588 w 4570769"/>
              <a:gd name="connsiteY32" fmla="*/ 2420383 h 4205206"/>
              <a:gd name="connsiteX33" fmla="*/ 86825 w 4570769"/>
              <a:gd name="connsiteY33" fmla="*/ 2378649 h 4205206"/>
              <a:gd name="connsiteX34" fmla="*/ 74493 w 4570769"/>
              <a:gd name="connsiteY34" fmla="*/ 2336038 h 4205206"/>
              <a:gd name="connsiteX35" fmla="*/ 62598 w 4570769"/>
              <a:gd name="connsiteY35" fmla="*/ 2294143 h 4205206"/>
              <a:gd name="connsiteX36" fmla="*/ 51419 w 4570769"/>
              <a:gd name="connsiteY36" fmla="*/ 2251810 h 4205206"/>
              <a:gd name="connsiteX37" fmla="*/ 41232 w 4570769"/>
              <a:gd name="connsiteY37" fmla="*/ 2207885 h 4205206"/>
              <a:gd name="connsiteX38" fmla="*/ 32198 w 4570769"/>
              <a:gd name="connsiteY38" fmla="*/ 2164237 h 4205206"/>
              <a:gd name="connsiteX39" fmla="*/ 25033 w 4570769"/>
              <a:gd name="connsiteY39" fmla="*/ 2120428 h 4205206"/>
              <a:gd name="connsiteX40" fmla="*/ 17868 w 4570769"/>
              <a:gd name="connsiteY40" fmla="*/ 2076619 h 4205206"/>
              <a:gd name="connsiteX41" fmla="*/ 12133 w 4570769"/>
              <a:gd name="connsiteY41" fmla="*/ 2031934 h 4205206"/>
              <a:gd name="connsiteX42" fmla="*/ 7552 w 4570769"/>
              <a:gd name="connsiteY42" fmla="*/ 1987526 h 4205206"/>
              <a:gd name="connsiteX43" fmla="*/ 4839 w 4570769"/>
              <a:gd name="connsiteY43" fmla="*/ 1942957 h 4205206"/>
              <a:gd name="connsiteX44" fmla="*/ 1689 w 4570769"/>
              <a:gd name="connsiteY44" fmla="*/ 1897672 h 4205206"/>
              <a:gd name="connsiteX45" fmla="*/ 844 w 4570769"/>
              <a:gd name="connsiteY45" fmla="*/ 1852942 h 4205206"/>
              <a:gd name="connsiteX46" fmla="*/ 0 w 4570769"/>
              <a:gd name="connsiteY46" fmla="*/ 1808212 h 4205206"/>
              <a:gd name="connsiteX47" fmla="*/ 1302 w 4570769"/>
              <a:gd name="connsiteY47" fmla="*/ 1762167 h 4205206"/>
              <a:gd name="connsiteX48" fmla="*/ 3757 w 4570769"/>
              <a:gd name="connsiteY48" fmla="*/ 1716399 h 4205206"/>
              <a:gd name="connsiteX49" fmla="*/ 6650 w 4570769"/>
              <a:gd name="connsiteY49" fmla="*/ 1671347 h 4205206"/>
              <a:gd name="connsiteX50" fmla="*/ 10974 w 4570769"/>
              <a:gd name="connsiteY50" fmla="*/ 1625418 h 4205206"/>
              <a:gd name="connsiteX51" fmla="*/ 17166 w 4570769"/>
              <a:gd name="connsiteY51" fmla="*/ 1579328 h 4205206"/>
              <a:gd name="connsiteX52" fmla="*/ 24073 w 4570769"/>
              <a:gd name="connsiteY52" fmla="*/ 1532800 h 4205206"/>
              <a:gd name="connsiteX53" fmla="*/ 30704 w 4570769"/>
              <a:gd name="connsiteY53" fmla="*/ 1487426 h 4205206"/>
              <a:gd name="connsiteX54" fmla="*/ 40633 w 4570769"/>
              <a:gd name="connsiteY54" fmla="*/ 1441014 h 4205206"/>
              <a:gd name="connsiteX55" fmla="*/ 51001 w 4570769"/>
              <a:gd name="connsiteY55" fmla="*/ 1395317 h 4205206"/>
              <a:gd name="connsiteX56" fmla="*/ 60189 w 4570769"/>
              <a:gd name="connsiteY56" fmla="*/ 1362146 h 4205206"/>
              <a:gd name="connsiteX57" fmla="*/ 68939 w 4570769"/>
              <a:gd name="connsiteY57" fmla="*/ 1328260 h 4205206"/>
              <a:gd name="connsiteX58" fmla="*/ 78127 w 4570769"/>
              <a:gd name="connsiteY58" fmla="*/ 1295089 h 4205206"/>
              <a:gd name="connsiteX59" fmla="*/ 88907 w 4570769"/>
              <a:gd name="connsiteY59" fmla="*/ 1262911 h 4205206"/>
              <a:gd name="connsiteX60" fmla="*/ 99964 w 4570769"/>
              <a:gd name="connsiteY60" fmla="*/ 1229579 h 4205206"/>
              <a:gd name="connsiteX61" fmla="*/ 111182 w 4570769"/>
              <a:gd name="connsiteY61" fmla="*/ 1198116 h 4205206"/>
              <a:gd name="connsiteX62" fmla="*/ 123393 w 4570769"/>
              <a:gd name="connsiteY62" fmla="*/ 1165061 h 4205206"/>
              <a:gd name="connsiteX63" fmla="*/ 136479 w 4570769"/>
              <a:gd name="connsiteY63" fmla="*/ 1133437 h 4205206"/>
              <a:gd name="connsiteX64" fmla="*/ 148851 w 4570769"/>
              <a:gd name="connsiteY64" fmla="*/ 1102250 h 4205206"/>
              <a:gd name="connsiteX65" fmla="*/ 162652 w 4570769"/>
              <a:gd name="connsiteY65" fmla="*/ 1070188 h 4205206"/>
              <a:gd name="connsiteX66" fmla="*/ 178046 w 4570769"/>
              <a:gd name="connsiteY66" fmla="*/ 1039118 h 4205206"/>
              <a:gd name="connsiteX67" fmla="*/ 193439 w 4570769"/>
              <a:gd name="connsiteY67" fmla="*/ 1008048 h 4205206"/>
              <a:gd name="connsiteX68" fmla="*/ 209271 w 4570769"/>
              <a:gd name="connsiteY68" fmla="*/ 977693 h 4205206"/>
              <a:gd name="connsiteX69" fmla="*/ 224825 w 4570769"/>
              <a:gd name="connsiteY69" fmla="*/ 948491 h 4205206"/>
              <a:gd name="connsiteX70" fmla="*/ 241372 w 4570769"/>
              <a:gd name="connsiteY70" fmla="*/ 917698 h 4205206"/>
              <a:gd name="connsiteX71" fmla="*/ 259948 w 4570769"/>
              <a:gd name="connsiteY71" fmla="*/ 888612 h 4205206"/>
              <a:gd name="connsiteX72" fmla="*/ 276933 w 4570769"/>
              <a:gd name="connsiteY72" fmla="*/ 858534 h 4205206"/>
              <a:gd name="connsiteX73" fmla="*/ 295948 w 4570769"/>
              <a:gd name="connsiteY73" fmla="*/ 830164 h 4205206"/>
              <a:gd name="connsiteX74" fmla="*/ 313809 w 4570769"/>
              <a:gd name="connsiteY74" fmla="*/ 801516 h 4205206"/>
              <a:gd name="connsiteX75" fmla="*/ 333977 w 4570769"/>
              <a:gd name="connsiteY75" fmla="*/ 773423 h 4205206"/>
              <a:gd name="connsiteX76" fmla="*/ 354145 w 4570769"/>
              <a:gd name="connsiteY76" fmla="*/ 745330 h 4205206"/>
              <a:gd name="connsiteX77" fmla="*/ 374313 w 4570769"/>
              <a:gd name="connsiteY77" fmla="*/ 717236 h 4205206"/>
              <a:gd name="connsiteX78" fmla="*/ 395357 w 4570769"/>
              <a:gd name="connsiteY78" fmla="*/ 690573 h 4205206"/>
              <a:gd name="connsiteX79" fmla="*/ 417555 w 4570769"/>
              <a:gd name="connsiteY79" fmla="*/ 664188 h 4205206"/>
              <a:gd name="connsiteX80" fmla="*/ 439037 w 4570769"/>
              <a:gd name="connsiteY80" fmla="*/ 638240 h 4205206"/>
              <a:gd name="connsiteX81" fmla="*/ 461235 w 4570769"/>
              <a:gd name="connsiteY81" fmla="*/ 611854 h 4205206"/>
              <a:gd name="connsiteX82" fmla="*/ 483871 w 4570769"/>
              <a:gd name="connsiteY82" fmla="*/ 586184 h 4205206"/>
              <a:gd name="connsiteX83" fmla="*/ 506945 w 4570769"/>
              <a:gd name="connsiteY83" fmla="*/ 561228 h 4205206"/>
              <a:gd name="connsiteX84" fmla="*/ 530734 w 4570769"/>
              <a:gd name="connsiteY84" fmla="*/ 535835 h 4205206"/>
              <a:gd name="connsiteX85" fmla="*/ 555399 w 4570769"/>
              <a:gd name="connsiteY85" fmla="*/ 511872 h 4205206"/>
              <a:gd name="connsiteX86" fmla="*/ 580065 w 4570769"/>
              <a:gd name="connsiteY86" fmla="*/ 487908 h 4205206"/>
              <a:gd name="connsiteX87" fmla="*/ 605168 w 4570769"/>
              <a:gd name="connsiteY87" fmla="*/ 464661 h 4205206"/>
              <a:gd name="connsiteX88" fmla="*/ 629995 w 4570769"/>
              <a:gd name="connsiteY88" fmla="*/ 442566 h 4205206"/>
              <a:gd name="connsiteX89" fmla="*/ 655537 w 4570769"/>
              <a:gd name="connsiteY89" fmla="*/ 420033 h 4205206"/>
              <a:gd name="connsiteX90" fmla="*/ 682232 w 4570769"/>
              <a:gd name="connsiteY90" fmla="*/ 397778 h 4205206"/>
              <a:gd name="connsiteX91" fmla="*/ 708212 w 4570769"/>
              <a:gd name="connsiteY91" fmla="*/ 375960 h 4205206"/>
              <a:gd name="connsiteX92" fmla="*/ 735783 w 4570769"/>
              <a:gd name="connsiteY92" fmla="*/ 355135 h 4205206"/>
              <a:gd name="connsiteX93" fmla="*/ 763355 w 4570769"/>
              <a:gd name="connsiteY93" fmla="*/ 334310 h 4205206"/>
              <a:gd name="connsiteX94" fmla="*/ 791802 w 4570769"/>
              <a:gd name="connsiteY94" fmla="*/ 314915 h 4205206"/>
              <a:gd name="connsiteX95" fmla="*/ 819096 w 4570769"/>
              <a:gd name="connsiteY95" fmla="*/ 295244 h 4205206"/>
              <a:gd name="connsiteX96" fmla="*/ 847982 w 4570769"/>
              <a:gd name="connsiteY96" fmla="*/ 276564 h 4205206"/>
              <a:gd name="connsiteX97" fmla="*/ 876868 w 4570769"/>
              <a:gd name="connsiteY97" fmla="*/ 257885 h 4205206"/>
              <a:gd name="connsiteX98" fmla="*/ 905915 w 4570769"/>
              <a:gd name="connsiteY98" fmla="*/ 241074 h 4205206"/>
              <a:gd name="connsiteX99" fmla="*/ 935239 w 4570769"/>
              <a:gd name="connsiteY99" fmla="*/ 223110 h 4205206"/>
              <a:gd name="connsiteX100" fmla="*/ 964724 w 4570769"/>
              <a:gd name="connsiteY100" fmla="*/ 207014 h 4205206"/>
              <a:gd name="connsiteX101" fmla="*/ 994925 w 4570769"/>
              <a:gd name="connsiteY101" fmla="*/ 190480 h 4205206"/>
              <a:gd name="connsiteX102" fmla="*/ 1026001 w 4570769"/>
              <a:gd name="connsiteY102" fmla="*/ 175377 h 4205206"/>
              <a:gd name="connsiteX103" fmla="*/ 1056363 w 4570769"/>
              <a:gd name="connsiteY103" fmla="*/ 160712 h 4205206"/>
              <a:gd name="connsiteX104" fmla="*/ 1087440 w 4570769"/>
              <a:gd name="connsiteY104" fmla="*/ 145608 h 4205206"/>
              <a:gd name="connsiteX105" fmla="*/ 1119116 w 4570769"/>
              <a:gd name="connsiteY105" fmla="*/ 133089 h 4205206"/>
              <a:gd name="connsiteX106" fmla="*/ 1151068 w 4570769"/>
              <a:gd name="connsiteY106" fmla="*/ 119416 h 4205206"/>
              <a:gd name="connsiteX107" fmla="*/ 1182744 w 4570769"/>
              <a:gd name="connsiteY107" fmla="*/ 106896 h 4205206"/>
              <a:gd name="connsiteX108" fmla="*/ 1214143 w 4570769"/>
              <a:gd name="connsiteY108" fmla="*/ 95530 h 4205206"/>
              <a:gd name="connsiteX109" fmla="*/ 1246695 w 4570769"/>
              <a:gd name="connsiteY109" fmla="*/ 84441 h 4205206"/>
              <a:gd name="connsiteX110" fmla="*/ 1279248 w 4570769"/>
              <a:gd name="connsiteY110" fmla="*/ 73352 h 4205206"/>
              <a:gd name="connsiteX111" fmla="*/ 1312676 w 4570769"/>
              <a:gd name="connsiteY111" fmla="*/ 63693 h 4205206"/>
              <a:gd name="connsiteX112" fmla="*/ 1345828 w 4570769"/>
              <a:gd name="connsiteY112" fmla="*/ 55188 h 4205206"/>
              <a:gd name="connsiteX113" fmla="*/ 1378541 w 4570769"/>
              <a:gd name="connsiteY113" fmla="*/ 45967 h 4205206"/>
              <a:gd name="connsiteX114" fmla="*/ 1412130 w 4570769"/>
              <a:gd name="connsiteY114" fmla="*/ 38177 h 4205206"/>
              <a:gd name="connsiteX115" fmla="*/ 1446596 w 4570769"/>
              <a:gd name="connsiteY115" fmla="*/ 31817 h 4205206"/>
              <a:gd name="connsiteX116" fmla="*/ 1479909 w 4570769"/>
              <a:gd name="connsiteY116" fmla="*/ 25181 h 4205206"/>
              <a:gd name="connsiteX117" fmla="*/ 1513660 w 4570769"/>
              <a:gd name="connsiteY117" fmla="*/ 19259 h 4205206"/>
              <a:gd name="connsiteX118" fmla="*/ 1548287 w 4570769"/>
              <a:gd name="connsiteY118" fmla="*/ 14768 h 4205206"/>
              <a:gd name="connsiteX119" fmla="*/ 1582914 w 4570769"/>
              <a:gd name="connsiteY119" fmla="*/ 10277 h 4205206"/>
              <a:gd name="connsiteX120" fmla="*/ 1624738 w 4570769"/>
              <a:gd name="connsiteY120" fmla="*/ 6295 h 4205206"/>
              <a:gd name="connsiteX121" fmla="*/ 1665132 w 4570769"/>
              <a:gd name="connsiteY121" fmla="*/ 3189 h 4205206"/>
              <a:gd name="connsiteX122" fmla="*/ 1705687 w 4570769"/>
              <a:gd name="connsiteY122" fmla="*/ 1952 h 4205206"/>
              <a:gd name="connsiteX123" fmla="*/ 1745803 w 4570769"/>
              <a:gd name="connsiteY123" fmla="*/ 0 h 420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570769" h="4205206">
                <a:moveTo>
                  <a:pt x="1745803" y="0"/>
                </a:moveTo>
                <a:lnTo>
                  <a:pt x="1785804" y="1070"/>
                </a:lnTo>
                <a:lnTo>
                  <a:pt x="1824652" y="1862"/>
                </a:lnTo>
                <a:lnTo>
                  <a:pt x="1863937" y="3370"/>
                </a:lnTo>
                <a:lnTo>
                  <a:pt x="1903384" y="6747"/>
                </a:lnTo>
                <a:lnTo>
                  <a:pt x="1941677" y="9846"/>
                </a:lnTo>
                <a:lnTo>
                  <a:pt x="1980847" y="14376"/>
                </a:lnTo>
                <a:lnTo>
                  <a:pt x="2018863" y="18628"/>
                </a:lnTo>
                <a:lnTo>
                  <a:pt x="2057040" y="24750"/>
                </a:lnTo>
                <a:lnTo>
                  <a:pt x="2095218" y="30871"/>
                </a:lnTo>
                <a:lnTo>
                  <a:pt x="2132680" y="37430"/>
                </a:lnTo>
                <a:lnTo>
                  <a:pt x="2171018" y="45420"/>
                </a:lnTo>
                <a:lnTo>
                  <a:pt x="2207926" y="54286"/>
                </a:lnTo>
                <a:lnTo>
                  <a:pt x="2283172" y="71142"/>
                </a:lnTo>
                <a:lnTo>
                  <a:pt x="2357150" y="90743"/>
                </a:lnTo>
                <a:lnTo>
                  <a:pt x="2430850" y="111498"/>
                </a:lnTo>
                <a:lnTo>
                  <a:pt x="2504710" y="134121"/>
                </a:lnTo>
                <a:lnTo>
                  <a:pt x="2577856" y="157182"/>
                </a:lnTo>
                <a:lnTo>
                  <a:pt x="2651440" y="180958"/>
                </a:lnTo>
                <a:lnTo>
                  <a:pt x="2797893" y="228949"/>
                </a:lnTo>
                <a:lnTo>
                  <a:pt x="4570769" y="819920"/>
                </a:lnTo>
                <a:lnTo>
                  <a:pt x="4570769" y="4205206"/>
                </a:lnTo>
                <a:lnTo>
                  <a:pt x="1143839" y="4205206"/>
                </a:lnTo>
                <a:lnTo>
                  <a:pt x="269883" y="2777014"/>
                </a:lnTo>
                <a:lnTo>
                  <a:pt x="247099" y="2739822"/>
                </a:lnTo>
                <a:lnTo>
                  <a:pt x="225745" y="2701755"/>
                </a:lnTo>
                <a:lnTo>
                  <a:pt x="204669" y="2662533"/>
                </a:lnTo>
                <a:lnTo>
                  <a:pt x="185461" y="2623151"/>
                </a:lnTo>
                <a:lnTo>
                  <a:pt x="166691" y="2584484"/>
                </a:lnTo>
                <a:lnTo>
                  <a:pt x="149191" y="2543072"/>
                </a:lnTo>
                <a:lnTo>
                  <a:pt x="132129" y="2502375"/>
                </a:lnTo>
                <a:lnTo>
                  <a:pt x="116220" y="2461956"/>
                </a:lnTo>
                <a:lnTo>
                  <a:pt x="100588" y="2420383"/>
                </a:lnTo>
                <a:lnTo>
                  <a:pt x="86825" y="2378649"/>
                </a:lnTo>
                <a:lnTo>
                  <a:pt x="74493" y="2336038"/>
                </a:lnTo>
                <a:lnTo>
                  <a:pt x="62598" y="2294143"/>
                </a:lnTo>
                <a:lnTo>
                  <a:pt x="51419" y="2251810"/>
                </a:lnTo>
                <a:lnTo>
                  <a:pt x="41232" y="2207885"/>
                </a:lnTo>
                <a:lnTo>
                  <a:pt x="32198" y="2164237"/>
                </a:lnTo>
                <a:lnTo>
                  <a:pt x="25033" y="2120428"/>
                </a:lnTo>
                <a:lnTo>
                  <a:pt x="17868" y="2076619"/>
                </a:lnTo>
                <a:lnTo>
                  <a:pt x="12133" y="2031934"/>
                </a:lnTo>
                <a:lnTo>
                  <a:pt x="7552" y="1987526"/>
                </a:lnTo>
                <a:lnTo>
                  <a:pt x="4839" y="1942957"/>
                </a:lnTo>
                <a:lnTo>
                  <a:pt x="1689" y="1897672"/>
                </a:lnTo>
                <a:lnTo>
                  <a:pt x="844" y="1852942"/>
                </a:lnTo>
                <a:lnTo>
                  <a:pt x="0" y="1808212"/>
                </a:lnTo>
                <a:lnTo>
                  <a:pt x="1302" y="1762167"/>
                </a:lnTo>
                <a:lnTo>
                  <a:pt x="3757" y="1716399"/>
                </a:lnTo>
                <a:lnTo>
                  <a:pt x="6650" y="1671347"/>
                </a:lnTo>
                <a:lnTo>
                  <a:pt x="10974" y="1625418"/>
                </a:lnTo>
                <a:lnTo>
                  <a:pt x="17166" y="1579328"/>
                </a:lnTo>
                <a:lnTo>
                  <a:pt x="24073" y="1532800"/>
                </a:lnTo>
                <a:lnTo>
                  <a:pt x="30704" y="1487426"/>
                </a:lnTo>
                <a:lnTo>
                  <a:pt x="40633" y="1441014"/>
                </a:lnTo>
                <a:lnTo>
                  <a:pt x="51001" y="1395317"/>
                </a:lnTo>
                <a:lnTo>
                  <a:pt x="60189" y="1362146"/>
                </a:lnTo>
                <a:lnTo>
                  <a:pt x="68939" y="1328260"/>
                </a:lnTo>
                <a:lnTo>
                  <a:pt x="78127" y="1295089"/>
                </a:lnTo>
                <a:lnTo>
                  <a:pt x="88907" y="1262911"/>
                </a:lnTo>
                <a:lnTo>
                  <a:pt x="99964" y="1229579"/>
                </a:lnTo>
                <a:lnTo>
                  <a:pt x="111182" y="1198116"/>
                </a:lnTo>
                <a:lnTo>
                  <a:pt x="123393" y="1165061"/>
                </a:lnTo>
                <a:lnTo>
                  <a:pt x="136479" y="1133437"/>
                </a:lnTo>
                <a:lnTo>
                  <a:pt x="148851" y="1102250"/>
                </a:lnTo>
                <a:lnTo>
                  <a:pt x="162652" y="1070188"/>
                </a:lnTo>
                <a:lnTo>
                  <a:pt x="178046" y="1039118"/>
                </a:lnTo>
                <a:lnTo>
                  <a:pt x="193439" y="1008048"/>
                </a:lnTo>
                <a:lnTo>
                  <a:pt x="209271" y="977693"/>
                </a:lnTo>
                <a:lnTo>
                  <a:pt x="224825" y="948491"/>
                </a:lnTo>
                <a:lnTo>
                  <a:pt x="241372" y="917698"/>
                </a:lnTo>
                <a:lnTo>
                  <a:pt x="259948" y="888612"/>
                </a:lnTo>
                <a:lnTo>
                  <a:pt x="276933" y="858534"/>
                </a:lnTo>
                <a:lnTo>
                  <a:pt x="295948" y="830164"/>
                </a:lnTo>
                <a:lnTo>
                  <a:pt x="313809" y="801516"/>
                </a:lnTo>
                <a:lnTo>
                  <a:pt x="333977" y="773423"/>
                </a:lnTo>
                <a:lnTo>
                  <a:pt x="354145" y="745330"/>
                </a:lnTo>
                <a:lnTo>
                  <a:pt x="374313" y="717236"/>
                </a:lnTo>
                <a:lnTo>
                  <a:pt x="395357" y="690573"/>
                </a:lnTo>
                <a:lnTo>
                  <a:pt x="417555" y="664188"/>
                </a:lnTo>
                <a:lnTo>
                  <a:pt x="439037" y="638240"/>
                </a:lnTo>
                <a:lnTo>
                  <a:pt x="461235" y="611854"/>
                </a:lnTo>
                <a:lnTo>
                  <a:pt x="483871" y="586184"/>
                </a:lnTo>
                <a:lnTo>
                  <a:pt x="506945" y="561228"/>
                </a:lnTo>
                <a:lnTo>
                  <a:pt x="530734" y="535835"/>
                </a:lnTo>
                <a:lnTo>
                  <a:pt x="555399" y="511872"/>
                </a:lnTo>
                <a:lnTo>
                  <a:pt x="580065" y="487908"/>
                </a:lnTo>
                <a:lnTo>
                  <a:pt x="605168" y="464661"/>
                </a:lnTo>
                <a:lnTo>
                  <a:pt x="629995" y="442566"/>
                </a:lnTo>
                <a:lnTo>
                  <a:pt x="655537" y="420033"/>
                </a:lnTo>
                <a:lnTo>
                  <a:pt x="682232" y="397778"/>
                </a:lnTo>
                <a:lnTo>
                  <a:pt x="708212" y="375960"/>
                </a:lnTo>
                <a:lnTo>
                  <a:pt x="735783" y="355135"/>
                </a:lnTo>
                <a:lnTo>
                  <a:pt x="763355" y="334310"/>
                </a:lnTo>
                <a:lnTo>
                  <a:pt x="791802" y="314915"/>
                </a:lnTo>
                <a:lnTo>
                  <a:pt x="819096" y="295244"/>
                </a:lnTo>
                <a:lnTo>
                  <a:pt x="847982" y="276564"/>
                </a:lnTo>
                <a:lnTo>
                  <a:pt x="876868" y="257885"/>
                </a:lnTo>
                <a:lnTo>
                  <a:pt x="905915" y="241074"/>
                </a:lnTo>
                <a:lnTo>
                  <a:pt x="935239" y="223110"/>
                </a:lnTo>
                <a:lnTo>
                  <a:pt x="964724" y="207014"/>
                </a:lnTo>
                <a:lnTo>
                  <a:pt x="994925" y="190480"/>
                </a:lnTo>
                <a:lnTo>
                  <a:pt x="1026001" y="175377"/>
                </a:lnTo>
                <a:lnTo>
                  <a:pt x="1056363" y="160712"/>
                </a:lnTo>
                <a:lnTo>
                  <a:pt x="1087440" y="145608"/>
                </a:lnTo>
                <a:lnTo>
                  <a:pt x="1119116" y="133089"/>
                </a:lnTo>
                <a:lnTo>
                  <a:pt x="1151068" y="119416"/>
                </a:lnTo>
                <a:lnTo>
                  <a:pt x="1182744" y="106896"/>
                </a:lnTo>
                <a:lnTo>
                  <a:pt x="1214143" y="95530"/>
                </a:lnTo>
                <a:lnTo>
                  <a:pt x="1246695" y="84441"/>
                </a:lnTo>
                <a:lnTo>
                  <a:pt x="1279248" y="73352"/>
                </a:lnTo>
                <a:lnTo>
                  <a:pt x="1312676" y="63693"/>
                </a:lnTo>
                <a:lnTo>
                  <a:pt x="1345828" y="55188"/>
                </a:lnTo>
                <a:lnTo>
                  <a:pt x="1378541" y="45967"/>
                </a:lnTo>
                <a:lnTo>
                  <a:pt x="1412130" y="38177"/>
                </a:lnTo>
                <a:lnTo>
                  <a:pt x="1446596" y="31817"/>
                </a:lnTo>
                <a:lnTo>
                  <a:pt x="1479909" y="25181"/>
                </a:lnTo>
                <a:lnTo>
                  <a:pt x="1513660" y="19259"/>
                </a:lnTo>
                <a:lnTo>
                  <a:pt x="1548287" y="14768"/>
                </a:lnTo>
                <a:lnTo>
                  <a:pt x="1582914" y="10277"/>
                </a:lnTo>
                <a:lnTo>
                  <a:pt x="1624738" y="6295"/>
                </a:lnTo>
                <a:lnTo>
                  <a:pt x="1665132" y="3189"/>
                </a:lnTo>
                <a:lnTo>
                  <a:pt x="1705687" y="1952"/>
                </a:lnTo>
                <a:lnTo>
                  <a:pt x="174580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25E0E32A-F106-F048-88D4-0509F5B5F353}"/>
              </a:ext>
            </a:extLst>
          </p:cNvPr>
          <p:cNvSpPr>
            <a:spLocks noGrp="1"/>
          </p:cNvSpPr>
          <p:nvPr>
            <p:ph type="title" hasCustomPrompt="1"/>
          </p:nvPr>
        </p:nvSpPr>
        <p:spPr>
          <a:xfrm>
            <a:off x="7211211" y="4204009"/>
            <a:ext cx="4506366" cy="860105"/>
          </a:xfrm>
          <a:prstGeom prst="rect">
            <a:avLst/>
          </a:prstGeom>
        </p:spPr>
        <p:txBody>
          <a:bodyPr anchor="b">
            <a:normAutofit/>
          </a:bodyPr>
          <a:lstStyle>
            <a:lvl1pPr algn="r">
              <a:defRPr sz="5600" b="0" i="0">
                <a:solidFill>
                  <a:srgbClr val="005EB8"/>
                </a:solidFill>
                <a:latin typeface="Gibson Light" panose="02000000000000000000" pitchFamily="2" charset="77"/>
                <a:ea typeface="Malgun Gothic Semilight" panose="020B0503020000020004" pitchFamily="34" charset="-127"/>
              </a:defRPr>
            </a:lvl1pPr>
          </a:lstStyle>
          <a:p>
            <a:r>
              <a:rPr lang="en-US"/>
              <a:t>Thank you</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3r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9" name="Text Placeholder 4">
            <a:extLst>
              <a:ext uri="{FF2B5EF4-FFF2-40B4-BE49-F238E27FC236}">
                <a16:creationId xmlns:a16="http://schemas.microsoft.com/office/drawing/2014/main" id="{555A55AF-823F-AE4B-968D-D0E9E3BD693F}"/>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4th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cxnSp>
        <p:nvCxnSpPr>
          <p:cNvPr id="19" name="Straight Connector 18">
            <a:extLst>
              <a:ext uri="{FF2B5EF4-FFF2-40B4-BE49-F238E27FC236}">
                <a16:creationId xmlns:a16="http://schemas.microsoft.com/office/drawing/2014/main" id="{716DB868-C384-2F41-818B-81375F7B364C}"/>
              </a:ext>
            </a:extLst>
          </p:cNvPr>
          <p:cNvCxnSpPr/>
          <p:nvPr userDrawn="1"/>
        </p:nvCxnSpPr>
        <p:spPr>
          <a:xfrm>
            <a:off x="9241971" y="5705195"/>
            <a:ext cx="2326139"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512546" y="5842556"/>
            <a:ext cx="3161516" cy="579469"/>
          </a:xfrm>
          <a:prstGeom prst="rect">
            <a:avLst/>
          </a:prstGeom>
        </p:spPr>
        <p:txBody>
          <a:bodyPr>
            <a:noAutofit/>
          </a:bodyPr>
          <a:lstStyle>
            <a:lvl1pPr marL="0" indent="0" algn="r">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10" name="Picture 9">
            <a:extLst>
              <a:ext uri="{FF2B5EF4-FFF2-40B4-BE49-F238E27FC236}">
                <a16:creationId xmlns:a16="http://schemas.microsoft.com/office/drawing/2014/main" id="{8A1E63B7-01B0-5B40-A891-874F247105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62805" y="416289"/>
            <a:ext cx="2105308" cy="385073"/>
          </a:xfrm>
          <a:prstGeom prst="rect">
            <a:avLst/>
          </a:prstGeom>
        </p:spPr>
      </p:pic>
      <p:pic>
        <p:nvPicPr>
          <p:cNvPr id="30" name="Picture 29">
            <a:extLst>
              <a:ext uri="{FF2B5EF4-FFF2-40B4-BE49-F238E27FC236}">
                <a16:creationId xmlns:a16="http://schemas.microsoft.com/office/drawing/2014/main" id="{E134701C-B683-5A41-97C1-6A5A5944138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2677060" y="405167"/>
            <a:ext cx="2127533" cy="404949"/>
          </a:xfrm>
          <a:prstGeom prst="rect">
            <a:avLst/>
          </a:prstGeom>
        </p:spPr>
      </p:pic>
    </p:spTree>
    <p:extLst>
      <p:ext uri="{BB962C8B-B14F-4D97-AF65-F5344CB8AC3E}">
        <p14:creationId xmlns:p14="http://schemas.microsoft.com/office/powerpoint/2010/main" val="1019318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4</a:t>
            </a:r>
          </a:p>
        </p:txBody>
      </p:sp>
      <p:sp>
        <p:nvSpPr>
          <p:cNvPr id="23" name="Title 1"/>
          <p:cNvSpPr>
            <a:spLocks noGrp="1"/>
          </p:cNvSpPr>
          <p:nvPr>
            <p:ph type="title"/>
          </p:nvPr>
        </p:nvSpPr>
        <p:spPr>
          <a:xfrm>
            <a:off x="622938" y="188913"/>
            <a:ext cx="1093741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4" name="Text Placeholder 19"/>
          <p:cNvSpPr>
            <a:spLocks noGrp="1"/>
          </p:cNvSpPr>
          <p:nvPr>
            <p:ph type="body" sz="quarter" idx="13"/>
          </p:nvPr>
        </p:nvSpPr>
        <p:spPr>
          <a:xfrm>
            <a:off x="622249" y="779413"/>
            <a:ext cx="10913500" cy="353817"/>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95093050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8"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Text Placeholder 4"/>
          <p:cNvSpPr>
            <a:spLocks noGrp="1"/>
          </p:cNvSpPr>
          <p:nvPr>
            <p:ph type="body" sz="quarter" idx="16"/>
          </p:nvPr>
        </p:nvSpPr>
        <p:spPr>
          <a:xfrm>
            <a:off x="6050087" y="3143854"/>
            <a:ext cx="5717599" cy="201873"/>
          </a:xfrm>
          <a:prstGeom prst="rect">
            <a:avLst/>
          </a:prstGeom>
        </p:spPr>
        <p:txBody>
          <a:bodyPr>
            <a:noAutofit/>
          </a:bodyPr>
          <a:lstStyle>
            <a:lvl1pPr marL="0" indent="0">
              <a:buNone/>
              <a:defRPr sz="900" i="0">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4" name="Text Placeholder 4"/>
          <p:cNvSpPr>
            <a:spLocks noGrp="1"/>
          </p:cNvSpPr>
          <p:nvPr>
            <p:ph type="body" sz="quarter" idx="17"/>
          </p:nvPr>
        </p:nvSpPr>
        <p:spPr>
          <a:xfrm>
            <a:off x="6031612" y="6106870"/>
            <a:ext cx="5728085" cy="201873"/>
          </a:xfrm>
          <a:prstGeom prst="rect">
            <a:avLst/>
          </a:prstGeom>
        </p:spPr>
        <p:txBody>
          <a:bodyPr>
            <a:noAutofit/>
          </a:bodyPr>
          <a:lstStyle>
            <a:lvl1pPr marL="0" indent="0">
              <a:buNone/>
              <a:defRPr sz="900" i="0">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3" name="Marcador de texto 2"/>
          <p:cNvSpPr>
            <a:spLocks noGrp="1"/>
          </p:cNvSpPr>
          <p:nvPr>
            <p:ph type="body" sz="quarter" idx="19" hasCustomPrompt="1"/>
          </p:nvPr>
        </p:nvSpPr>
        <p:spPr>
          <a:xfrm>
            <a:off x="315498" y="1244600"/>
            <a:ext cx="5593413" cy="5064138"/>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
                <a:srgbClr val="00A9E0"/>
              </a:buClr>
              <a:buSzPct val="80000"/>
              <a:buFont typeface="Calibri" panose="020F0502020204030204" pitchFamily="34" charset="0"/>
              <a:buChar char="_"/>
              <a:tabLst/>
              <a:defRPr sz="1600"/>
            </a:lvl1pPr>
            <a:lvl2pPr marL="6858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2pPr>
            <a:lvl3pPr marL="11430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3pPr>
            <a:lvl4pPr marL="16002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4pPr>
            <a:lvl5pPr marL="20574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5pPr>
          </a:lstStyle>
          <a:p>
            <a:pPr marL="228600" marR="0" lvl="0" indent="-228600" algn="l" defTabSz="914400" rtl="0" eaLnBrk="1" fontAlgn="auto" latinLnBrk="0" hangingPunct="1">
              <a:lnSpc>
                <a:spcPct val="90000"/>
              </a:lnSpc>
              <a:spcBef>
                <a:spcPts val="1000"/>
              </a:spcBef>
              <a:spcAft>
                <a:spcPts val="0"/>
              </a:spcAft>
              <a:buClr>
                <a:srgbClr val="00A9E0"/>
              </a:buClr>
              <a:buSzPct val="80000"/>
              <a:buFont typeface="Calibri" panose="020F0502020204030204" pitchFamily="34" charset="0"/>
              <a:buChar char="_"/>
              <a:tabLst/>
              <a:defRPr/>
            </a:pPr>
            <a:r>
              <a:rPr kumimoji="0" lang="en-GB" sz="1600" b="0" i="0" u="none" strike="noStrike" kern="1200" cap="none" spc="0" normalizeH="0" baseline="0" noProof="0">
                <a:ln>
                  <a:noFill/>
                </a:ln>
                <a:solidFill>
                  <a:srgbClr val="FFFFFF">
                    <a:lumMod val="50000"/>
                  </a:srgbClr>
                </a:solidFill>
                <a:effectLst/>
                <a:uLnTx/>
                <a:uFillTx/>
                <a:latin typeface="+mj-lt"/>
                <a:ea typeface="+mn-ea"/>
                <a:cs typeface="+mn-cs"/>
              </a:rPr>
              <a:t>Bullet level 1</a:t>
            </a:r>
          </a:p>
          <a:p>
            <a:pPr marL="685800" marR="0" lvl="1"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400" b="0" i="0" u="none" strike="noStrike" kern="1200" cap="none" spc="0" normalizeH="0" baseline="0" noProof="0">
                <a:ln>
                  <a:noFill/>
                </a:ln>
                <a:solidFill>
                  <a:srgbClr val="FFFFFF">
                    <a:lumMod val="50000"/>
                  </a:srgbClr>
                </a:solidFill>
                <a:effectLst/>
                <a:uLnTx/>
                <a:uFillTx/>
                <a:latin typeface="+mj-lt"/>
                <a:ea typeface="+mn-ea"/>
                <a:cs typeface="+mn-cs"/>
              </a:rPr>
              <a:t>Bullet level 2</a:t>
            </a:r>
          </a:p>
          <a:p>
            <a:pPr marL="1143000" marR="0" lvl="2"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200" b="0" i="0" u="none" strike="noStrike" kern="1200" cap="none" spc="0" normalizeH="0" baseline="0" noProof="0">
                <a:ln>
                  <a:noFill/>
                </a:ln>
                <a:solidFill>
                  <a:srgbClr val="FFFFFF">
                    <a:lumMod val="50000"/>
                  </a:srgbClr>
                </a:solidFill>
                <a:effectLst/>
                <a:uLnTx/>
                <a:uFillTx/>
                <a:latin typeface="+mj-lt"/>
                <a:ea typeface="+mn-ea"/>
                <a:cs typeface="+mn-cs"/>
              </a:rPr>
              <a:t>Bullet level 3	</a:t>
            </a:r>
          </a:p>
          <a:p>
            <a:pPr marL="1600200" marR="0" lvl="3"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100" b="0" i="0" u="none" strike="noStrike" kern="1200" cap="none" spc="0" normalizeH="0" baseline="0" noProof="0">
                <a:ln>
                  <a:noFill/>
                </a:ln>
                <a:solidFill>
                  <a:srgbClr val="FFFFFF">
                    <a:lumMod val="50000"/>
                  </a:srgbClr>
                </a:solidFill>
                <a:effectLst/>
                <a:uLnTx/>
                <a:uFillTx/>
                <a:latin typeface="+mj-lt"/>
                <a:ea typeface="+mn-ea"/>
                <a:cs typeface="+mn-cs"/>
              </a:rPr>
              <a:t>Bullet level 4</a:t>
            </a:r>
          </a:p>
          <a:p>
            <a:pPr marL="2057400" marR="0" lvl="4"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100" b="0" i="0" u="none" strike="noStrike" kern="1200" cap="none" spc="0" normalizeH="0" baseline="0" noProof="0">
                <a:ln>
                  <a:noFill/>
                </a:ln>
                <a:solidFill>
                  <a:srgbClr val="FFFFFF">
                    <a:lumMod val="50000"/>
                  </a:srgbClr>
                </a:solidFill>
                <a:effectLst/>
                <a:uLnTx/>
                <a:uFillTx/>
                <a:latin typeface="+mj-lt"/>
                <a:ea typeface="+mn-ea"/>
                <a:cs typeface="+mn-cs"/>
              </a:rPr>
              <a:t>Bullet level 5</a:t>
            </a:r>
          </a:p>
        </p:txBody>
      </p:sp>
      <p:sp>
        <p:nvSpPr>
          <p:cNvPr id="22" name="Picture Placeholder 2"/>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25"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pPr/>
              <a:t>‹#›</a:t>
            </a:fld>
            <a:endParaRPr lang="es-ES"/>
          </a:p>
        </p:txBody>
      </p:sp>
      <p:sp>
        <p:nvSpPr>
          <p:cNvPr id="16" name="Title 1"/>
          <p:cNvSpPr>
            <a:spLocks noGrp="1"/>
          </p:cNvSpPr>
          <p:nvPr>
            <p:ph type="title"/>
          </p:nvPr>
        </p:nvSpPr>
        <p:spPr>
          <a:xfrm>
            <a:off x="268228" y="296869"/>
            <a:ext cx="5628609" cy="482549"/>
          </a:xfrm>
          <a:prstGeom prst="rect">
            <a:avLst/>
          </a:prstGeom>
        </p:spPr>
        <p:txBody>
          <a:bodyPr anchor="t">
            <a:noAutofit/>
          </a:bodyPr>
          <a:lstStyle>
            <a:lvl1pPr>
              <a:defRPr sz="3200">
                <a:solidFill>
                  <a:schemeClr val="tx2"/>
                </a:solidFill>
                <a:latin typeface="+mj-lt"/>
              </a:defRPr>
            </a:lvl1pPr>
          </a:lstStyle>
          <a:p>
            <a:r>
              <a:rPr lang="de-DE" noProof="0"/>
              <a:t>Titelmasterformat durch Klicken bearbeiten</a:t>
            </a:r>
            <a:endParaRPr lang="en-GB" noProof="0"/>
          </a:p>
        </p:txBody>
      </p:sp>
      <p:sp>
        <p:nvSpPr>
          <p:cNvPr id="18" name="Text Placeholder 19"/>
          <p:cNvSpPr>
            <a:spLocks noGrp="1"/>
          </p:cNvSpPr>
          <p:nvPr>
            <p:ph type="body" sz="quarter" idx="13"/>
          </p:nvPr>
        </p:nvSpPr>
        <p:spPr>
          <a:xfrm>
            <a:off x="292608" y="779416"/>
            <a:ext cx="5616304"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Formatvorlagen des Textmasters bearbeiten</a:t>
            </a:r>
          </a:p>
        </p:txBody>
      </p:sp>
    </p:spTree>
    <p:extLst>
      <p:ext uri="{BB962C8B-B14F-4D97-AF65-F5344CB8AC3E}">
        <p14:creationId xmlns:p14="http://schemas.microsoft.com/office/powerpoint/2010/main" val="142867015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Instructions">
    <p:spTree>
      <p:nvGrpSpPr>
        <p:cNvPr id="1" name=""/>
        <p:cNvGrpSpPr/>
        <p:nvPr/>
      </p:nvGrpSpPr>
      <p:grpSpPr>
        <a:xfrm>
          <a:off x="0" y="0"/>
          <a:ext cx="0" cy="0"/>
          <a:chOff x="0" y="0"/>
          <a:chExt cx="0" cy="0"/>
        </a:xfrm>
      </p:grpSpPr>
      <p:sp>
        <p:nvSpPr>
          <p:cNvPr id="3" name="Rectángulo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6" name="Marcador de texto 5"/>
          <p:cNvSpPr>
            <a:spLocks noGrp="1"/>
          </p:cNvSpPr>
          <p:nvPr>
            <p:ph type="body" sz="quarter" idx="11"/>
          </p:nvPr>
        </p:nvSpPr>
        <p:spPr>
          <a:xfrm>
            <a:off x="292134" y="1261964"/>
            <a:ext cx="11252793" cy="5050703"/>
          </a:xfrm>
          <a:prstGeom prst="rect">
            <a:avLst/>
          </a:prstGeom>
        </p:spPr>
        <p:txBody>
          <a:bodyPr>
            <a:noAutofit/>
          </a:bodyPr>
          <a:lstStyle>
            <a:lvl1pPr>
              <a:lnSpc>
                <a:spcPct val="100000"/>
              </a:lnSpc>
              <a:buClr>
                <a:schemeClr val="accent2"/>
              </a:buClr>
              <a:defRPr sz="1600"/>
            </a:lvl1pPr>
            <a:lvl2pPr>
              <a:lnSpc>
                <a:spcPct val="100000"/>
              </a:lnSpc>
              <a:buClr>
                <a:schemeClr val="accent2"/>
              </a:buClr>
              <a:defRPr sz="1400"/>
            </a:lvl2pPr>
            <a:lvl3pPr>
              <a:lnSpc>
                <a:spcPct val="100000"/>
              </a:lnSpc>
              <a:buClr>
                <a:schemeClr val="accent2"/>
              </a:buClr>
              <a:defRPr sz="1200"/>
            </a:lvl3pPr>
            <a:lvl4pPr>
              <a:lnSpc>
                <a:spcPct val="100000"/>
              </a:lnSpc>
              <a:buClr>
                <a:schemeClr val="accent2"/>
              </a:buClr>
              <a:defRPr sz="1100"/>
            </a:lvl4pPr>
            <a:lvl5pPr>
              <a:lnSpc>
                <a:spcPct val="100000"/>
              </a:lnSpc>
              <a:buClr>
                <a:schemeClr val="accent2"/>
              </a:buClr>
              <a:defRPr sz="1100"/>
            </a:lvl5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7" name="Text Box 12"/>
          <p:cNvSpPr txBox="1">
            <a:spLocks noChangeArrowheads="1"/>
          </p:cNvSpPr>
          <p:nvPr userDrawn="1"/>
        </p:nvSpPr>
        <p:spPr bwMode="auto">
          <a:xfrm>
            <a:off x="12359733" y="5517602"/>
            <a:ext cx="1681163" cy="6232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l" eaLnBrk="1" hangingPunct="1">
              <a:spcBef>
                <a:spcPct val="50000"/>
              </a:spcBef>
              <a:tabLst>
                <a:tab pos="133341" algn="l"/>
              </a:tabLst>
              <a:defRPr/>
            </a:pPr>
            <a:r>
              <a:rPr lang="en-GB" sz="675" b="1">
                <a:solidFill>
                  <a:srgbClr val="7F7F7F"/>
                </a:solidFill>
                <a:latin typeface="+mn-lt"/>
                <a:cs typeface="Arial" pitchFamily="34" charset="0"/>
              </a:rPr>
              <a:t>Change the Year in the Copyright field</a:t>
            </a:r>
            <a:br>
              <a:rPr lang="en-GB" sz="675">
                <a:solidFill>
                  <a:srgbClr val="7F7F7F"/>
                </a:solidFill>
                <a:latin typeface="+mn-lt"/>
                <a:cs typeface="Arial" pitchFamily="34" charset="0"/>
              </a:rPr>
            </a:br>
            <a:r>
              <a:rPr lang="en-GB" sz="675" b="1">
                <a:solidFill>
                  <a:srgbClr val="7F7F7F"/>
                </a:solidFill>
                <a:latin typeface="+mn-lt"/>
                <a:cs typeface="Arial" pitchFamily="34" charset="0"/>
              </a:rPr>
              <a:t>1. </a:t>
            </a:r>
            <a:r>
              <a:rPr lang="en-GB" sz="675" b="0">
                <a:solidFill>
                  <a:srgbClr val="7F7F7F"/>
                </a:solidFill>
                <a:latin typeface="+mn-lt"/>
                <a:cs typeface="Arial" pitchFamily="34" charset="0"/>
              </a:rPr>
              <a:t>Click </a:t>
            </a:r>
            <a:r>
              <a:rPr lang="en-GB" sz="675">
                <a:solidFill>
                  <a:srgbClr val="7F7F7F"/>
                </a:solidFill>
                <a:latin typeface="+mn-lt"/>
                <a:cs typeface="Arial" pitchFamily="34" charset="0"/>
              </a:rPr>
              <a:t>‘Insert’ in Top menu</a:t>
            </a:r>
            <a:br>
              <a:rPr lang="en-GB" sz="675">
                <a:solidFill>
                  <a:srgbClr val="7F7F7F"/>
                </a:solidFill>
                <a:latin typeface="+mn-lt"/>
                <a:cs typeface="Arial" pitchFamily="34" charset="0"/>
              </a:rPr>
            </a:br>
            <a:r>
              <a:rPr lang="en-GB" sz="675" b="1">
                <a:solidFill>
                  <a:srgbClr val="7F7F7F"/>
                </a:solidFill>
                <a:latin typeface="+mn-lt"/>
                <a:cs typeface="Arial" pitchFamily="34" charset="0"/>
              </a:rPr>
              <a:t>2. </a:t>
            </a:r>
            <a:r>
              <a:rPr lang="en-GB" sz="675" b="0">
                <a:solidFill>
                  <a:srgbClr val="7F7F7F"/>
                </a:solidFill>
                <a:latin typeface="+mn-lt"/>
                <a:cs typeface="Arial" pitchFamily="34" charset="0"/>
              </a:rPr>
              <a:t>Click ’Header &amp; Footer’ </a:t>
            </a:r>
            <a:br>
              <a:rPr lang="en-GB" sz="675" b="0">
                <a:solidFill>
                  <a:srgbClr val="7F7F7F"/>
                </a:solidFill>
                <a:latin typeface="+mn-lt"/>
                <a:cs typeface="Arial" pitchFamily="34" charset="0"/>
              </a:rPr>
            </a:br>
            <a:r>
              <a:rPr lang="en-GB" sz="675" b="1">
                <a:solidFill>
                  <a:srgbClr val="7F7F7F"/>
                </a:solidFill>
                <a:latin typeface="+mn-lt"/>
                <a:cs typeface="Arial" pitchFamily="34" charset="0"/>
              </a:rPr>
              <a:t>3. </a:t>
            </a:r>
            <a:r>
              <a:rPr lang="en-GB" sz="675">
                <a:solidFill>
                  <a:srgbClr val="7F7F7F"/>
                </a:solidFill>
                <a:latin typeface="+mn-lt"/>
                <a:cs typeface="Arial" pitchFamily="34" charset="0"/>
              </a:rPr>
              <a:t>Write new Year </a:t>
            </a:r>
            <a:br>
              <a:rPr lang="en-GB" sz="675">
                <a:solidFill>
                  <a:srgbClr val="7F7F7F"/>
                </a:solidFill>
                <a:latin typeface="+mn-lt"/>
                <a:cs typeface="Arial" pitchFamily="34" charset="0"/>
              </a:rPr>
            </a:br>
            <a:r>
              <a:rPr lang="en-GB" sz="675">
                <a:solidFill>
                  <a:srgbClr val="7F7F7F"/>
                </a:solidFill>
                <a:latin typeface="+mn-lt"/>
                <a:cs typeface="Arial" pitchFamily="34" charset="0"/>
              </a:rPr>
              <a:t>	in field ‘Footer’</a:t>
            </a:r>
            <a:br>
              <a:rPr lang="en-GB" sz="675">
                <a:solidFill>
                  <a:srgbClr val="7F7F7F"/>
                </a:solidFill>
                <a:latin typeface="+mn-lt"/>
                <a:cs typeface="Arial" pitchFamily="34" charset="0"/>
              </a:rPr>
            </a:br>
            <a:r>
              <a:rPr lang="en-GB" sz="675" b="1">
                <a:solidFill>
                  <a:srgbClr val="7F7F7F"/>
                </a:solidFill>
                <a:latin typeface="+mn-lt"/>
                <a:cs typeface="Arial" pitchFamily="34" charset="0"/>
              </a:rPr>
              <a:t>4. </a:t>
            </a:r>
            <a:r>
              <a:rPr lang="en-GB" sz="675" b="0">
                <a:solidFill>
                  <a:srgbClr val="7F7F7F"/>
                </a:solidFill>
                <a:latin typeface="+mn-lt"/>
                <a:cs typeface="Arial" pitchFamily="34" charset="0"/>
              </a:rPr>
              <a:t>Click </a:t>
            </a:r>
            <a:r>
              <a:rPr lang="en-GB" sz="675">
                <a:solidFill>
                  <a:srgbClr val="7F7F7F"/>
                </a:solidFill>
                <a:latin typeface="+mn-lt"/>
                <a:cs typeface="Arial" pitchFamily="34" charset="0"/>
              </a:rPr>
              <a:t>‘Apply to All’</a:t>
            </a:r>
          </a:p>
        </p:txBody>
      </p:sp>
      <p:sp>
        <p:nvSpPr>
          <p:cNvPr id="15" name="Title 1"/>
          <p:cNvSpPr>
            <a:spLocks noGrp="1"/>
          </p:cNvSpPr>
          <p:nvPr>
            <p:ph type="title"/>
          </p:nvPr>
        </p:nvSpPr>
        <p:spPr>
          <a:xfrm>
            <a:off x="292608" y="296869"/>
            <a:ext cx="11228832" cy="482549"/>
          </a:xfrm>
          <a:prstGeom prst="rect">
            <a:avLst/>
          </a:prstGeom>
        </p:spPr>
        <p:txBody>
          <a:bodyPr anchor="t">
            <a:noAutofit/>
          </a:bodyPr>
          <a:lstStyle>
            <a:lvl1pPr>
              <a:defRPr sz="3200">
                <a:solidFill>
                  <a:schemeClr val="tx2"/>
                </a:solidFill>
                <a:latin typeface="+mj-lt"/>
              </a:defRPr>
            </a:lvl1pPr>
          </a:lstStyle>
          <a:p>
            <a:r>
              <a:rPr lang="de-DE" noProof="0"/>
              <a:t>Titelmasterformat durch Klicken bearbeiten</a:t>
            </a:r>
            <a:endParaRPr lang="en-GB" noProof="0"/>
          </a:p>
        </p:txBody>
      </p:sp>
      <p:sp>
        <p:nvSpPr>
          <p:cNvPr id="16" name="Text Placeholder 19"/>
          <p:cNvSpPr>
            <a:spLocks noGrp="1"/>
          </p:cNvSpPr>
          <p:nvPr>
            <p:ph type="body" sz="quarter" idx="13"/>
          </p:nvPr>
        </p:nvSpPr>
        <p:spPr>
          <a:xfrm>
            <a:off x="316939" y="779416"/>
            <a:ext cx="11204282"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Formatvorlagen des Textmasters bearbeiten</a:t>
            </a:r>
          </a:p>
        </p:txBody>
      </p:sp>
      <p:sp>
        <p:nvSpPr>
          <p:cNvPr id="41" name="Freeform 5"/>
          <p:cNvSpPr>
            <a:spLocks noEditPoints="1"/>
          </p:cNvSpPr>
          <p:nvPr userDrawn="1"/>
        </p:nvSpPr>
        <p:spPr bwMode="auto">
          <a:xfrm>
            <a:off x="10917164" y="6550036"/>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sz="1800"/>
          </a:p>
        </p:txBody>
      </p:sp>
      <p:sp>
        <p:nvSpPr>
          <p:cNvPr id="10" name="Rechteck 9"/>
          <p:cNvSpPr/>
          <p:nvPr userDrawn="1"/>
        </p:nvSpPr>
        <p:spPr>
          <a:xfrm>
            <a:off x="10917164" y="6488983"/>
            <a:ext cx="742135" cy="204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8">
            <a:extLst>
              <a:ext uri="{FF2B5EF4-FFF2-40B4-BE49-F238E27FC236}">
                <a16:creationId xmlns:a16="http://schemas.microsoft.com/office/drawing/2014/main" id="{99337F1C-A618-450B-BBF3-17F86335D30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841545" y="6308728"/>
            <a:ext cx="1935413" cy="375988"/>
          </a:xfrm>
          <a:prstGeom prst="rect">
            <a:avLst/>
          </a:prstGeom>
        </p:spPr>
      </p:pic>
    </p:spTree>
    <p:extLst>
      <p:ext uri="{BB962C8B-B14F-4D97-AF65-F5344CB8AC3E}">
        <p14:creationId xmlns:p14="http://schemas.microsoft.com/office/powerpoint/2010/main" val="42037022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Subhead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pic>
        <p:nvPicPr>
          <p:cNvPr id="10" name="Picture 2" descr="Visit Dubai">
            <a:extLst>
              <a:ext uri="{FF2B5EF4-FFF2-40B4-BE49-F238E27FC236}">
                <a16:creationId xmlns:a16="http://schemas.microsoft.com/office/drawing/2014/main" id="{C1175576-E494-497A-ABE6-6AA73274C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8170" y="401800"/>
            <a:ext cx="762502" cy="39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9899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Opener Slide Option 3_Full Blee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screen">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775791"/>
            <a:ext cx="5317622"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p:nvPr>
        </p:nvSpPr>
        <p:spPr>
          <a:xfrm>
            <a:off x="534536" y="2189075"/>
            <a:ext cx="4506366"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016033"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449891" cy="579469"/>
          </a:xfrm>
          <a:prstGeom prst="rect">
            <a:avLst/>
          </a:prstGeom>
        </p:spPr>
        <p:txBody>
          <a:bodyPr>
            <a:noAutofit/>
          </a:bodyPr>
          <a:lstStyle>
            <a:lvl1pPr marL="0" indent="0" algn="l">
              <a:buNone/>
              <a:defRPr sz="1200" b="0" i="0">
                <a:solidFill>
                  <a:srgbClr val="787875"/>
                </a:solidFill>
                <a:latin typeface="Gibson Light"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grpSp>
        <p:nvGrpSpPr>
          <p:cNvPr id="3" name="Group 2">
            <a:extLst>
              <a:ext uri="{FF2B5EF4-FFF2-40B4-BE49-F238E27FC236}">
                <a16:creationId xmlns:a16="http://schemas.microsoft.com/office/drawing/2014/main" id="{3D34A089-B9D4-4A22-8C06-431DDFD0BD48}"/>
              </a:ext>
            </a:extLst>
          </p:cNvPr>
          <p:cNvGrpSpPr/>
          <p:nvPr userDrawn="1"/>
        </p:nvGrpSpPr>
        <p:grpSpPr>
          <a:xfrm>
            <a:off x="6918983" y="416228"/>
            <a:ext cx="4671842" cy="390802"/>
            <a:chOff x="6918983" y="416228"/>
            <a:chExt cx="4671842" cy="390802"/>
          </a:xfrm>
        </p:grpSpPr>
        <p:pic>
          <p:nvPicPr>
            <p:cNvPr id="10" name="Picture 9">
              <a:extLst>
                <a:ext uri="{FF2B5EF4-FFF2-40B4-BE49-F238E27FC236}">
                  <a16:creationId xmlns:a16="http://schemas.microsoft.com/office/drawing/2014/main" id="{D7CCCA5E-5722-4641-82FC-E932318016C5}"/>
                </a:ext>
              </a:extLst>
            </p:cNvPr>
            <p:cNvPicPr>
              <a:picLocks noChangeAspect="1"/>
            </p:cNvPicPr>
            <p:nvPr userDrawn="1"/>
          </p:nvPicPr>
          <p:blipFill>
            <a:blip r:embed="rId5"/>
            <a:stretch>
              <a:fillRect/>
            </a:stretch>
          </p:blipFill>
          <p:spPr>
            <a:xfrm>
              <a:off x="6918983" y="416228"/>
              <a:ext cx="2108200" cy="381000"/>
            </a:xfrm>
            <a:prstGeom prst="rect">
              <a:avLst/>
            </a:prstGeom>
          </p:spPr>
        </p:pic>
        <p:cxnSp>
          <p:nvCxnSpPr>
            <p:cNvPr id="15" name="Straight Connector 14">
              <a:extLst>
                <a:ext uri="{FF2B5EF4-FFF2-40B4-BE49-F238E27FC236}">
                  <a16:creationId xmlns:a16="http://schemas.microsoft.com/office/drawing/2014/main" id="{9EBA0BE8-E5D2-C641-826A-19BCD87E917D}"/>
                </a:ext>
              </a:extLst>
            </p:cNvPr>
            <p:cNvCxnSpPr/>
            <p:nvPr userDrawn="1"/>
          </p:nvCxnSpPr>
          <p:spPr>
            <a:xfrm>
              <a:off x="9192176"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DA0ABD7-CC30-DC42-A1F8-A8C00CC5AF7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31496" y="474639"/>
              <a:ext cx="2259329" cy="332391"/>
            </a:xfrm>
            <a:prstGeom prst="rect">
              <a:avLst/>
            </a:prstGeom>
          </p:spPr>
        </p:pic>
      </p:grpSp>
    </p:spTree>
    <p:extLst>
      <p:ext uri="{BB962C8B-B14F-4D97-AF65-F5344CB8AC3E}">
        <p14:creationId xmlns:p14="http://schemas.microsoft.com/office/powerpoint/2010/main" val="41402427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Standard + Coun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pic>
        <p:nvPicPr>
          <p:cNvPr id="26" name="Picture 25">
            <a:extLst>
              <a:ext uri="{FF2B5EF4-FFF2-40B4-BE49-F238E27FC236}">
                <a16:creationId xmlns:a16="http://schemas.microsoft.com/office/drawing/2014/main" id="{43FB8492-7937-5B4C-811E-EF340072848E}"/>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
        <p:nvSpPr>
          <p:cNvPr id="18" name="Content Placeholder 47">
            <a:extLst>
              <a:ext uri="{FF2B5EF4-FFF2-40B4-BE49-F238E27FC236}">
                <a16:creationId xmlns:a16="http://schemas.microsoft.com/office/drawing/2014/main" id="{1A5F5276-5A52-4B44-AEDE-57EBC294D06D}"/>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
        <p:nvSpPr>
          <p:cNvPr id="19" name="Footer Placeholder 4">
            <a:extLst>
              <a:ext uri="{FF2B5EF4-FFF2-40B4-BE49-F238E27FC236}">
                <a16:creationId xmlns:a16="http://schemas.microsoft.com/office/drawing/2014/main" id="{1BE21BE3-A810-304B-B4DF-3AEDBB60BF24}"/>
              </a:ext>
            </a:extLst>
          </p:cNvPr>
          <p:cNvSpPr txBox="1">
            <a:spLocks/>
          </p:cNvSpPr>
          <p:nvPr userDrawn="1"/>
        </p:nvSpPr>
        <p:spPr>
          <a:xfrm rot="16200000">
            <a:off x="10535707" y="5201706"/>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rgbClr val="FFFFFF">
                    <a:lumMod val="65000"/>
                  </a:srgbClr>
                </a:solidFill>
                <a:latin typeface="Calibri Light" panose="020F0302020204030204"/>
              </a:rPr>
              <a:t>© Amadeus IT Group and its affiliates and subsidiaries</a:t>
            </a:r>
          </a:p>
        </p:txBody>
      </p:sp>
      <p:pic>
        <p:nvPicPr>
          <p:cNvPr id="20" name="Graphic 19">
            <a:extLst>
              <a:ext uri="{FF2B5EF4-FFF2-40B4-BE49-F238E27FC236}">
                <a16:creationId xmlns:a16="http://schemas.microsoft.com/office/drawing/2014/main" id="{1C408F52-7C87-8C43-9963-0C859F431FA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9631" y="328121"/>
            <a:ext cx="121343" cy="121343"/>
          </a:xfrm>
          <a:prstGeom prst="rect">
            <a:avLst/>
          </a:prstGeom>
        </p:spPr>
      </p:pic>
      <p:sp>
        <p:nvSpPr>
          <p:cNvPr id="21" name="TextBox 20">
            <a:extLst>
              <a:ext uri="{FF2B5EF4-FFF2-40B4-BE49-F238E27FC236}">
                <a16:creationId xmlns:a16="http://schemas.microsoft.com/office/drawing/2014/main" id="{DD2BFA43-AA04-FC4C-9B1A-ADC45037CD7B}"/>
              </a:ext>
            </a:extLst>
          </p:cNvPr>
          <p:cNvSpPr txBox="1"/>
          <p:nvPr userDrawn="1"/>
        </p:nvSpPr>
        <p:spPr>
          <a:xfrm>
            <a:off x="11070193" y="296459"/>
            <a:ext cx="926857" cy="184666"/>
          </a:xfrm>
          <a:prstGeom prst="rect">
            <a:avLst/>
          </a:prstGeom>
          <a:noFill/>
        </p:spPr>
        <p:txBody>
          <a:bodyPr wrap="square" rtlCol="0">
            <a:spAutoFit/>
          </a:bodyPr>
          <a:lstStyle/>
          <a:p>
            <a:r>
              <a:rPr lang="en-US" sz="600" b="0" i="0" spc="150" baseline="0">
                <a:latin typeface="Gibson" panose="02000000000000000000" pitchFamily="2" charset="77"/>
              </a:rPr>
              <a:t>CONFIDENTIAL</a:t>
            </a:r>
          </a:p>
        </p:txBody>
      </p:sp>
      <p:sp>
        <p:nvSpPr>
          <p:cNvPr id="27" name="Text Placeholder 5">
            <a:extLst>
              <a:ext uri="{FF2B5EF4-FFF2-40B4-BE49-F238E27FC236}">
                <a16:creationId xmlns:a16="http://schemas.microsoft.com/office/drawing/2014/main" id="{27BBD0C5-61EF-4147-BE98-52D46E496B10}"/>
              </a:ext>
            </a:extLst>
          </p:cNvPr>
          <p:cNvSpPr>
            <a:spLocks noGrp="1"/>
          </p:cNvSpPr>
          <p:nvPr>
            <p:ph type="body" sz="quarter" idx="32" hasCustomPrompt="1"/>
          </p:nvPr>
        </p:nvSpPr>
        <p:spPr>
          <a:xfrm>
            <a:off x="1028959"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8" name="Text Placeholder 5">
            <a:extLst>
              <a:ext uri="{FF2B5EF4-FFF2-40B4-BE49-F238E27FC236}">
                <a16:creationId xmlns:a16="http://schemas.microsoft.com/office/drawing/2014/main" id="{4CAEFD42-77B8-A342-AE42-364B23A8FA68}"/>
              </a:ext>
            </a:extLst>
          </p:cNvPr>
          <p:cNvSpPr>
            <a:spLocks noGrp="1"/>
          </p:cNvSpPr>
          <p:nvPr>
            <p:ph type="body" sz="quarter" idx="33" hasCustomPrompt="1"/>
          </p:nvPr>
        </p:nvSpPr>
        <p:spPr>
          <a:xfrm>
            <a:off x="2172570"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9" name="Text Placeholder 5">
            <a:extLst>
              <a:ext uri="{FF2B5EF4-FFF2-40B4-BE49-F238E27FC236}">
                <a16:creationId xmlns:a16="http://schemas.microsoft.com/office/drawing/2014/main" id="{D5D14E90-BC89-0744-85EB-E99AFAD0C63E}"/>
              </a:ext>
            </a:extLst>
          </p:cNvPr>
          <p:cNvSpPr>
            <a:spLocks noGrp="1"/>
          </p:cNvSpPr>
          <p:nvPr>
            <p:ph type="body" sz="quarter" idx="34" hasCustomPrompt="1"/>
          </p:nvPr>
        </p:nvSpPr>
        <p:spPr>
          <a:xfrm>
            <a:off x="3316181"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30" name="Half-frame 29">
            <a:extLst>
              <a:ext uri="{FF2B5EF4-FFF2-40B4-BE49-F238E27FC236}">
                <a16:creationId xmlns:a16="http://schemas.microsoft.com/office/drawing/2014/main" id="{CFBD352A-A926-BF48-B35F-41298AF3670C}"/>
              </a:ext>
            </a:extLst>
          </p:cNvPr>
          <p:cNvSpPr/>
          <p:nvPr userDrawn="1"/>
        </p:nvSpPr>
        <p:spPr>
          <a:xfrm rot="16200000">
            <a:off x="902017" y="845199"/>
            <a:ext cx="146063" cy="50540"/>
          </a:xfrm>
          <a:prstGeom prst="halfFrame">
            <a:avLst>
              <a:gd name="adj1" fmla="val 0"/>
              <a:gd name="adj2" fmla="val 0"/>
            </a:avLst>
          </a:prstGeom>
          <a:solidFill>
            <a:srgbClr val="E5E5E5"/>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Tree>
    <p:extLst>
      <p:ext uri="{BB962C8B-B14F-4D97-AF65-F5344CB8AC3E}">
        <p14:creationId xmlns:p14="http://schemas.microsoft.com/office/powerpoint/2010/main" val="42285815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87055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Default – Confidenti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Gibson Light" pitchFamily="2" charset="77"/>
            </a:endParaRPr>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18" name="Picture 17">
            <a:extLst>
              <a:ext uri="{FF2B5EF4-FFF2-40B4-BE49-F238E27FC236}">
                <a16:creationId xmlns:a16="http://schemas.microsoft.com/office/drawing/2014/main" id="{B4C02D0F-C2A5-F84C-94BC-84A3544C78D8}"/>
              </a:ext>
            </a:extLst>
          </p:cNvPr>
          <p:cNvPicPr>
            <a:picLocks noChangeAspect="1"/>
          </p:cNvPicPr>
          <p:nvPr userDrawn="1"/>
        </p:nvPicPr>
        <p:blipFill>
          <a:blip r:embed="rId3"/>
          <a:stretch>
            <a:fillRect/>
          </a:stretch>
        </p:blipFill>
        <p:spPr>
          <a:xfrm>
            <a:off x="312933" y="93977"/>
            <a:ext cx="345445" cy="345445"/>
          </a:xfrm>
          <a:prstGeom prst="ellipse">
            <a:avLst/>
          </a:prstGeom>
          <a:ln w="12700">
            <a:solidFill>
              <a:schemeClr val="bg2"/>
            </a:solidFill>
          </a:ln>
        </p:spPr>
      </p:pic>
      <p:sp>
        <p:nvSpPr>
          <p:cNvPr id="6" name="Footer Placeholder 4">
            <a:extLst>
              <a:ext uri="{FF2B5EF4-FFF2-40B4-BE49-F238E27FC236}">
                <a16:creationId xmlns:a16="http://schemas.microsoft.com/office/drawing/2014/main" id="{A48271E6-14EB-6745-950B-5E8EBDCD54AC}"/>
              </a:ext>
            </a:extLst>
          </p:cNvPr>
          <p:cNvSpPr txBox="1">
            <a:spLocks/>
          </p:cNvSpPr>
          <p:nvPr userDrawn="1"/>
        </p:nvSpPr>
        <p:spPr>
          <a:xfrm rot="16200000">
            <a:off x="10535707" y="5201706"/>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rgbClr val="FFFFFF">
                    <a:lumMod val="65000"/>
                  </a:srgbClr>
                </a:solidFill>
                <a:latin typeface="Calibri Light" panose="020F0302020204030204"/>
              </a:rPr>
              <a:t>© Amadeus IT Group and its affiliates and subsidiaries</a:t>
            </a:r>
          </a:p>
        </p:txBody>
      </p:sp>
      <p:pic>
        <p:nvPicPr>
          <p:cNvPr id="7" name="Graphic 6">
            <a:extLst>
              <a:ext uri="{FF2B5EF4-FFF2-40B4-BE49-F238E27FC236}">
                <a16:creationId xmlns:a16="http://schemas.microsoft.com/office/drawing/2014/main" id="{CA315256-B58C-B245-A9CF-76CE44EC28B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79631" y="328121"/>
            <a:ext cx="121343" cy="121343"/>
          </a:xfrm>
          <a:prstGeom prst="rect">
            <a:avLst/>
          </a:prstGeom>
        </p:spPr>
      </p:pic>
      <p:sp>
        <p:nvSpPr>
          <p:cNvPr id="8" name="TextBox 7">
            <a:extLst>
              <a:ext uri="{FF2B5EF4-FFF2-40B4-BE49-F238E27FC236}">
                <a16:creationId xmlns:a16="http://schemas.microsoft.com/office/drawing/2014/main" id="{A02DEC7B-7006-8740-BADC-58168F0ECE6C}"/>
              </a:ext>
            </a:extLst>
          </p:cNvPr>
          <p:cNvSpPr txBox="1"/>
          <p:nvPr userDrawn="1"/>
        </p:nvSpPr>
        <p:spPr>
          <a:xfrm>
            <a:off x="11070193" y="296459"/>
            <a:ext cx="926857" cy="184666"/>
          </a:xfrm>
          <a:prstGeom prst="rect">
            <a:avLst/>
          </a:prstGeom>
          <a:noFill/>
        </p:spPr>
        <p:txBody>
          <a:bodyPr wrap="square" rtlCol="0">
            <a:spAutoFit/>
          </a:bodyPr>
          <a:lstStyle/>
          <a:p>
            <a:r>
              <a:rPr lang="en-US" sz="600" b="0" i="0" spc="150" baseline="0">
                <a:latin typeface="Gibson" panose="02000000000000000000" pitchFamily="2" charset="77"/>
              </a:rPr>
              <a:t>CONFIDENTIAL</a:t>
            </a:r>
          </a:p>
        </p:txBody>
      </p:sp>
    </p:spTree>
    <p:extLst>
      <p:ext uri="{BB962C8B-B14F-4D97-AF65-F5344CB8AC3E}">
        <p14:creationId xmlns:p14="http://schemas.microsoft.com/office/powerpoint/2010/main" val="943837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p:spPr>
        <p:txBody>
          <a:bodyPr anchor="b">
            <a:noAutofit/>
          </a:bodyPr>
          <a:lstStyle>
            <a:lvl1pPr>
              <a:lnSpc>
                <a:spcPts val="6000"/>
              </a:lnSpc>
              <a:defRPr sz="6000" b="1" baseline="0">
                <a:solidFill>
                  <a:schemeClr val="tx2"/>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576265" y="2277861"/>
            <a:ext cx="6773659"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70685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p:spPr>
        <p:txBody>
          <a:bodyPr tIns="0" anchor="b">
            <a:noAutofit/>
          </a:bodyPr>
          <a:lstStyle>
            <a:lvl1pPr>
              <a:lnSpc>
                <a:spcPct val="100000"/>
              </a:lnSpc>
              <a:defRPr sz="4800" b="1">
                <a:solidFill>
                  <a:schemeClr val="tx2"/>
                </a:solidFill>
                <a:latin typeface="+mj-lt"/>
              </a:defRPr>
            </a:lvl1pPr>
          </a:lstStyle>
          <a:p>
            <a:r>
              <a:rPr lang="en-GB" noProof="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22027723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830997"/>
          </a:xfrm>
          <a:prstGeom prst="rect">
            <a:avLst/>
          </a:prstGeom>
          <a:noFill/>
        </p:spPr>
        <p:txBody>
          <a:bodyPr wrap="square" rtlCol="0">
            <a:spAutoFit/>
          </a:bodyPr>
          <a:lstStyle/>
          <a:p>
            <a:r>
              <a:rPr lang="en-US" sz="4800" b="1">
                <a:latin typeface="Amadeus" panose="02000506020000020004" pitchFamily="50" charset="0"/>
              </a:rPr>
              <a:t>Agenda</a:t>
            </a:r>
            <a:endParaRPr lang="es-ES" sz="4000" b="1">
              <a:latin typeface="Amadeus" panose="02000506020000020004" pitchFamily="50" charset="0"/>
            </a:endParaRPr>
          </a:p>
        </p:txBody>
      </p:sp>
    </p:spTree>
    <p:extLst>
      <p:ext uri="{BB962C8B-B14F-4D97-AF65-F5344CB8AC3E}">
        <p14:creationId xmlns:p14="http://schemas.microsoft.com/office/powerpoint/2010/main" val="41989595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4</a:t>
            </a:r>
          </a:p>
        </p:txBody>
      </p:sp>
      <p:sp>
        <p:nvSpPr>
          <p:cNvPr id="25" name="Title 1"/>
          <p:cNvSpPr>
            <a:spLocks noGrp="1"/>
          </p:cNvSpPr>
          <p:nvPr>
            <p:ph type="title"/>
          </p:nvPr>
        </p:nvSpPr>
        <p:spPr>
          <a:xfrm>
            <a:off x="622570" y="188913"/>
            <a:ext cx="10918325"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9" name="Text Placeholder 19"/>
          <p:cNvSpPr>
            <a:spLocks noGrp="1"/>
          </p:cNvSpPr>
          <p:nvPr>
            <p:ph type="body" sz="quarter" idx="13"/>
          </p:nvPr>
        </p:nvSpPr>
        <p:spPr>
          <a:xfrm>
            <a:off x="621839" y="779412"/>
            <a:ext cx="1089445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09007867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3" y="2227939"/>
            <a:ext cx="6031363" cy="1950522"/>
          </a:xfrm>
        </p:spPr>
        <p:txBody>
          <a:bodyPr anchor="t">
            <a:noAutofit/>
          </a:bodyPr>
          <a:lstStyle>
            <a:lvl1pPr>
              <a:lnSpc>
                <a:spcPts val="6000"/>
              </a:lnSpc>
              <a:defRPr sz="6000" b="1" baseline="0">
                <a:solidFill>
                  <a:schemeClr val="tx2"/>
                </a:solidFill>
                <a:latin typeface="+mj-lt"/>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a:p>
        </p:txBody>
      </p:sp>
    </p:spTree>
    <p:extLst>
      <p:ext uri="{BB962C8B-B14F-4D97-AF65-F5344CB8AC3E}">
        <p14:creationId xmlns:p14="http://schemas.microsoft.com/office/powerpoint/2010/main" val="263300289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1">
                <a:solidFill>
                  <a:schemeClr val="tx2"/>
                </a:solidFill>
                <a:latin typeface="+mj-lt"/>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27008494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p:spPr>
        <p:txBody>
          <a:bodyPr/>
          <a:lstStyle/>
          <a:p>
            <a:r>
              <a:rPr lang="en-GB"/>
              <a:t>Click to edit Master title style</a:t>
            </a:r>
            <a:endParaRPr lang="en-US"/>
          </a:p>
        </p:txBody>
      </p:sp>
    </p:spTree>
    <p:extLst>
      <p:ext uri="{BB962C8B-B14F-4D97-AF65-F5344CB8AC3E}">
        <p14:creationId xmlns:p14="http://schemas.microsoft.com/office/powerpoint/2010/main" val="136312006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1752600" y="3599191"/>
            <a:ext cx="10898448" cy="590501"/>
          </a:xfrm>
          <a:prstGeom prst="rect">
            <a:avLst/>
          </a:prstGeom>
        </p:spPr>
        <p:txBody>
          <a:bodyPr anchor="t">
            <a:noAutofit/>
          </a:bodyPr>
          <a:lstStyle>
            <a:lvl1pPr>
              <a:defRPr lang="en-GB" sz="4800" b="1" kern="1200" noProof="0" dirty="0">
                <a:solidFill>
                  <a:schemeClr val="tx2"/>
                </a:solidFill>
                <a:latin typeface="+mj-lt"/>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2985" y="799079"/>
            <a:ext cx="10898236"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55863202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p:spPr>
        <p:txBody>
          <a:bodyPr anchor="t">
            <a:noAutofit/>
          </a:bodyPr>
          <a:lstStyle>
            <a:lvl1pPr>
              <a:defRPr lang="en-GB" sz="4800" b="1" kern="1200" noProof="0" dirty="0">
                <a:solidFill>
                  <a:schemeClr val="tx2"/>
                </a:solidFill>
                <a:latin typeface="+mj-lt"/>
                <a:ea typeface="+mj-ea"/>
                <a:cs typeface="+mj-cs"/>
              </a:defRPr>
            </a:lvl1pPr>
          </a:lstStyle>
          <a:p>
            <a:r>
              <a:rPr lang="en-GB" noProof="0"/>
              <a:t>Click to edit Master title style</a:t>
            </a:r>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4477201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7" name="Title 1"/>
          <p:cNvSpPr>
            <a:spLocks noGrp="1"/>
          </p:cNvSpPr>
          <p:nvPr>
            <p:ph type="title"/>
          </p:nvPr>
        </p:nvSpPr>
        <p:spPr>
          <a:xfrm>
            <a:off x="622570" y="188913"/>
            <a:ext cx="10879414" cy="590501"/>
          </a:xfrm>
        </p:spPr>
        <p:txBody>
          <a:bodyPr anchor="t">
            <a:noAutofit/>
          </a:bodyPr>
          <a:lstStyle>
            <a:lvl1pPr>
              <a:defRPr lang="en-GB" sz="4800" b="1" kern="1200" noProof="0" dirty="0">
                <a:solidFill>
                  <a:schemeClr val="tx2"/>
                </a:solidFill>
                <a:latin typeface="+mj-lt"/>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53" y="779412"/>
            <a:ext cx="10855628"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30630219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9"/>
            <a:ext cx="4560866" cy="1349538"/>
          </a:xfrm>
          <a:prstGeom prst="rect">
            <a:avLst/>
          </a:prstGeom>
        </p:spPr>
        <p:txBody>
          <a:bodyPr>
            <a:noAutofit/>
          </a:bodyPr>
          <a:lstStyle>
            <a:lvl1pPr marL="0" indent="0">
              <a:lnSpc>
                <a:spcPts val="1425"/>
              </a:lnSpc>
              <a:buNone/>
              <a:defRPr sz="240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3" name="Title 1"/>
          <p:cNvSpPr>
            <a:spLocks noGrp="1"/>
          </p:cNvSpPr>
          <p:nvPr>
            <p:ph type="title"/>
          </p:nvPr>
        </p:nvSpPr>
        <p:spPr>
          <a:xfrm>
            <a:off x="622570" y="188913"/>
            <a:ext cx="10928053" cy="590501"/>
          </a:xfrm>
        </p:spPr>
        <p:txBody>
          <a:bodyPr anchor="t">
            <a:noAutofit/>
          </a:bodyPr>
          <a:lstStyle>
            <a:lvl1pPr>
              <a:defRPr lang="en-GB" sz="4800" b="1" kern="1200" noProof="0" dirty="0">
                <a:solidFill>
                  <a:schemeClr val="tx2"/>
                </a:solidFill>
                <a:latin typeface="+mj-lt"/>
                <a:ea typeface="+mj-ea"/>
                <a:cs typeface="+mj-cs"/>
              </a:defRPr>
            </a:lvl1pPr>
          </a:lstStyle>
          <a:p>
            <a:r>
              <a:rPr lang="en-GB" noProof="0"/>
              <a:t>Click to edit Master title style</a:t>
            </a:r>
          </a:p>
        </p:txBody>
      </p:sp>
      <p:sp>
        <p:nvSpPr>
          <p:cNvPr id="15" name="Text Placeholder 19"/>
          <p:cNvSpPr>
            <a:spLocks noGrp="1"/>
          </p:cNvSpPr>
          <p:nvPr>
            <p:ph type="body" sz="quarter" idx="20"/>
          </p:nvPr>
        </p:nvSpPr>
        <p:spPr>
          <a:xfrm>
            <a:off x="621860" y="779412"/>
            <a:ext cx="10904161"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031888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Tree>
    <p:extLst>
      <p:ext uri="{BB962C8B-B14F-4D97-AF65-F5344CB8AC3E}">
        <p14:creationId xmlns:p14="http://schemas.microsoft.com/office/powerpoint/2010/main" val="192637106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ts val="5000"/>
              </a:lnSpc>
              <a:defRPr lang="en-GB" sz="4800" b="1" kern="1200" noProof="0" dirty="0">
                <a:solidFill>
                  <a:schemeClr val="tx2"/>
                </a:solidFill>
                <a:latin typeface="+mj-lt"/>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4713370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GB" noProof="0"/>
              <a:t>Click to edit Master text styles</a:t>
            </a:r>
          </a:p>
        </p:txBody>
      </p:sp>
      <p:sp>
        <p:nvSpPr>
          <p:cNvPr id="24" name="Title 1"/>
          <p:cNvSpPr>
            <a:spLocks noGrp="1"/>
          </p:cNvSpPr>
          <p:nvPr>
            <p:ph type="title"/>
          </p:nvPr>
        </p:nvSpPr>
        <p:spPr>
          <a:xfrm>
            <a:off x="622570" y="188913"/>
            <a:ext cx="9027023"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25" name="Text Placeholder 19"/>
          <p:cNvSpPr>
            <a:spLocks noGrp="1"/>
          </p:cNvSpPr>
          <p:nvPr>
            <p:ph type="body" sz="quarter" idx="13"/>
          </p:nvPr>
        </p:nvSpPr>
        <p:spPr>
          <a:xfrm>
            <a:off x="620990" y="787824"/>
            <a:ext cx="4807728" cy="45151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05410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5" name="Title 1"/>
          <p:cNvSpPr>
            <a:spLocks noGrp="1"/>
          </p:cNvSpPr>
          <p:nvPr>
            <p:ph type="title"/>
          </p:nvPr>
        </p:nvSpPr>
        <p:spPr>
          <a:xfrm>
            <a:off x="627403" y="188913"/>
            <a:ext cx="1089325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7403" y="779412"/>
            <a:ext cx="108694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361247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5" name="Title 1"/>
          <p:cNvSpPr>
            <a:spLocks noGrp="1"/>
          </p:cNvSpPr>
          <p:nvPr>
            <p:ph type="title"/>
          </p:nvPr>
        </p:nvSpPr>
        <p:spPr>
          <a:xfrm>
            <a:off x="612843" y="188913"/>
            <a:ext cx="10183704"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7" name="Text Placeholder 19"/>
          <p:cNvSpPr>
            <a:spLocks noGrp="1"/>
          </p:cNvSpPr>
          <p:nvPr>
            <p:ph type="body" sz="quarter" idx="13"/>
          </p:nvPr>
        </p:nvSpPr>
        <p:spPr>
          <a:xfrm>
            <a:off x="621839" y="779414"/>
            <a:ext cx="10161440" cy="376146"/>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9071306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7" name="Title 1"/>
          <p:cNvSpPr>
            <a:spLocks noGrp="1"/>
          </p:cNvSpPr>
          <p:nvPr>
            <p:ph type="title"/>
          </p:nvPr>
        </p:nvSpPr>
        <p:spPr>
          <a:xfrm>
            <a:off x="622572" y="188913"/>
            <a:ext cx="10937780"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21" name="Text Placeholder 19"/>
          <p:cNvSpPr>
            <a:spLocks noGrp="1"/>
          </p:cNvSpPr>
          <p:nvPr>
            <p:ph type="body" sz="quarter" idx="13"/>
          </p:nvPr>
        </p:nvSpPr>
        <p:spPr>
          <a:xfrm>
            <a:off x="621882" y="779413"/>
            <a:ext cx="10913867" cy="42581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51265760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1">
                <a:solidFill>
                  <a:schemeClr val="accent2"/>
                </a:solidFill>
              </a:defRPr>
            </a:lvl1pPr>
          </a:lstStyle>
          <a:p>
            <a:pPr lvl="0"/>
            <a:r>
              <a:rPr lang="en-GB" noProof="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6" name="Title 1"/>
          <p:cNvSpPr>
            <a:spLocks noGrp="1"/>
          </p:cNvSpPr>
          <p:nvPr>
            <p:ph type="title"/>
          </p:nvPr>
        </p:nvSpPr>
        <p:spPr>
          <a:xfrm>
            <a:off x="622570" y="188913"/>
            <a:ext cx="10908597"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9" name="Text Placeholder 19"/>
          <p:cNvSpPr>
            <a:spLocks noGrp="1"/>
          </p:cNvSpPr>
          <p:nvPr>
            <p:ph type="body" sz="quarter" idx="13"/>
          </p:nvPr>
        </p:nvSpPr>
        <p:spPr>
          <a:xfrm>
            <a:off x="621818" y="779413"/>
            <a:ext cx="10884747" cy="406116"/>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15586782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buNone/>
              <a:defRPr sz="4500" b="1">
                <a:solidFill>
                  <a:schemeClr val="tx2"/>
                </a:solidFill>
              </a:defRPr>
            </a:lvl1pPr>
          </a:lstStyle>
          <a:p>
            <a:pPr lvl="0"/>
            <a:r>
              <a:rPr lang="en-GB" noProof="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buNone/>
              <a:defRPr sz="4500" b="1">
                <a:solidFill>
                  <a:schemeClr val="tx2"/>
                </a:solidFill>
              </a:defRPr>
            </a:lvl1pPr>
          </a:lstStyle>
          <a:p>
            <a:pPr lvl="0"/>
            <a:r>
              <a:rPr lang="en-GB" noProof="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buNone/>
              <a:defRPr sz="4500" b="1">
                <a:solidFill>
                  <a:schemeClr val="tx2"/>
                </a:solidFill>
              </a:defRPr>
            </a:lvl1pPr>
          </a:lstStyle>
          <a:p>
            <a:pPr lvl="0"/>
            <a:r>
              <a:rPr lang="en-GB" noProof="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buNone/>
              <a:defRPr sz="4500" b="1">
                <a:solidFill>
                  <a:schemeClr val="tx2"/>
                </a:solidFill>
              </a:defRPr>
            </a:lvl1pPr>
          </a:lstStyle>
          <a:p>
            <a:pPr lvl="0"/>
            <a:r>
              <a:rPr lang="en-GB" noProof="0"/>
              <a:t>04</a:t>
            </a:r>
          </a:p>
        </p:txBody>
      </p:sp>
      <p:sp>
        <p:nvSpPr>
          <p:cNvPr id="23" name="Title 1"/>
          <p:cNvSpPr>
            <a:spLocks noGrp="1"/>
          </p:cNvSpPr>
          <p:nvPr>
            <p:ph type="title"/>
          </p:nvPr>
        </p:nvSpPr>
        <p:spPr>
          <a:xfrm>
            <a:off x="622938" y="188913"/>
            <a:ext cx="10937413"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24" name="Text Placeholder 19"/>
          <p:cNvSpPr>
            <a:spLocks noGrp="1"/>
          </p:cNvSpPr>
          <p:nvPr>
            <p:ph type="body" sz="quarter" idx="13"/>
          </p:nvPr>
        </p:nvSpPr>
        <p:spPr>
          <a:xfrm>
            <a:off x="622249" y="779413"/>
            <a:ext cx="10913500" cy="35381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574845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b="1">
                <a:solidFill>
                  <a:schemeClr val="tx2"/>
                </a:solidFill>
              </a:defRPr>
            </a:lvl1pPr>
          </a:lstStyle>
          <a:p>
            <a:pPr lvl="0"/>
            <a:r>
              <a:rPr lang="en-GB" noProof="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b="1">
                <a:solidFill>
                  <a:schemeClr val="tx2"/>
                </a:solidFill>
              </a:defRPr>
            </a:lvl1pPr>
          </a:lstStyle>
          <a:p>
            <a:pPr lvl="0"/>
            <a:r>
              <a:rPr lang="en-GB" noProof="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b="1">
                <a:solidFill>
                  <a:schemeClr val="tx2"/>
                </a:solidFill>
              </a:defRPr>
            </a:lvl1pPr>
          </a:lstStyle>
          <a:p>
            <a:pPr lvl="0"/>
            <a:r>
              <a:rPr lang="en-GB" noProof="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b="1">
                <a:solidFill>
                  <a:schemeClr val="tx2"/>
                </a:solidFill>
              </a:defRPr>
            </a:lvl1pPr>
          </a:lstStyle>
          <a:p>
            <a:pPr lvl="0"/>
            <a:r>
              <a:rPr lang="en-GB" noProof="0"/>
              <a:t>04</a:t>
            </a:r>
          </a:p>
        </p:txBody>
      </p:sp>
      <p:sp>
        <p:nvSpPr>
          <p:cNvPr id="25" name="Title 1"/>
          <p:cNvSpPr>
            <a:spLocks noGrp="1"/>
          </p:cNvSpPr>
          <p:nvPr>
            <p:ph type="title"/>
          </p:nvPr>
        </p:nvSpPr>
        <p:spPr>
          <a:xfrm>
            <a:off x="622570" y="188913"/>
            <a:ext cx="10918325"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29" name="Text Placeholder 19"/>
          <p:cNvSpPr>
            <a:spLocks noGrp="1"/>
          </p:cNvSpPr>
          <p:nvPr>
            <p:ph type="body" sz="quarter" idx="13"/>
          </p:nvPr>
        </p:nvSpPr>
        <p:spPr>
          <a:xfrm>
            <a:off x="621839" y="779412"/>
            <a:ext cx="1089445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8251929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oAutofit/>
          </a:bodyPr>
          <a:lstStyle>
            <a:lvl1pPr marL="0" indent="0" algn="ctr">
              <a:buNone/>
              <a:defRPr sz="4500" b="1">
                <a:solidFill>
                  <a:schemeClr val="tx1"/>
                </a:solidFill>
              </a:defRPr>
            </a:lvl1pPr>
          </a:lstStyle>
          <a:p>
            <a:pPr lvl="0"/>
            <a:r>
              <a:rPr lang="en-GB" noProof="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oAutofit/>
          </a:bodyPr>
          <a:lstStyle>
            <a:lvl1pPr marL="0" indent="0" algn="ctr">
              <a:buNone/>
              <a:defRPr sz="4500" b="1">
                <a:solidFill>
                  <a:schemeClr val="tx1"/>
                </a:solidFill>
              </a:defRPr>
            </a:lvl1pPr>
          </a:lstStyle>
          <a:p>
            <a:pPr lvl="0"/>
            <a:r>
              <a:rPr lang="en-GB" noProof="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oAutofit/>
          </a:bodyPr>
          <a:lstStyle>
            <a:lvl1pPr marL="0" indent="0" algn="ctr">
              <a:buNone/>
              <a:defRPr sz="4500" b="1">
                <a:solidFill>
                  <a:schemeClr val="tx1"/>
                </a:solidFill>
              </a:defRPr>
            </a:lvl1pPr>
          </a:lstStyle>
          <a:p>
            <a:pPr lvl="0"/>
            <a:r>
              <a:rPr lang="en-GB" noProof="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5" name="Title 1"/>
          <p:cNvSpPr>
            <a:spLocks noGrp="1"/>
          </p:cNvSpPr>
          <p:nvPr>
            <p:ph type="title"/>
          </p:nvPr>
        </p:nvSpPr>
        <p:spPr>
          <a:xfrm>
            <a:off x="627403" y="188913"/>
            <a:ext cx="10893250"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7403" y="779412"/>
            <a:ext cx="1086943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4942725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1" baseline="0">
                <a:solidFill>
                  <a:schemeClr val="accent2"/>
                </a:solidFill>
              </a:defRPr>
            </a:lvl1pPr>
          </a:lstStyle>
          <a:p>
            <a:pPr lvl="0"/>
            <a:r>
              <a:rPr lang="en-GB" noProof="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buNone/>
              <a:defRPr sz="2800" b="1" baseline="0">
                <a:solidFill>
                  <a:schemeClr val="accent2"/>
                </a:solidFill>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aseline="0">
                <a:solidFill>
                  <a:schemeClr val="accent2"/>
                </a:solidFill>
              </a:defRPr>
            </a:lvl1pPr>
          </a:lstStyle>
          <a:p>
            <a:pPr lvl="0"/>
            <a:r>
              <a:rPr lang="en-GB" noProof="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400">
                <a:solidFill>
                  <a:srgbClr val="323232"/>
                </a:solidFill>
              </a:defRPr>
            </a:lvl1pPr>
            <a:lvl2pPr marL="538163" indent="-139700">
              <a:lnSpc>
                <a:spcPct val="100000"/>
              </a:lnSpc>
              <a:defRPr sz="2400">
                <a:solidFill>
                  <a:srgbClr val="323232"/>
                </a:solidFill>
              </a:defRPr>
            </a:lvl2pPr>
            <a:lvl3pPr marL="985838" indent="-138113">
              <a:lnSpc>
                <a:spcPct val="100000"/>
              </a:lnSpc>
              <a:defRPr sz="24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400">
                <a:solidFill>
                  <a:srgbClr val="323232"/>
                </a:solidFill>
              </a:defRPr>
            </a:lvl2pPr>
            <a:lvl3pPr marL="1076325" indent="-161925">
              <a:lnSpc>
                <a:spcPct val="100000"/>
              </a:lnSpc>
              <a:defRPr sz="24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000">
                <a:solidFill>
                  <a:srgbClr val="323232"/>
                </a:solidFill>
              </a:defRPr>
            </a:lvl2pPr>
            <a:lvl3pPr marL="1076325" indent="-228600">
              <a:lnSpc>
                <a:spcPct val="100000"/>
              </a:lnSpc>
              <a:defRPr sz="1600">
                <a:solidFill>
                  <a:srgbClr val="323232"/>
                </a:solidFill>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14" name="Title 1"/>
          <p:cNvSpPr>
            <a:spLocks noGrp="1"/>
          </p:cNvSpPr>
          <p:nvPr>
            <p:ph type="title"/>
          </p:nvPr>
        </p:nvSpPr>
        <p:spPr>
          <a:xfrm>
            <a:off x="625120" y="188913"/>
            <a:ext cx="10944959"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4447" y="779412"/>
            <a:ext cx="10921030"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82175347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9" name="Title 1"/>
          <p:cNvSpPr>
            <a:spLocks noGrp="1"/>
          </p:cNvSpPr>
          <p:nvPr>
            <p:ph type="title"/>
          </p:nvPr>
        </p:nvSpPr>
        <p:spPr>
          <a:xfrm>
            <a:off x="622572" y="188913"/>
            <a:ext cx="10600057" cy="590501"/>
          </a:xfr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20" name="Text Placeholder 19"/>
          <p:cNvSpPr>
            <a:spLocks noGrp="1"/>
          </p:cNvSpPr>
          <p:nvPr>
            <p:ph type="body" sz="quarter" idx="13"/>
          </p:nvPr>
        </p:nvSpPr>
        <p:spPr>
          <a:xfrm>
            <a:off x="621882" y="779412"/>
            <a:ext cx="1057688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93130533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1" baseline="0">
                <a:solidFill>
                  <a:schemeClr val="tx1"/>
                </a:solidFill>
                <a:latin typeface="Amadeus" panose="02000506020000020004" pitchFamily="50" charset="0"/>
                <a:cs typeface="72 Black" panose="020B0A04030603020204" pitchFamily="34" charset="0"/>
              </a:defRPr>
            </a:lvl1pPr>
          </a:lstStyle>
          <a:p>
            <a:r>
              <a:rPr lang="en-GB" noProof="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80486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4" name="Title 1"/>
          <p:cNvSpPr>
            <a:spLocks noGrp="1"/>
          </p:cNvSpPr>
          <p:nvPr>
            <p:ph type="title" hasCustomPrompt="1"/>
          </p:nvPr>
        </p:nvSpPr>
        <p:spPr>
          <a:xfrm>
            <a:off x="6807837" y="2016688"/>
            <a:ext cx="4601584" cy="1325563"/>
          </a:xfrm>
        </p:spPr>
        <p:txBody>
          <a:bodyPr anchor="b">
            <a:noAutofit/>
          </a:bodyPr>
          <a:lstStyle>
            <a:lvl1pPr algn="r">
              <a:lnSpc>
                <a:spcPts val="6000"/>
              </a:lnSpc>
              <a:defRPr sz="6000" b="1" baseline="0">
                <a:solidFill>
                  <a:schemeClr val="bg1"/>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8" name="Freeform 5">
            <a:extLst>
              <a:ext uri="{FF2B5EF4-FFF2-40B4-BE49-F238E27FC236}">
                <a16:creationId xmlns:a16="http://schemas.microsoft.com/office/drawing/2014/main" id="{491726D4-2FB5-4D17-BC26-A8D05A9DF958}"/>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62200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a:prstGeom prst="rect">
            <a:avLst/>
          </a:prstGeom>
        </p:spPr>
        <p:txBody>
          <a:bodyPr tIns="0" anchor="b">
            <a:noAutofit/>
          </a:bodyPr>
          <a:lstStyle>
            <a:lvl1pPr>
              <a:lnSpc>
                <a:spcPct val="100000"/>
              </a:lnSpc>
              <a:defRPr sz="4800" b="0" i="0">
                <a:solidFill>
                  <a:schemeClr val="tx2"/>
                </a:solidFill>
                <a:latin typeface="Calibri Light" panose="020F0302020204030204" pitchFamily="34" charset="0"/>
              </a:defRPr>
            </a:lvl1pPr>
          </a:lstStyle>
          <a:p>
            <a:r>
              <a:rPr lang="en-GB" noProof="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0" i="0" baseline="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389561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0" i="0" baseline="0">
                <a:solidFill>
                  <a:schemeClr val="accent2"/>
                </a:solidFill>
                <a:latin typeface="Calibri Light" panose="020F0302020204030204" pitchFamily="34" charset="0"/>
              </a:defRPr>
            </a:lvl1pPr>
          </a:lstStyle>
          <a:p>
            <a:pPr lvl="0"/>
            <a:r>
              <a:rPr lang="en-GB" noProof="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buNone/>
              <a:defRPr sz="2800" b="0" i="0" baseline="0">
                <a:solidFill>
                  <a:schemeClr val="accent2"/>
                </a:solidFill>
                <a:latin typeface="Calibri Light" panose="020F0302020204030204" pitchFamily="34" charset="0"/>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0" i="0" baseline="0">
                <a:solidFill>
                  <a:schemeClr val="accent2"/>
                </a:solidFill>
                <a:latin typeface="Calibri Light" panose="020F0302020204030204" pitchFamily="34" charset="0"/>
              </a:defRPr>
            </a:lvl1pPr>
          </a:lstStyle>
          <a:p>
            <a:pPr lvl="0"/>
            <a:r>
              <a:rPr lang="en-GB" noProof="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538163" indent="-139700">
              <a:lnSpc>
                <a:spcPct val="100000"/>
              </a:lnSpc>
              <a:defRPr sz="2400" b="0" i="0">
                <a:solidFill>
                  <a:srgbClr val="323232"/>
                </a:solidFill>
                <a:latin typeface="Calibri Light" panose="020F0302020204030204" pitchFamily="34" charset="0"/>
              </a:defRPr>
            </a:lvl2pPr>
            <a:lvl3pPr marL="985838" indent="-138113">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400" b="0" i="0">
                <a:solidFill>
                  <a:srgbClr val="323232"/>
                </a:solidFill>
                <a:latin typeface="Calibri Light" panose="020F0302020204030204" pitchFamily="34" charset="0"/>
              </a:defRPr>
            </a:lvl2pPr>
            <a:lvl3pPr marL="1076325" indent="-161925">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000" b="0" i="0">
                <a:solidFill>
                  <a:srgbClr val="323232"/>
                </a:solidFill>
                <a:latin typeface="Calibri Light" panose="020F0302020204030204" pitchFamily="34" charset="0"/>
              </a:defRPr>
            </a:lvl2pPr>
            <a:lvl3pPr marL="1076325" indent="-228600">
              <a:lnSpc>
                <a:spcPct val="100000"/>
              </a:lnSpc>
              <a:defRPr sz="1600" b="0" i="0">
                <a:solidFill>
                  <a:srgbClr val="323232"/>
                </a:solidFill>
                <a:latin typeface="Calibri Light" panose="020F0302020204030204" pitchFamily="34" charset="0"/>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14" name="Title 1"/>
          <p:cNvSpPr>
            <a:spLocks noGrp="1"/>
          </p:cNvSpPr>
          <p:nvPr>
            <p:ph type="title"/>
          </p:nvPr>
        </p:nvSpPr>
        <p:spPr>
          <a:xfrm>
            <a:off x="625120" y="188913"/>
            <a:ext cx="10944959"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4447" y="779412"/>
            <a:ext cx="10921030"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99997160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2235201" y="1801092"/>
            <a:ext cx="7467796" cy="1913318"/>
          </a:xfrm>
        </p:spPr>
        <p:txBody>
          <a:bodyPr anchor="b">
            <a:normAutofit/>
          </a:bodyPr>
          <a:lstStyle>
            <a:lvl1pPr algn="r">
              <a:lnSpc>
                <a:spcPts val="6000"/>
              </a:lnSpc>
              <a:defRPr sz="6000" b="1" baseline="0">
                <a:solidFill>
                  <a:schemeClr val="bg1"/>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8" name="Freeform 5">
            <a:extLst>
              <a:ext uri="{FF2B5EF4-FFF2-40B4-BE49-F238E27FC236}">
                <a16:creationId xmlns:a16="http://schemas.microsoft.com/office/drawing/2014/main" id="{574B07EB-BC85-4341-B882-7ADA0F4E9B5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277562486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p:spPr>
        <p:txBody>
          <a:bodyPr anchor="t">
            <a:noAutofit/>
          </a:bodyPr>
          <a:lstStyle>
            <a:lvl1pPr>
              <a:lnSpc>
                <a:spcPts val="6000"/>
              </a:lnSpc>
              <a:defRPr sz="6000" b="1" baseline="0">
                <a:solidFill>
                  <a:schemeClr val="bg2"/>
                </a:solidFill>
                <a:latin typeface="+mj-lt"/>
              </a:defRPr>
            </a:lvl1pPr>
          </a:lstStyle>
          <a:p>
            <a:r>
              <a:rPr lang="en-GB" noProof="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7" name="Freeform 5">
            <a:extLst>
              <a:ext uri="{FF2B5EF4-FFF2-40B4-BE49-F238E27FC236}">
                <a16:creationId xmlns:a16="http://schemas.microsoft.com/office/drawing/2014/main" id="{36A390C1-AAA9-4C50-82E8-2EEA474B0BEB}"/>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38969063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1">
                <a:solidFill>
                  <a:schemeClr val="bg1"/>
                </a:solidFill>
                <a:latin typeface="+mj-lt"/>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a:solidFill>
                  <a:schemeClr val="accent3"/>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6" name="Freeform 5">
            <a:extLst>
              <a:ext uri="{FF2B5EF4-FFF2-40B4-BE49-F238E27FC236}">
                <a16:creationId xmlns:a16="http://schemas.microsoft.com/office/drawing/2014/main" id="{3CC17AF5-E76C-4559-B749-924D696639A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41531511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p:spPr>
        <p:txBody>
          <a:bodyPr/>
          <a:lstStyle>
            <a:lvl1pPr>
              <a:defRPr>
                <a:solidFill>
                  <a:schemeClr val="bg1"/>
                </a:solidFill>
              </a:defRPr>
            </a:lvl1pPr>
          </a:lstStyle>
          <a:p>
            <a:r>
              <a:rPr lang="en-GB"/>
              <a:t>Click to edit Master title style</a:t>
            </a:r>
            <a:endParaRPr lang="en-US"/>
          </a:p>
        </p:txBody>
      </p:sp>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6" name="Freeform 5">
            <a:extLst>
              <a:ext uri="{FF2B5EF4-FFF2-40B4-BE49-F238E27FC236}">
                <a16:creationId xmlns:a16="http://schemas.microsoft.com/office/drawing/2014/main" id="{08DDA232-D2BF-4C20-95E7-C3EDF7F007B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414500022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ts val="5000"/>
              </a:lnSpc>
              <a:defRPr lang="en-GB" sz="4800" b="1" kern="1200" noProof="0" dirty="0">
                <a:solidFill>
                  <a:schemeClr val="bg1"/>
                </a:solidFill>
                <a:latin typeface="+mj-lt"/>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7" name="Freeform 5">
            <a:extLst>
              <a:ext uri="{FF2B5EF4-FFF2-40B4-BE49-F238E27FC236}">
                <a16:creationId xmlns:a16="http://schemas.microsoft.com/office/drawing/2014/main" id="{5F1611E6-5CAE-4418-A639-570A1F89B7E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53704632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chemeClr val="bg1"/>
              </a:solidFill>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1" baseline="0">
                <a:solidFill>
                  <a:schemeClr val="bg1"/>
                </a:solidFill>
                <a:latin typeface="Amadeus" panose="02000506020000020004" pitchFamily="50" charset="0"/>
                <a:cs typeface="72 Black" panose="020B0A04030603020204" pitchFamily="34" charset="0"/>
              </a:defRPr>
            </a:lvl1pPr>
          </a:lstStyle>
          <a:p>
            <a:r>
              <a:rPr lang="en-GB" noProof="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18" name="Freeform 5">
            <a:extLst>
              <a:ext uri="{FF2B5EF4-FFF2-40B4-BE49-F238E27FC236}">
                <a16:creationId xmlns:a16="http://schemas.microsoft.com/office/drawing/2014/main" id="{87CD2232-1DA9-4A1D-9AE6-3DC16992A0B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368745591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8000"/>
          </a:xfrm>
          <a:prstGeom prst="rect">
            <a:avLst/>
          </a:prstGeom>
          <a:solidFill>
            <a:schemeClr val="accent3"/>
          </a:solidFill>
        </p:spPr>
        <p:txBody>
          <a:bodyPr anchor="ctr">
            <a:normAutofit/>
          </a:bodyPr>
          <a:lstStyle>
            <a:lvl1pPr marL="0" indent="0" algn="l">
              <a:buNone/>
              <a:defRPr sz="1800" b="1" baseline="0"/>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609144" y="2458245"/>
            <a:ext cx="4902559" cy="1727779"/>
          </a:xfrm>
          <a:prstGeom prst="rect">
            <a:avLst/>
          </a:prstGeom>
        </p:spPr>
        <p:txBody>
          <a:bodyPr anchor="b">
            <a:noAutofit/>
          </a:bodyPr>
          <a:lstStyle>
            <a:lvl1pPr algn="r">
              <a:lnSpc>
                <a:spcPts val="6000"/>
              </a:lnSpc>
              <a:defRPr sz="6000" b="1" baseline="0">
                <a:solidFill>
                  <a:schemeClr val="bg1"/>
                </a:solidFill>
                <a:latin typeface="+mj-lt"/>
              </a:defRPr>
            </a:lvl1pPr>
          </a:lstStyle>
          <a:p>
            <a:r>
              <a:rPr lang="en-GB" noProof="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337945278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8000"/>
          </a:xfrm>
          <a:prstGeom prst="rect">
            <a:avLst/>
          </a:prstGeom>
          <a:solidFill>
            <a:schemeClr val="accent3"/>
          </a:solidFill>
        </p:spPr>
        <p:txBody>
          <a:bodyPr anchor="ctr">
            <a:normAutofit/>
          </a:bodyPr>
          <a:lstStyle>
            <a:lvl1pPr marL="0" indent="0" algn="ctr">
              <a:buNone/>
              <a:defRPr sz="1800" b="1" baseline="0"/>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ts val="6000"/>
              </a:lnSpc>
              <a:defRPr sz="6000" b="1" baseline="0">
                <a:solidFill>
                  <a:schemeClr val="bg1"/>
                </a:solidFill>
                <a:latin typeface="+mj-lt"/>
              </a:defRPr>
            </a:lvl1pPr>
          </a:lstStyle>
          <a:p>
            <a:r>
              <a:rPr lang="en-GB" noProof="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4384910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p>
            <a:r>
              <a:rPr lang="en-GB"/>
              <a:t>Click icon to add picture</a:t>
            </a:r>
            <a:endParaRPr lang="en-US"/>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830997"/>
          </a:xfrm>
          <a:prstGeom prst="rect">
            <a:avLst/>
          </a:prstGeom>
          <a:noFill/>
        </p:spPr>
        <p:txBody>
          <a:bodyPr wrap="square" rtlCol="0">
            <a:spAutoFit/>
          </a:bodyPr>
          <a:lstStyle/>
          <a:p>
            <a:pPr algn="r"/>
            <a:r>
              <a:rPr lang="en-US" sz="4800" b="1">
                <a:latin typeface="Amadeus" panose="02000506020000020004" pitchFamily="50" charset="0"/>
              </a:rPr>
              <a:t>Agenda</a:t>
            </a:r>
            <a:endParaRPr lang="es-ES" sz="4400" b="1">
              <a:latin typeface="Amadeus" panose="02000506020000020004" pitchFamily="50"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6126715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ts val="6000"/>
              </a:lnSpc>
              <a:defRPr sz="6000" b="1" baseline="0">
                <a:solidFill>
                  <a:schemeClr val="bg1"/>
                </a:solidFill>
                <a:latin typeface="+mj-lt"/>
              </a:defRPr>
            </a:lvl1pPr>
          </a:lstStyle>
          <a:p>
            <a:r>
              <a:rPr lang="en-GB" noProof="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1">
                <a:solidFill>
                  <a:schemeClr val="bg1"/>
                </a:solidFill>
              </a:defRPr>
            </a:lvl1pPr>
          </a:lstStyle>
          <a:p>
            <a:pPr lvl="0"/>
            <a:r>
              <a:rPr lang="en-GB" noProof="0"/>
              <a:t>0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17791256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9" name="Title 1"/>
          <p:cNvSpPr>
            <a:spLocks noGrp="1"/>
          </p:cNvSpPr>
          <p:nvPr>
            <p:ph type="title"/>
          </p:nvPr>
        </p:nvSpPr>
        <p:spPr>
          <a:xfrm>
            <a:off x="622572" y="188913"/>
            <a:ext cx="1060005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0" name="Text Placeholder 19"/>
          <p:cNvSpPr>
            <a:spLocks noGrp="1"/>
          </p:cNvSpPr>
          <p:nvPr>
            <p:ph type="body" sz="quarter" idx="13"/>
          </p:nvPr>
        </p:nvSpPr>
        <p:spPr>
          <a:xfrm>
            <a:off x="621882" y="779412"/>
            <a:ext cx="10576883"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5134154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ts val="6000"/>
              </a:lnSpc>
              <a:defRPr sz="6000" b="1" baseline="0">
                <a:solidFill>
                  <a:schemeClr val="bg1"/>
                </a:solidFill>
                <a:latin typeface="+mj-lt"/>
              </a:defRPr>
            </a:lvl1pPr>
          </a:lstStyle>
          <a:p>
            <a:r>
              <a:rPr lang="en-GB" noProof="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1">
                <a:solidFill>
                  <a:schemeClr val="bg1"/>
                </a:solidFill>
              </a:defRPr>
            </a:lvl1pPr>
          </a:lstStyle>
          <a:p>
            <a:pPr lvl="0"/>
            <a:r>
              <a:rPr lang="en-GB" noProof="0"/>
              <a:t>0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13739040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1" kern="1200" noProof="0" dirty="0" smtClean="0">
                <a:solidFill>
                  <a:schemeClr val="tx2"/>
                </a:solidFill>
                <a:latin typeface="+mj-lt"/>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9" name="Title Placeholder 1">
            <a:extLst>
              <a:ext uri="{FF2B5EF4-FFF2-40B4-BE49-F238E27FC236}">
                <a16:creationId xmlns:a16="http://schemas.microsoft.com/office/drawing/2014/main" id="{AF6C4D8C-B518-490C-AD2B-FAB309AF376A}"/>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tx1"/>
                </a:solidFill>
              </a:rPr>
              <a:t>© Amadeus IT Group and its affiliates and subsidiaries</a:t>
            </a:r>
          </a:p>
        </p:txBody>
      </p:sp>
    </p:spTree>
    <p:extLst>
      <p:ext uri="{BB962C8B-B14F-4D97-AF65-F5344CB8AC3E}">
        <p14:creationId xmlns:p14="http://schemas.microsoft.com/office/powerpoint/2010/main" val="4797151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80068" cy="6858000"/>
          </a:xfrm>
          <a:prstGeom prst="rect">
            <a:avLst/>
          </a:prstGeom>
          <a:solidFill>
            <a:schemeClr val="accent3"/>
          </a:solidFill>
        </p:spPr>
        <p:txBody>
          <a:bodyPr/>
          <a:lstStyle/>
          <a:p>
            <a:r>
              <a:rPr lang="en-GB"/>
              <a:t>Click icon to add picture</a:t>
            </a:r>
            <a:endParaRPr lang="en-US"/>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1" kern="1200" noProof="0" dirty="0">
                <a:solidFill>
                  <a:schemeClr val="bg1"/>
                </a:solidFill>
                <a:latin typeface="+mj-lt"/>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240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22769589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p>
            <a:r>
              <a:rPr lang="en-GB"/>
              <a:t>Click icon to add picture</a:t>
            </a:r>
            <a:endParaRPr lang="en-US"/>
          </a:p>
        </p:txBody>
      </p:sp>
      <p:sp>
        <p:nvSpPr>
          <p:cNvPr id="10" name="Title 1"/>
          <p:cNvSpPr>
            <a:spLocks noGrp="1"/>
          </p:cNvSpPr>
          <p:nvPr>
            <p:ph type="title"/>
          </p:nvPr>
        </p:nvSpPr>
        <p:spPr>
          <a:xfrm>
            <a:off x="287338" y="3053017"/>
            <a:ext cx="11460377" cy="886766"/>
          </a:xfrm>
          <a:prstGeom prst="rect">
            <a:avLst/>
          </a:prstGeom>
        </p:spPr>
        <p:txBody>
          <a:bodyPr anchor="b">
            <a:normAutofit/>
          </a:bodyPr>
          <a:lstStyle>
            <a:lvl1pPr algn="ctr">
              <a:lnSpc>
                <a:spcPts val="5000"/>
              </a:lnSpc>
              <a:defRPr lang="en-GB" sz="6000" b="1" kern="1200" noProof="0" dirty="0">
                <a:solidFill>
                  <a:schemeClr val="bg1"/>
                </a:solidFill>
                <a:latin typeface="+mj-lt"/>
                <a:ea typeface="+mj-ea"/>
                <a:cs typeface="+mj-cs"/>
              </a:defRPr>
            </a:lvl1pPr>
          </a:lstStyle>
          <a:p>
            <a:r>
              <a:rPr lang="en-GB" noProof="0"/>
              <a:t>Click to edit Master title style</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335941849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192000" cy="6858000"/>
          </a:xfrm>
          <a:prstGeom prst="rect">
            <a:avLst/>
          </a:prstGeom>
          <a:solidFill>
            <a:schemeClr val="accent3"/>
          </a:solidFill>
        </p:spPr>
        <p:txBody>
          <a:bodyPr anchor="ctr">
            <a:normAutofit/>
          </a:bodyPr>
          <a:lstStyle>
            <a:lvl1pPr marL="0" indent="0" algn="ctr">
              <a:buNone/>
              <a:defRPr sz="1800" b="1" baseline="0"/>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ts val="6000"/>
              </a:lnSpc>
              <a:defRPr sz="6000" b="1" baseline="0">
                <a:solidFill>
                  <a:schemeClr val="bg1"/>
                </a:solidFill>
                <a:latin typeface="+mj-lt"/>
              </a:defRPr>
            </a:lvl1pPr>
          </a:lstStyle>
          <a:p>
            <a:r>
              <a:rPr lang="en-GB" noProof="0"/>
              <a:t>Thanks!</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cxnSp>
        <p:nvCxnSpPr>
          <p:cNvPr id="12" name="Straight Connector 11">
            <a:extLst>
              <a:ext uri="{FF2B5EF4-FFF2-40B4-BE49-F238E27FC236}">
                <a16:creationId xmlns:a16="http://schemas.microsoft.com/office/drawing/2014/main" id="{7629B5C9-B7D1-4505-9A07-FAF43A3367FB}"/>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chemeClr val="bg1"/>
                </a:solidFill>
              </a:rPr>
              <a:t>© Amadeus IT Group and its affiliates and subsidiaries</a:t>
            </a:r>
          </a:p>
        </p:txBody>
      </p:sp>
    </p:spTree>
    <p:extLst>
      <p:ext uri="{BB962C8B-B14F-4D97-AF65-F5344CB8AC3E}">
        <p14:creationId xmlns:p14="http://schemas.microsoft.com/office/powerpoint/2010/main" val="291254192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a:prstGeom prst="rect">
            <a:avLst/>
          </a:prstGeom>
        </p:spPr>
        <p:txBody>
          <a:bodyPr anchor="b">
            <a:noAutofit/>
          </a:bodyPr>
          <a:lstStyle>
            <a:lvl1pPr>
              <a:lnSpc>
                <a:spcPts val="6000"/>
              </a:lnSpc>
              <a:defRPr sz="6000" b="0" i="0" baseline="0">
                <a:solidFill>
                  <a:schemeClr val="tx2"/>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576265" y="2277861"/>
            <a:ext cx="6773659" cy="864000"/>
          </a:xfrm>
          <a:prstGeom prst="rect">
            <a:avLst/>
          </a:prstGeom>
        </p:spPr>
        <p:txBody>
          <a:bodyPr>
            <a:noAutofit/>
          </a:bodyPr>
          <a:lstStyle>
            <a:lvl1pPr marL="0" indent="0">
              <a:lnSpc>
                <a:spcPct val="100000"/>
              </a:lnSpc>
              <a:buNone/>
              <a:defRPr sz="2400" b="0" i="0" baseline="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rgbClr val="323232"/>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40680118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a:prstGeom prst="rect">
            <a:avLst/>
          </a:prstGeom>
        </p:spPr>
        <p:txBody>
          <a:bodyPr tIns="0" anchor="b">
            <a:noAutofit/>
          </a:bodyPr>
          <a:lstStyle>
            <a:lvl1pPr>
              <a:lnSpc>
                <a:spcPct val="100000"/>
              </a:lnSpc>
              <a:defRPr sz="4800" b="0" i="0">
                <a:solidFill>
                  <a:schemeClr val="tx2"/>
                </a:solidFill>
                <a:latin typeface="Calibri Light" panose="020F0302020204030204" pitchFamily="34" charset="0"/>
              </a:defRPr>
            </a:lvl1pPr>
          </a:lstStyle>
          <a:p>
            <a:r>
              <a:rPr lang="en-GB" noProof="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0" i="0" baseline="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6901093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830997"/>
          </a:xfrm>
          <a:prstGeom prst="rect">
            <a:avLst/>
          </a:prstGeom>
          <a:noFill/>
        </p:spPr>
        <p:txBody>
          <a:bodyPr wrap="square" rtlCol="0">
            <a:spAutoFit/>
          </a:bodyPr>
          <a:lstStyle/>
          <a:p>
            <a:r>
              <a:rPr lang="en-US" sz="4800" b="0" i="0">
                <a:latin typeface="Calibri Light" panose="020F0302020204030204" pitchFamily="34" charset="0"/>
              </a:rPr>
              <a:t>Agenda</a:t>
            </a:r>
            <a:endParaRPr lang="es-ES" sz="4000" b="0" i="0">
              <a:latin typeface="Calibri Light" panose="020F0302020204030204" pitchFamily="34" charset="0"/>
            </a:endParaRPr>
          </a:p>
        </p:txBody>
      </p:sp>
    </p:spTree>
    <p:extLst>
      <p:ext uri="{BB962C8B-B14F-4D97-AF65-F5344CB8AC3E}">
        <p14:creationId xmlns:p14="http://schemas.microsoft.com/office/powerpoint/2010/main" val="2923801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tx2"/>
                </a:solidFill>
                <a:latin typeface="Calibri Light" panose="020F0302020204030204" pitchFamily="34" charset="0"/>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Tree>
    <p:extLst>
      <p:ext uri="{BB962C8B-B14F-4D97-AF65-F5344CB8AC3E}">
        <p14:creationId xmlns:p14="http://schemas.microsoft.com/office/powerpoint/2010/main" val="29137301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tx2"/>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7896014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b="0" i="0">
              <a:latin typeface="Calibri Light" panose="020F0302020204030204" pitchFamily="34" charset="0"/>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tx1"/>
                </a:solidFill>
                <a:latin typeface="Calibri Light" panose="020F0302020204030204" pitchFamily="34" charset="0"/>
                <a:cs typeface="72 Black" panose="020B0A04030603020204" pitchFamily="34" charset="0"/>
              </a:defRPr>
            </a:lvl1pPr>
          </a:lstStyle>
          <a:p>
            <a:r>
              <a:rPr lang="en-GB" noProof="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52882234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6152122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622570" y="198641"/>
            <a:ext cx="10898448"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2985" y="799079"/>
            <a:ext cx="10898236"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03675852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1788714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7" name="Title 1"/>
          <p:cNvSpPr>
            <a:spLocks noGrp="1"/>
          </p:cNvSpPr>
          <p:nvPr>
            <p:ph type="title"/>
          </p:nvPr>
        </p:nvSpPr>
        <p:spPr>
          <a:xfrm>
            <a:off x="622570" y="188913"/>
            <a:ext cx="10879414"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53" y="779412"/>
            <a:ext cx="10855628"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306931785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9"/>
            <a:ext cx="4560866" cy="1349538"/>
          </a:xfrm>
          <a:prstGeom prst="rect">
            <a:avLst/>
          </a:prstGeom>
        </p:spPr>
        <p:txBody>
          <a:bodyPr>
            <a:noAutofit/>
          </a:bodyPr>
          <a:lstStyle>
            <a:lvl1pPr marL="0" indent="0">
              <a:lnSpc>
                <a:spcPts val="1425"/>
              </a:lnSpc>
              <a:buNone/>
              <a:defRPr sz="240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3" name="Title 1"/>
          <p:cNvSpPr>
            <a:spLocks noGrp="1"/>
          </p:cNvSpPr>
          <p:nvPr>
            <p:ph type="title"/>
          </p:nvPr>
        </p:nvSpPr>
        <p:spPr>
          <a:xfrm>
            <a:off x="622570" y="188913"/>
            <a:ext cx="10928053"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20"/>
          </p:nvPr>
        </p:nvSpPr>
        <p:spPr>
          <a:xfrm>
            <a:off x="621860" y="779412"/>
            <a:ext cx="10904161"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78308010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Tree>
    <p:extLst>
      <p:ext uri="{BB962C8B-B14F-4D97-AF65-F5344CB8AC3E}">
        <p14:creationId xmlns:p14="http://schemas.microsoft.com/office/powerpoint/2010/main" val="188646077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tx2"/>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1427235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2000" b="0" i="0">
                <a:solidFill>
                  <a:srgbClr val="323232"/>
                </a:solidFill>
                <a:latin typeface="Calibri Light" panose="020F0302020204030204" pitchFamily="34" charset="0"/>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GB" noProof="0"/>
              <a:t>Click to edit Master text styles</a:t>
            </a:r>
          </a:p>
        </p:txBody>
      </p:sp>
      <p:sp>
        <p:nvSpPr>
          <p:cNvPr id="24" name="Title 1"/>
          <p:cNvSpPr>
            <a:spLocks noGrp="1"/>
          </p:cNvSpPr>
          <p:nvPr>
            <p:ph type="title"/>
          </p:nvPr>
        </p:nvSpPr>
        <p:spPr>
          <a:xfrm>
            <a:off x="622570" y="188913"/>
            <a:ext cx="902702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5" name="Text Placeholder 19"/>
          <p:cNvSpPr>
            <a:spLocks noGrp="1"/>
          </p:cNvSpPr>
          <p:nvPr>
            <p:ph type="body" sz="quarter" idx="13"/>
          </p:nvPr>
        </p:nvSpPr>
        <p:spPr>
          <a:xfrm>
            <a:off x="620990" y="787824"/>
            <a:ext cx="4807728" cy="4515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30239594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5" name="Title 1"/>
          <p:cNvSpPr>
            <a:spLocks noGrp="1"/>
          </p:cNvSpPr>
          <p:nvPr>
            <p:ph type="title"/>
          </p:nvPr>
        </p:nvSpPr>
        <p:spPr>
          <a:xfrm>
            <a:off x="612843" y="188913"/>
            <a:ext cx="10183704"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7" name="Text Placeholder 19"/>
          <p:cNvSpPr>
            <a:spLocks noGrp="1"/>
          </p:cNvSpPr>
          <p:nvPr>
            <p:ph type="body" sz="quarter" idx="13"/>
          </p:nvPr>
        </p:nvSpPr>
        <p:spPr>
          <a:xfrm>
            <a:off x="621839" y="779414"/>
            <a:ext cx="10161440" cy="37614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07176916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7" name="Title 1"/>
          <p:cNvSpPr>
            <a:spLocks noGrp="1"/>
          </p:cNvSpPr>
          <p:nvPr>
            <p:ph type="title"/>
          </p:nvPr>
        </p:nvSpPr>
        <p:spPr>
          <a:xfrm>
            <a:off x="622572" y="188913"/>
            <a:ext cx="1093778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1" name="Text Placeholder 19"/>
          <p:cNvSpPr>
            <a:spLocks noGrp="1"/>
          </p:cNvSpPr>
          <p:nvPr>
            <p:ph type="body" sz="quarter" idx="13"/>
          </p:nvPr>
        </p:nvSpPr>
        <p:spPr>
          <a:xfrm>
            <a:off x="621882" y="779413"/>
            <a:ext cx="10913867" cy="4258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9058103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4" name="Title 1"/>
          <p:cNvSpPr>
            <a:spLocks noGrp="1"/>
          </p:cNvSpPr>
          <p:nvPr>
            <p:ph type="title" hasCustomPrompt="1"/>
          </p:nvPr>
        </p:nvSpPr>
        <p:spPr>
          <a:xfrm>
            <a:off x="6807837" y="2016688"/>
            <a:ext cx="4601584" cy="1325563"/>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491726D4-2FB5-4D17-BC26-A8D05A9DF958}"/>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0979456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i="0">
                <a:solidFill>
                  <a:schemeClr val="accent2"/>
                </a:solidFill>
                <a:latin typeface="Calibri Light" panose="020F0302020204030204" pitchFamily="34" charset="0"/>
              </a:defRPr>
            </a:lvl1pPr>
          </a:lstStyle>
          <a:p>
            <a:pPr lvl="0"/>
            <a:r>
              <a:rPr lang="en-GB" noProof="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6" name="Title 1"/>
          <p:cNvSpPr>
            <a:spLocks noGrp="1"/>
          </p:cNvSpPr>
          <p:nvPr>
            <p:ph type="title"/>
          </p:nvPr>
        </p:nvSpPr>
        <p:spPr>
          <a:xfrm>
            <a:off x="622570" y="188913"/>
            <a:ext cx="1090859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9" name="Text Placeholder 19"/>
          <p:cNvSpPr>
            <a:spLocks noGrp="1"/>
          </p:cNvSpPr>
          <p:nvPr>
            <p:ph type="body" sz="quarter" idx="13"/>
          </p:nvPr>
        </p:nvSpPr>
        <p:spPr>
          <a:xfrm>
            <a:off x="621818" y="779413"/>
            <a:ext cx="10884747" cy="40611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42894983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4</a:t>
            </a:r>
          </a:p>
        </p:txBody>
      </p:sp>
      <p:sp>
        <p:nvSpPr>
          <p:cNvPr id="23" name="Title 1"/>
          <p:cNvSpPr>
            <a:spLocks noGrp="1"/>
          </p:cNvSpPr>
          <p:nvPr>
            <p:ph type="title"/>
          </p:nvPr>
        </p:nvSpPr>
        <p:spPr>
          <a:xfrm>
            <a:off x="622938" y="188913"/>
            <a:ext cx="1093741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4" name="Text Placeholder 19"/>
          <p:cNvSpPr>
            <a:spLocks noGrp="1"/>
          </p:cNvSpPr>
          <p:nvPr>
            <p:ph type="body" sz="quarter" idx="13"/>
          </p:nvPr>
        </p:nvSpPr>
        <p:spPr>
          <a:xfrm>
            <a:off x="622249" y="779413"/>
            <a:ext cx="10913500" cy="353817"/>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77111907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4</a:t>
            </a:r>
          </a:p>
        </p:txBody>
      </p:sp>
      <p:sp>
        <p:nvSpPr>
          <p:cNvPr id="25" name="Title 1"/>
          <p:cNvSpPr>
            <a:spLocks noGrp="1"/>
          </p:cNvSpPr>
          <p:nvPr>
            <p:ph type="title"/>
          </p:nvPr>
        </p:nvSpPr>
        <p:spPr>
          <a:xfrm>
            <a:off x="622570" y="188913"/>
            <a:ext cx="10918325"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9" name="Text Placeholder 19"/>
          <p:cNvSpPr>
            <a:spLocks noGrp="1"/>
          </p:cNvSpPr>
          <p:nvPr>
            <p:ph type="body" sz="quarter" idx="13"/>
          </p:nvPr>
        </p:nvSpPr>
        <p:spPr>
          <a:xfrm>
            <a:off x="621839" y="779412"/>
            <a:ext cx="1089445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39753700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5" name="Title 1"/>
          <p:cNvSpPr>
            <a:spLocks noGrp="1"/>
          </p:cNvSpPr>
          <p:nvPr>
            <p:ph type="title"/>
          </p:nvPr>
        </p:nvSpPr>
        <p:spPr>
          <a:xfrm>
            <a:off x="627403" y="188913"/>
            <a:ext cx="1089325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7403" y="779412"/>
            <a:ext cx="108694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3325676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0" i="0" baseline="0">
                <a:solidFill>
                  <a:schemeClr val="accent2"/>
                </a:solidFill>
                <a:latin typeface="Calibri Light" panose="020F0302020204030204" pitchFamily="34" charset="0"/>
              </a:defRPr>
            </a:lvl1pPr>
          </a:lstStyle>
          <a:p>
            <a:pPr lvl="0"/>
            <a:r>
              <a:rPr lang="en-GB" noProof="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buNone/>
              <a:defRPr sz="2800" b="0" i="0" baseline="0">
                <a:solidFill>
                  <a:schemeClr val="accent2"/>
                </a:solidFill>
                <a:latin typeface="Calibri Light" panose="020F0302020204030204" pitchFamily="34" charset="0"/>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0" i="0" baseline="0">
                <a:solidFill>
                  <a:schemeClr val="accent2"/>
                </a:solidFill>
                <a:latin typeface="Calibri Light" panose="020F0302020204030204" pitchFamily="34" charset="0"/>
              </a:defRPr>
            </a:lvl1pPr>
          </a:lstStyle>
          <a:p>
            <a:pPr lvl="0"/>
            <a:r>
              <a:rPr lang="en-GB" noProof="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538163" indent="-139700">
              <a:lnSpc>
                <a:spcPct val="100000"/>
              </a:lnSpc>
              <a:defRPr sz="2400" b="0" i="0">
                <a:solidFill>
                  <a:srgbClr val="323232"/>
                </a:solidFill>
                <a:latin typeface="Calibri Light" panose="020F0302020204030204" pitchFamily="34" charset="0"/>
              </a:defRPr>
            </a:lvl2pPr>
            <a:lvl3pPr marL="985838" indent="-138113">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400" b="0" i="0">
                <a:solidFill>
                  <a:srgbClr val="323232"/>
                </a:solidFill>
                <a:latin typeface="Calibri Light" panose="020F0302020204030204" pitchFamily="34" charset="0"/>
              </a:defRPr>
            </a:lvl2pPr>
            <a:lvl3pPr marL="1076325" indent="-161925">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000" b="0" i="0">
                <a:solidFill>
                  <a:srgbClr val="323232"/>
                </a:solidFill>
                <a:latin typeface="Calibri Light" panose="020F0302020204030204" pitchFamily="34" charset="0"/>
              </a:defRPr>
            </a:lvl2pPr>
            <a:lvl3pPr marL="1076325" indent="-228600">
              <a:lnSpc>
                <a:spcPct val="100000"/>
              </a:lnSpc>
              <a:defRPr sz="1600" b="0" i="0">
                <a:solidFill>
                  <a:srgbClr val="323232"/>
                </a:solidFill>
                <a:latin typeface="Calibri Light" panose="020F0302020204030204" pitchFamily="34" charset="0"/>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14" name="Title 1"/>
          <p:cNvSpPr>
            <a:spLocks noGrp="1"/>
          </p:cNvSpPr>
          <p:nvPr>
            <p:ph type="title"/>
          </p:nvPr>
        </p:nvSpPr>
        <p:spPr>
          <a:xfrm>
            <a:off x="625120" y="188913"/>
            <a:ext cx="10944959"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4447" y="779412"/>
            <a:ext cx="10921030"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27346084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9" name="Title 1"/>
          <p:cNvSpPr>
            <a:spLocks noGrp="1"/>
          </p:cNvSpPr>
          <p:nvPr>
            <p:ph type="title"/>
          </p:nvPr>
        </p:nvSpPr>
        <p:spPr>
          <a:xfrm>
            <a:off x="622572" y="188913"/>
            <a:ext cx="1060005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0" name="Text Placeholder 19"/>
          <p:cNvSpPr>
            <a:spLocks noGrp="1"/>
          </p:cNvSpPr>
          <p:nvPr>
            <p:ph type="body" sz="quarter" idx="13"/>
          </p:nvPr>
        </p:nvSpPr>
        <p:spPr>
          <a:xfrm>
            <a:off x="621882" y="779412"/>
            <a:ext cx="10576883"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5727637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b="0" i="0">
              <a:latin typeface="Calibri Light" panose="020F0302020204030204" pitchFamily="34" charset="0"/>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tx1"/>
                </a:solidFill>
                <a:latin typeface="Calibri Light" panose="020F0302020204030204" pitchFamily="34" charset="0"/>
                <a:cs typeface="72 Black" panose="020B0A04030603020204" pitchFamily="34" charset="0"/>
              </a:defRPr>
            </a:lvl1pPr>
          </a:lstStyle>
          <a:p>
            <a:r>
              <a:rPr lang="en-GB" noProof="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86343088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4" name="Title 1"/>
          <p:cNvSpPr>
            <a:spLocks noGrp="1"/>
          </p:cNvSpPr>
          <p:nvPr>
            <p:ph type="title" hasCustomPrompt="1"/>
          </p:nvPr>
        </p:nvSpPr>
        <p:spPr>
          <a:xfrm>
            <a:off x="6807837" y="2016688"/>
            <a:ext cx="4601584" cy="1325563"/>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491726D4-2FB5-4D17-BC26-A8D05A9DF958}"/>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36321069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2235201" y="1801092"/>
            <a:ext cx="7467796" cy="1913318"/>
          </a:xfrm>
          <a:prstGeom prst="rect">
            <a:avLst/>
          </a:prstGeom>
        </p:spPr>
        <p:txBody>
          <a:bodyPr anchor="b">
            <a:norm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574B07EB-BC85-4341-B882-7ADA0F4E9B5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00135174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bg2"/>
                </a:solidFill>
                <a:latin typeface="Calibri Light" panose="020F0302020204030204" pitchFamily="34" charset="0"/>
              </a:defRPr>
            </a:lvl1pPr>
          </a:lstStyle>
          <a:p>
            <a:r>
              <a:rPr lang="en-GB" noProof="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36A390C1-AAA9-4C50-82E8-2EEA474B0BEB}"/>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560371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2235201" y="1801092"/>
            <a:ext cx="7467796" cy="1913318"/>
          </a:xfrm>
          <a:prstGeom prst="rect">
            <a:avLst/>
          </a:prstGeom>
        </p:spPr>
        <p:txBody>
          <a:bodyPr anchor="b">
            <a:norm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574B07EB-BC85-4341-B882-7ADA0F4E9B5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6428073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bg1"/>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3"/>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3CC17AF5-E76C-4559-B749-924D696639A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58365441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solidFill>
                  <a:schemeClr val="bg1"/>
                </a:solidFill>
                <a:latin typeface="Calibri Light" panose="020F0302020204030204" pitchFamily="34" charset="0"/>
              </a:defRPr>
            </a:lvl1pPr>
          </a:lstStyle>
          <a:p>
            <a:r>
              <a:rPr lang="en-GB"/>
              <a:t>Click to edit Master title style</a:t>
            </a:r>
            <a:endParaRPr lang="en-US"/>
          </a:p>
        </p:txBody>
      </p:sp>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08DDA232-D2BF-4C20-95E7-C3EDF7F007B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52859510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5F1611E6-5CAE-4418-A639-570A1F89B7E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75605642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solidFill>
                <a:schemeClr val="bg1"/>
              </a:solidFill>
              <a:latin typeface="Calibri Light" panose="020F0302020204030204" pitchFamily="34" charset="0"/>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bg1"/>
                </a:solidFill>
                <a:latin typeface="Calibri Light" panose="020F0302020204030204" pitchFamily="34" charset="0"/>
                <a:cs typeface="72 Black" panose="020B0A04030603020204" pitchFamily="34" charset="0"/>
              </a:defRPr>
            </a:lvl1pPr>
          </a:lstStyle>
          <a:p>
            <a:r>
              <a:rPr lang="en-GB" noProof="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18" name="Freeform 5">
            <a:extLst>
              <a:ext uri="{FF2B5EF4-FFF2-40B4-BE49-F238E27FC236}">
                <a16:creationId xmlns:a16="http://schemas.microsoft.com/office/drawing/2014/main" id="{87CD2232-1DA9-4A1D-9AE6-3DC16992A0B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74134179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8000"/>
          </a:xfrm>
          <a:prstGeom prst="rect">
            <a:avLst/>
          </a:prstGeom>
          <a:solidFill>
            <a:schemeClr val="accent3"/>
          </a:solidFill>
        </p:spPr>
        <p:txBody>
          <a:bodyPr anchor="ctr">
            <a:normAutofit/>
          </a:bodyPr>
          <a:lstStyle>
            <a:lvl1pPr marL="0" indent="0" algn="l">
              <a:buNone/>
              <a:defRPr sz="1800" b="0" i="0" baseline="0">
                <a:latin typeface="Calibri Light" panose="020F0302020204030204" pitchFamily="34" charset="0"/>
              </a:defRPr>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609144" y="2458245"/>
            <a:ext cx="4902559" cy="1727779"/>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51927480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5092135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830997"/>
          </a:xfrm>
          <a:prstGeom prst="rect">
            <a:avLst/>
          </a:prstGeom>
          <a:noFill/>
        </p:spPr>
        <p:txBody>
          <a:bodyPr wrap="square" rtlCol="0">
            <a:spAutoFit/>
          </a:bodyPr>
          <a:lstStyle/>
          <a:p>
            <a:pPr algn="r"/>
            <a:r>
              <a:rPr lang="en-US" sz="4800" b="0" i="0">
                <a:latin typeface="Calibri Light" panose="020F0302020204030204" pitchFamily="34" charset="0"/>
              </a:rPr>
              <a:t>Agenda</a:t>
            </a:r>
            <a:endParaRPr lang="es-ES" sz="4400" b="0" i="0">
              <a:latin typeface="Calibri Light" panose="020F0302020204030204" pitchFamily="34"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305159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93630211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07297465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9" name="Title Placeholder 1">
            <a:extLst>
              <a:ext uri="{FF2B5EF4-FFF2-40B4-BE49-F238E27FC236}">
                <a16:creationId xmlns:a16="http://schemas.microsoft.com/office/drawing/2014/main" id="{AF6C4D8C-B518-490C-AD2B-FAB309AF376A}"/>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tx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636779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bg2"/>
                </a:solidFill>
                <a:latin typeface="Calibri Light" panose="020F0302020204030204" pitchFamily="34" charset="0"/>
              </a:defRPr>
            </a:lvl1pPr>
          </a:lstStyle>
          <a:p>
            <a:r>
              <a:rPr lang="en-GB" noProof="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36A390C1-AAA9-4C50-82E8-2EEA474B0BEB}"/>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4314822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80068"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240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0600645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p:nvPr>
        </p:nvSpPr>
        <p:spPr>
          <a:xfrm>
            <a:off x="287338" y="3053017"/>
            <a:ext cx="11460377" cy="886766"/>
          </a:xfrm>
          <a:prstGeom prst="rect">
            <a:avLst/>
          </a:prstGeom>
        </p:spPr>
        <p:txBody>
          <a:bodyPr anchor="b">
            <a:normAutofit/>
          </a:bodyPr>
          <a:lstStyle>
            <a:lvl1pPr algn="ctr">
              <a:lnSpc>
                <a:spcPts val="5000"/>
              </a:lnSpc>
              <a:defRPr lang="en-GB" sz="6000" b="0" i="0" kern="1200" noProof="0" dirty="0">
                <a:solidFill>
                  <a:schemeClr val="bg1"/>
                </a:solidFill>
                <a:latin typeface="Calibri Light" panose="020F0302020204030204" pitchFamily="34" charset="0"/>
                <a:ea typeface="+mj-ea"/>
                <a:cs typeface="+mj-cs"/>
              </a:defRPr>
            </a:lvl1pPr>
          </a:lstStyle>
          <a:p>
            <a:r>
              <a:rPr lang="en-GB" noProof="0"/>
              <a:t>Click to edit Master title style</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82273633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192000"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Thanks!</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cxnSp>
        <p:nvCxnSpPr>
          <p:cNvPr id="12" name="Straight Connector 11">
            <a:extLst>
              <a:ext uri="{FF2B5EF4-FFF2-40B4-BE49-F238E27FC236}">
                <a16:creationId xmlns:a16="http://schemas.microsoft.com/office/drawing/2014/main" id="{7629B5C9-B7D1-4505-9A07-FAF43A3367FB}"/>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b="0" i="0">
              <a:latin typeface="Calibri Light" panose="020F0302020204030204" pitchFamily="34" charset="0"/>
            </a:endParaRPr>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0647955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Bullets slide">
    <p:spTree>
      <p:nvGrpSpPr>
        <p:cNvPr id="1" name=""/>
        <p:cNvGrpSpPr/>
        <p:nvPr/>
      </p:nvGrpSpPr>
      <p:grpSpPr>
        <a:xfrm>
          <a:off x="0" y="0"/>
          <a:ext cx="0" cy="0"/>
          <a:chOff x="0" y="0"/>
          <a:chExt cx="0" cy="0"/>
        </a:xfrm>
      </p:grpSpPr>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b="0" i="0">
                <a:solidFill>
                  <a:schemeClr val="bg1">
                    <a:lumMod val="50000"/>
                  </a:schemeClr>
                </a:solidFill>
                <a:latin typeface="Calibri Light" panose="020F0302020204030204" pitchFamily="34" charset="0"/>
              </a:defRPr>
            </a:lvl1pPr>
          </a:lstStyle>
          <a:p>
            <a:fld id="{E57627FB-D816-4EA7-98E3-793F2D9BC93A}" type="slidenum">
              <a:rPr lang="en-US" smtClean="0"/>
              <a:pPr/>
              <a:t>‹#›</a:t>
            </a:fld>
            <a:endParaRPr lang="en-US"/>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b="0" i="0">
                <a:solidFill>
                  <a:schemeClr val="bg1">
                    <a:lumMod val="65000"/>
                  </a:schemeClr>
                </a:solidFill>
                <a:latin typeface="Calibri Light" panose="020F0302020204030204" pitchFamily="34" charset="0"/>
              </a:defRPr>
            </a:lvl1pPr>
          </a:lstStyle>
          <a:p>
            <a:r>
              <a:rPr lang="en-US"/>
              <a:t>©Amadeus North America, Inc.</a:t>
            </a:r>
          </a:p>
        </p:txBody>
      </p:sp>
      <p:sp>
        <p:nvSpPr>
          <p:cNvPr id="11" name="Title 1"/>
          <p:cNvSpPr>
            <a:spLocks noGrp="1"/>
          </p:cNvSpPr>
          <p:nvPr>
            <p:ph type="title"/>
          </p:nvPr>
        </p:nvSpPr>
        <p:spPr>
          <a:xfrm>
            <a:off x="268224" y="296865"/>
            <a:ext cx="11253216" cy="482549"/>
          </a:xfrm>
        </p:spPr>
        <p:txBody>
          <a:bodyPr anchor="t">
            <a:noAutofit/>
          </a:bodyPr>
          <a:lstStyle>
            <a:lvl1pPr>
              <a:defRPr sz="3200" b="0" i="0">
                <a:solidFill>
                  <a:srgbClr val="005EB8"/>
                </a:solidFill>
                <a:latin typeface="Calibri Light" panose="020F0302020204030204" pitchFamily="34" charset="0"/>
              </a:defRPr>
            </a:lvl1pPr>
          </a:lstStyle>
          <a:p>
            <a:r>
              <a:rPr lang="en-US" noProof="0"/>
              <a:t>Click to edit Master title style</a:t>
            </a:r>
          </a:p>
        </p:txBody>
      </p:sp>
      <p:sp>
        <p:nvSpPr>
          <p:cNvPr id="15"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b="0" i="0">
                <a:solidFill>
                  <a:srgbClr val="7F7F7F"/>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61156821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Standard + Coun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Calibri Light" panose="020F0302020204030204" pitchFamily="34" charset="0"/>
            </a:endParaRPr>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0" i="0">
              <a:solidFill>
                <a:schemeClr val="tx1"/>
              </a:solidFill>
              <a:latin typeface="Calibri Light" panose="020F0302020204030204" pitchFamily="34" charset="0"/>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89612" cy="230832"/>
          </a:xfrm>
          <a:prstGeom prst="rect">
            <a:avLst/>
          </a:prstGeom>
        </p:spPr>
        <p:txBody>
          <a:bodyPr wrap="none">
            <a:spAutoFit/>
          </a:bodyPr>
          <a:lstStyle>
            <a:lvl1pPr marL="0" indent="0" algn="l">
              <a:lnSpc>
                <a:spcPct val="100000"/>
              </a:lnSpc>
              <a:buNone/>
              <a:defRPr sz="900" b="0" i="0">
                <a:solidFill>
                  <a:schemeClr val="accent2"/>
                </a:solidFill>
                <a:latin typeface="Calibri Light" panose="020F0302020204030204" pitchFamily="34" charset="0"/>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b="0" i="0">
                <a:solidFill>
                  <a:schemeClr val="accent2"/>
                </a:solidFill>
                <a:latin typeface="Calibri Light" panose="020F0302020204030204" pitchFamily="34" charset="0"/>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pic>
        <p:nvPicPr>
          <p:cNvPr id="26" name="Picture 25">
            <a:extLst>
              <a:ext uri="{FF2B5EF4-FFF2-40B4-BE49-F238E27FC236}">
                <a16:creationId xmlns:a16="http://schemas.microsoft.com/office/drawing/2014/main" id="{43FB8492-7937-5B4C-811E-EF34007284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7917" y="95451"/>
            <a:ext cx="345445" cy="345445"/>
          </a:xfrm>
          <a:prstGeom prst="ellipse">
            <a:avLst/>
          </a:prstGeom>
          <a:ln w="12700">
            <a:solidFill>
              <a:schemeClr val="bg2"/>
            </a:solidFill>
          </a:ln>
        </p:spPr>
      </p:pic>
      <p:sp>
        <p:nvSpPr>
          <p:cNvPr id="18" name="Content Placeholder 47">
            <a:extLst>
              <a:ext uri="{FF2B5EF4-FFF2-40B4-BE49-F238E27FC236}">
                <a16:creationId xmlns:a16="http://schemas.microsoft.com/office/drawing/2014/main" id="{1A5F5276-5A52-4B44-AEDE-57EBC294D06D}"/>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b="0" i="0">
                <a:solidFill>
                  <a:schemeClr val="tx1"/>
                </a:solidFill>
                <a:latin typeface="Calibri Light" panose="020F0302020204030204" pitchFamily="34" charset="0"/>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
        <p:nvSpPr>
          <p:cNvPr id="19" name="Footer Placeholder 4">
            <a:extLst>
              <a:ext uri="{FF2B5EF4-FFF2-40B4-BE49-F238E27FC236}">
                <a16:creationId xmlns:a16="http://schemas.microsoft.com/office/drawing/2014/main" id="{1BE21BE3-A810-304B-B4DF-3AEDBB60BF24}"/>
              </a:ext>
            </a:extLst>
          </p:cNvPr>
          <p:cNvSpPr txBox="1">
            <a:spLocks/>
          </p:cNvSpPr>
          <p:nvPr userDrawn="1"/>
        </p:nvSpPr>
        <p:spPr>
          <a:xfrm rot="16200000">
            <a:off x="10535707" y="5201706"/>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rgbClr val="FFFFFF">
                    <a:lumMod val="65000"/>
                  </a:srgbClr>
                </a:solidFill>
                <a:latin typeface="Calibri Light" panose="020F0302020204030204"/>
              </a:rPr>
              <a:t>© Amadeus IT Group and its affiliates and subsidiaries</a:t>
            </a:r>
          </a:p>
        </p:txBody>
      </p:sp>
      <p:pic>
        <p:nvPicPr>
          <p:cNvPr id="20" name="Graphic 19">
            <a:extLst>
              <a:ext uri="{FF2B5EF4-FFF2-40B4-BE49-F238E27FC236}">
                <a16:creationId xmlns:a16="http://schemas.microsoft.com/office/drawing/2014/main" id="{1C408F52-7C87-8C43-9963-0C859F431FA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79631" y="328121"/>
            <a:ext cx="121343" cy="121343"/>
          </a:xfrm>
          <a:prstGeom prst="rect">
            <a:avLst/>
          </a:prstGeom>
        </p:spPr>
      </p:pic>
      <p:sp>
        <p:nvSpPr>
          <p:cNvPr id="21" name="TextBox 20">
            <a:extLst>
              <a:ext uri="{FF2B5EF4-FFF2-40B4-BE49-F238E27FC236}">
                <a16:creationId xmlns:a16="http://schemas.microsoft.com/office/drawing/2014/main" id="{DD2BFA43-AA04-FC4C-9B1A-ADC45037CD7B}"/>
              </a:ext>
            </a:extLst>
          </p:cNvPr>
          <p:cNvSpPr txBox="1"/>
          <p:nvPr userDrawn="1"/>
        </p:nvSpPr>
        <p:spPr>
          <a:xfrm>
            <a:off x="11070193" y="296459"/>
            <a:ext cx="926857" cy="184666"/>
          </a:xfrm>
          <a:prstGeom prst="rect">
            <a:avLst/>
          </a:prstGeom>
          <a:noFill/>
        </p:spPr>
        <p:txBody>
          <a:bodyPr wrap="square" rtlCol="0">
            <a:spAutoFit/>
          </a:bodyPr>
          <a:lstStyle/>
          <a:p>
            <a:r>
              <a:rPr lang="en-US" sz="600" b="0" i="0" spc="150" baseline="0">
                <a:latin typeface="Gibson" panose="02000000000000000000" pitchFamily="2" charset="77"/>
              </a:rPr>
              <a:t>CONFIDENTIAL</a:t>
            </a:r>
          </a:p>
        </p:txBody>
      </p:sp>
    </p:spTree>
    <p:extLst>
      <p:ext uri="{BB962C8B-B14F-4D97-AF65-F5344CB8AC3E}">
        <p14:creationId xmlns:p14="http://schemas.microsoft.com/office/powerpoint/2010/main" val="276080324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48953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C6611-2D8E-776F-88BD-A0E585CDFA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089B5-DB84-D66F-4939-97FEDF5F4D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F788DD-55BA-A72A-132B-70C950EC75C3}"/>
              </a:ext>
            </a:extLst>
          </p:cNvPr>
          <p:cNvSpPr>
            <a:spLocks noGrp="1"/>
          </p:cNvSpPr>
          <p:nvPr>
            <p:ph type="dt" sz="half" idx="10"/>
          </p:nvPr>
        </p:nvSpPr>
        <p:spPr/>
        <p:txBody>
          <a:bodyPr/>
          <a:lstStyle/>
          <a:p>
            <a:fld id="{E79D16AE-6958-404C-AD20-C7F028D19947}" type="datetimeFigureOut">
              <a:rPr lang="en-US" smtClean="0"/>
              <a:t>9/23/2023</a:t>
            </a:fld>
            <a:endParaRPr lang="en-US"/>
          </a:p>
        </p:txBody>
      </p:sp>
      <p:sp>
        <p:nvSpPr>
          <p:cNvPr id="5" name="Footer Placeholder 4">
            <a:extLst>
              <a:ext uri="{FF2B5EF4-FFF2-40B4-BE49-F238E27FC236}">
                <a16:creationId xmlns:a16="http://schemas.microsoft.com/office/drawing/2014/main" id="{E8EA044D-6781-17BE-EA3C-56C949AFA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AE057-0537-A19F-F50A-F1BD8CB15634}"/>
              </a:ext>
            </a:extLst>
          </p:cNvPr>
          <p:cNvSpPr>
            <a:spLocks noGrp="1"/>
          </p:cNvSpPr>
          <p:nvPr>
            <p:ph type="sldNum" sz="quarter" idx="12"/>
          </p:nvPr>
        </p:nvSpPr>
        <p:spPr/>
        <p:txBody>
          <a:bodyPr/>
          <a:lstStyle/>
          <a:p>
            <a:fld id="{5529B4C6-19DB-2846-8475-5ADFCA899EEA}" type="slidenum">
              <a:rPr lang="en-US" smtClean="0"/>
              <a:t>‹#›</a:t>
            </a:fld>
            <a:endParaRPr lang="en-US"/>
          </a:p>
        </p:txBody>
      </p:sp>
    </p:spTree>
    <p:extLst>
      <p:ext uri="{BB962C8B-B14F-4D97-AF65-F5344CB8AC3E}">
        <p14:creationId xmlns:p14="http://schemas.microsoft.com/office/powerpoint/2010/main" val="218618950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DA4CEA24-D045-47CE-82CB-311D6A304543}"/>
              </a:ext>
            </a:extLst>
          </p:cNvPr>
          <p:cNvSpPr>
            <a:spLocks noGrp="1"/>
          </p:cNvSpPr>
          <p:nvPr>
            <p:ph type="pic" sz="quarter" idx="15" hasCustomPrompt="1"/>
          </p:nvPr>
        </p:nvSpPr>
        <p:spPr>
          <a:xfrm>
            <a:off x="9130738" y="6200873"/>
            <a:ext cx="1358025" cy="619442"/>
          </a:xfrm>
          <a:prstGeom prst="rect">
            <a:avLst/>
          </a:prstGeom>
        </p:spPr>
        <p:txBody>
          <a:bodyPr/>
          <a:lstStyle>
            <a:lvl1pPr marL="0" indent="0" algn="ctr">
              <a:buNone/>
              <a:defRPr sz="1100"/>
            </a:lvl1pPr>
          </a:lstStyle>
          <a:p>
            <a:r>
              <a:rPr lang="en-US"/>
              <a:t>Co-branding: insert partner logo</a:t>
            </a:r>
          </a:p>
        </p:txBody>
      </p:sp>
      <p:sp>
        <p:nvSpPr>
          <p:cNvPr id="15" name="Title 1"/>
          <p:cNvSpPr>
            <a:spLocks noGrp="1"/>
          </p:cNvSpPr>
          <p:nvPr>
            <p:ph type="title" hasCustomPrompt="1"/>
          </p:nvPr>
        </p:nvSpPr>
        <p:spPr>
          <a:xfrm>
            <a:off x="407988" y="418415"/>
            <a:ext cx="11112189" cy="482549"/>
          </a:xfrm>
          <a:prstGeom prst="rect">
            <a:avLst/>
          </a:prstGeom>
        </p:spPr>
        <p:txBody>
          <a:bodyPr anchor="t">
            <a:noAutofit/>
          </a:bodyPr>
          <a:lstStyle>
            <a:lvl1pPr algn="l" defTabSz="914400" rtl="0" eaLnBrk="1" latinLnBrk="0" hangingPunct="1">
              <a:lnSpc>
                <a:spcPct val="100000"/>
              </a:lnSpc>
              <a:spcBef>
                <a:spcPct val="0"/>
              </a:spcBef>
              <a:buNone/>
              <a:defRPr lang="en-GB" sz="3200" b="0" i="0" kern="1200" noProof="0" dirty="0">
                <a:solidFill>
                  <a:schemeClr val="tx2"/>
                </a:solidFill>
                <a:latin typeface="+mj-lt"/>
                <a:ea typeface="+mj-ea"/>
                <a:cs typeface="+mj-cs"/>
              </a:defRPr>
            </a:lvl1pPr>
          </a:lstStyle>
          <a:p>
            <a:r>
              <a:rPr lang="en-US" noProof="0"/>
              <a:t>Click to add title</a:t>
            </a:r>
            <a:endParaRPr lang="en-GB" noProof="0"/>
          </a:p>
        </p:txBody>
      </p:sp>
      <p:sp>
        <p:nvSpPr>
          <p:cNvPr id="16" name="Text Placeholder 19"/>
          <p:cNvSpPr>
            <a:spLocks noGrp="1"/>
          </p:cNvSpPr>
          <p:nvPr>
            <p:ph type="body" sz="quarter" idx="13" hasCustomPrompt="1"/>
          </p:nvPr>
        </p:nvSpPr>
        <p:spPr>
          <a:xfrm>
            <a:off x="408410" y="986335"/>
            <a:ext cx="11111973" cy="468000"/>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
                <a:schemeClr val="accent2"/>
              </a:buClr>
              <a:buSzPct val="80000"/>
              <a:buFont typeface="Calibri" panose="020F0502020204030204" pitchFamily="34" charset="0"/>
              <a:buNone/>
              <a:tabLst/>
              <a:defRPr sz="2400" b="0" i="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marL="0" marR="0" lvl="0" indent="0" algn="l" defTabSz="914400" rtl="0" eaLnBrk="1" fontAlgn="auto" latinLnBrk="0" hangingPunct="1">
              <a:lnSpc>
                <a:spcPct val="100000"/>
              </a:lnSpc>
              <a:spcBef>
                <a:spcPts val="1000"/>
              </a:spcBef>
              <a:spcAft>
                <a:spcPts val="0"/>
              </a:spcAft>
              <a:buClr>
                <a:schemeClr val="accent2"/>
              </a:buClr>
              <a:buSzPct val="80000"/>
              <a:buFont typeface="Calibri" panose="020F0502020204030204" pitchFamily="34" charset="0"/>
              <a:buNone/>
              <a:tabLst/>
              <a:defRPr/>
            </a:pPr>
            <a:r>
              <a:rPr lang="en-US" noProof="0"/>
              <a:t>Click to add text</a:t>
            </a:r>
          </a:p>
        </p:txBody>
      </p:sp>
      <p:sp>
        <p:nvSpPr>
          <p:cNvPr id="7" name="Footer Placeholder 4">
            <a:extLst>
              <a:ext uri="{FF2B5EF4-FFF2-40B4-BE49-F238E27FC236}">
                <a16:creationId xmlns:a16="http://schemas.microsoft.com/office/drawing/2014/main" id="{C5123484-7C91-2740-B15B-C00747F96E33}"/>
              </a:ext>
            </a:extLst>
          </p:cNvPr>
          <p:cNvSpPr>
            <a:spLocks noGrp="1"/>
          </p:cNvSpPr>
          <p:nvPr>
            <p:ph type="ftr" sz="quarter" idx="3"/>
          </p:nvPr>
        </p:nvSpPr>
        <p:spPr>
          <a:xfrm rot="16200000">
            <a:off x="10494824" y="4724287"/>
            <a:ext cx="3086100" cy="100445"/>
          </a:xfrm>
          <a:prstGeom prst="rect">
            <a:avLst/>
          </a:prstGeom>
        </p:spPr>
        <p:txBody>
          <a:bodyPr vert="horz" lIns="0" tIns="0" rIns="0" bIns="45720" rtlCol="0" anchor="ctr"/>
          <a:lstStyle>
            <a:lvl1pPr algn="l">
              <a:defRPr sz="700" b="0" i="0">
                <a:solidFill>
                  <a:schemeClr val="bg1">
                    <a:lumMod val="65000"/>
                  </a:schemeClr>
                </a:solidFill>
                <a:latin typeface="+mj-lt"/>
              </a:defRPr>
            </a:lvl1pPr>
          </a:lstStyle>
          <a:p>
            <a:endParaRPr lang="en-GB"/>
          </a:p>
        </p:txBody>
      </p:sp>
      <p:sp>
        <p:nvSpPr>
          <p:cNvPr id="8" name="Marcador de número de diapositiva 32">
            <a:extLst>
              <a:ext uri="{FF2B5EF4-FFF2-40B4-BE49-F238E27FC236}">
                <a16:creationId xmlns:a16="http://schemas.microsoft.com/office/drawing/2014/main" id="{C3631282-8D37-2A48-A2B7-61594B5898AF}"/>
              </a:ext>
            </a:extLst>
          </p:cNvPr>
          <p:cNvSpPr>
            <a:spLocks noGrp="1"/>
          </p:cNvSpPr>
          <p:nvPr>
            <p:ph type="sldNum" sz="quarter" idx="4"/>
          </p:nvPr>
        </p:nvSpPr>
        <p:spPr>
          <a:xfrm>
            <a:off x="11876163" y="6510594"/>
            <a:ext cx="166672" cy="123111"/>
          </a:xfrm>
          <a:prstGeom prst="rect">
            <a:avLst/>
          </a:prstGeom>
        </p:spPr>
        <p:txBody>
          <a:bodyPr vert="horz" wrap="square" lIns="0" tIns="0" rIns="0" bIns="0" rtlCol="0" anchor="b">
            <a:noAutofit/>
          </a:bodyPr>
          <a:lstStyle>
            <a:lvl1pPr algn="r">
              <a:defRPr sz="700" b="0" i="0">
                <a:solidFill>
                  <a:schemeClr val="bg1">
                    <a:lumMod val="50000"/>
                  </a:schemeClr>
                </a:solidFill>
                <a:latin typeface="+mj-lt"/>
              </a:defRPr>
            </a:lvl1pPr>
          </a:lstStyle>
          <a:p>
            <a:fld id="{E57627FB-D816-4EA7-98E3-793F2D9BC93A}" type="slidenum">
              <a:rPr lang="en-GB" smtClean="0"/>
              <a:pPr/>
              <a:t>‹#›</a:t>
            </a:fld>
            <a:endParaRPr lang="en-GB"/>
          </a:p>
        </p:txBody>
      </p:sp>
      <p:sp>
        <p:nvSpPr>
          <p:cNvPr id="12" name="Marcador de texto 2">
            <a:extLst>
              <a:ext uri="{FF2B5EF4-FFF2-40B4-BE49-F238E27FC236}">
                <a16:creationId xmlns:a16="http://schemas.microsoft.com/office/drawing/2014/main" id="{E113ACC0-3924-4B47-8991-DEA74A8BF1FB}"/>
              </a:ext>
            </a:extLst>
          </p:cNvPr>
          <p:cNvSpPr>
            <a:spLocks noGrp="1"/>
          </p:cNvSpPr>
          <p:nvPr>
            <p:ph type="body" sz="quarter" idx="18" hasCustomPrompt="1"/>
          </p:nvPr>
        </p:nvSpPr>
        <p:spPr>
          <a:xfrm>
            <a:off x="436987" y="2114479"/>
            <a:ext cx="11083189" cy="4201629"/>
          </a:xfrm>
          <a:prstGeom prst="rect">
            <a:avLst/>
          </a:prstGeom>
        </p:spPr>
        <p:txBody>
          <a:bodyPr wrap="square">
            <a:noAutofit/>
          </a:bodyPr>
          <a:lstStyle>
            <a:lvl1pPr marL="130960" indent="-130960">
              <a:lnSpc>
                <a:spcPct val="100000"/>
              </a:lnSpc>
              <a:buClr>
                <a:schemeClr val="accent2"/>
              </a:buClr>
              <a:defRPr sz="2000" b="0" i="0" baseline="0">
                <a:solidFill>
                  <a:srgbClr val="323232"/>
                </a:solidFill>
                <a:latin typeface="+mj-lt"/>
              </a:defRPr>
            </a:lvl1pPr>
            <a:lvl2pPr>
              <a:lnSpc>
                <a:spcPct val="100000"/>
              </a:lnSpc>
              <a:buClr>
                <a:schemeClr val="accent2"/>
              </a:buClr>
              <a:defRPr sz="1800" b="0" i="0" baseline="0">
                <a:solidFill>
                  <a:srgbClr val="323232"/>
                </a:solidFill>
                <a:latin typeface="+mj-lt"/>
              </a:defRPr>
            </a:lvl2pPr>
            <a:lvl3pPr>
              <a:lnSpc>
                <a:spcPct val="100000"/>
              </a:lnSpc>
              <a:buClr>
                <a:schemeClr val="accent2"/>
              </a:buClr>
              <a:defRPr sz="1600" b="0" i="0" baseline="0">
                <a:solidFill>
                  <a:srgbClr val="323232"/>
                </a:solidFill>
                <a:latin typeface="+mj-lt"/>
              </a:defRPr>
            </a:lvl3pPr>
            <a:lvl4pPr>
              <a:lnSpc>
                <a:spcPct val="100000"/>
              </a:lnSpc>
              <a:buClr>
                <a:schemeClr val="accent2"/>
              </a:buClr>
              <a:defRPr sz="1400" b="0" i="0" baseline="0">
                <a:solidFill>
                  <a:srgbClr val="323232"/>
                </a:solidFill>
                <a:latin typeface="+mj-lt"/>
              </a:defRPr>
            </a:lvl4pPr>
            <a:lvl5pPr>
              <a:lnSpc>
                <a:spcPct val="100000"/>
              </a:lnSpc>
              <a:buClr>
                <a:schemeClr val="accent2"/>
              </a:buClr>
              <a:defRPr sz="1100" b="0" i="0" baseline="0">
                <a:solidFill>
                  <a:srgbClr val="323232"/>
                </a:solidFill>
                <a:latin typeface="+mj-lt"/>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grpSp>
        <p:nvGrpSpPr>
          <p:cNvPr id="59" name="Grupo 35">
            <a:extLst>
              <a:ext uri="{FF2B5EF4-FFF2-40B4-BE49-F238E27FC236}">
                <a16:creationId xmlns:a16="http://schemas.microsoft.com/office/drawing/2014/main" id="{00765CF7-485C-4032-8D13-ED992636CFC3}"/>
              </a:ext>
            </a:extLst>
          </p:cNvPr>
          <p:cNvGrpSpPr/>
          <p:nvPr userDrawn="1"/>
        </p:nvGrpSpPr>
        <p:grpSpPr>
          <a:xfrm>
            <a:off x="438013" y="6534959"/>
            <a:ext cx="1322281" cy="98746"/>
            <a:chOff x="2744788" y="0"/>
            <a:chExt cx="2720976" cy="203200"/>
          </a:xfrm>
          <a:solidFill>
            <a:srgbClr val="363636"/>
          </a:solidFill>
        </p:grpSpPr>
        <p:sp>
          <p:nvSpPr>
            <p:cNvPr id="60" name="Freeform 177">
              <a:extLst>
                <a:ext uri="{FF2B5EF4-FFF2-40B4-BE49-F238E27FC236}">
                  <a16:creationId xmlns:a16="http://schemas.microsoft.com/office/drawing/2014/main" id="{C75A60B4-900E-4B12-88E6-1906A24FE62F}"/>
                </a:ext>
              </a:extLst>
            </p:cNvPr>
            <p:cNvSpPr>
              <a:spLocks noEditPoints="1"/>
            </p:cNvSpPr>
            <p:nvPr/>
          </p:nvSpPr>
          <p:spPr bwMode="auto">
            <a:xfrm>
              <a:off x="2744788" y="6350"/>
              <a:ext cx="160338" cy="173038"/>
            </a:xfrm>
            <a:custGeom>
              <a:avLst/>
              <a:gdLst>
                <a:gd name="T0" fmla="*/ 24 w 87"/>
                <a:gd name="T1" fmla="*/ 90 h 95"/>
                <a:gd name="T2" fmla="*/ 19 w 87"/>
                <a:gd name="T3" fmla="*/ 94 h 95"/>
                <a:gd name="T4" fmla="*/ 3 w 87"/>
                <a:gd name="T5" fmla="*/ 94 h 95"/>
                <a:gd name="T6" fmla="*/ 1 w 87"/>
                <a:gd name="T7" fmla="*/ 91 h 95"/>
                <a:gd name="T8" fmla="*/ 29 w 87"/>
                <a:gd name="T9" fmla="*/ 4 h 95"/>
                <a:gd name="T10" fmla="*/ 35 w 87"/>
                <a:gd name="T11" fmla="*/ 0 h 95"/>
                <a:gd name="T12" fmla="*/ 53 w 87"/>
                <a:gd name="T13" fmla="*/ 0 h 95"/>
                <a:gd name="T14" fmla="*/ 58 w 87"/>
                <a:gd name="T15" fmla="*/ 5 h 95"/>
                <a:gd name="T16" fmla="*/ 86 w 87"/>
                <a:gd name="T17" fmla="*/ 92 h 95"/>
                <a:gd name="T18" fmla="*/ 84 w 87"/>
                <a:gd name="T19" fmla="*/ 95 h 95"/>
                <a:gd name="T20" fmla="*/ 67 w 87"/>
                <a:gd name="T21" fmla="*/ 95 h 95"/>
                <a:gd name="T22" fmla="*/ 62 w 87"/>
                <a:gd name="T23" fmla="*/ 90 h 95"/>
                <a:gd name="T24" fmla="*/ 57 w 87"/>
                <a:gd name="T25" fmla="*/ 73 h 95"/>
                <a:gd name="T26" fmla="*/ 29 w 87"/>
                <a:gd name="T27" fmla="*/ 73 h 95"/>
                <a:gd name="T28" fmla="*/ 24 w 87"/>
                <a:gd name="T29" fmla="*/ 90 h 95"/>
                <a:gd name="T30" fmla="*/ 49 w 87"/>
                <a:gd name="T31" fmla="*/ 40 h 95"/>
                <a:gd name="T32" fmla="*/ 44 w 87"/>
                <a:gd name="T33" fmla="*/ 23 h 95"/>
                <a:gd name="T34" fmla="*/ 43 w 87"/>
                <a:gd name="T35" fmla="*/ 23 h 95"/>
                <a:gd name="T36" fmla="*/ 39 w 87"/>
                <a:gd name="T37" fmla="*/ 40 h 95"/>
                <a:gd name="T38" fmla="*/ 34 w 87"/>
                <a:gd name="T39" fmla="*/ 56 h 95"/>
                <a:gd name="T40" fmla="*/ 53 w 87"/>
                <a:gd name="T41" fmla="*/ 56 h 95"/>
                <a:gd name="T42" fmla="*/ 49 w 87"/>
                <a:gd name="T43" fmla="*/ 4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5">
                  <a:moveTo>
                    <a:pt x="24" y="90"/>
                  </a:moveTo>
                  <a:cubicBezTo>
                    <a:pt x="23" y="93"/>
                    <a:pt x="22" y="94"/>
                    <a:pt x="19" y="94"/>
                  </a:cubicBezTo>
                  <a:cubicBezTo>
                    <a:pt x="3" y="94"/>
                    <a:pt x="3" y="94"/>
                    <a:pt x="3" y="94"/>
                  </a:cubicBezTo>
                  <a:cubicBezTo>
                    <a:pt x="1" y="94"/>
                    <a:pt x="0" y="94"/>
                    <a:pt x="1" y="91"/>
                  </a:cubicBezTo>
                  <a:cubicBezTo>
                    <a:pt x="29" y="4"/>
                    <a:pt x="29" y="4"/>
                    <a:pt x="29" y="4"/>
                  </a:cubicBezTo>
                  <a:cubicBezTo>
                    <a:pt x="30" y="2"/>
                    <a:pt x="31" y="0"/>
                    <a:pt x="35" y="0"/>
                  </a:cubicBezTo>
                  <a:cubicBezTo>
                    <a:pt x="53" y="0"/>
                    <a:pt x="53" y="0"/>
                    <a:pt x="53" y="0"/>
                  </a:cubicBezTo>
                  <a:cubicBezTo>
                    <a:pt x="57" y="0"/>
                    <a:pt x="57" y="2"/>
                    <a:pt x="58" y="5"/>
                  </a:cubicBezTo>
                  <a:cubicBezTo>
                    <a:pt x="86" y="92"/>
                    <a:pt x="86" y="92"/>
                    <a:pt x="86" y="92"/>
                  </a:cubicBezTo>
                  <a:cubicBezTo>
                    <a:pt x="87" y="94"/>
                    <a:pt x="86" y="95"/>
                    <a:pt x="84" y="95"/>
                  </a:cubicBezTo>
                  <a:cubicBezTo>
                    <a:pt x="67" y="95"/>
                    <a:pt x="67" y="95"/>
                    <a:pt x="67" y="95"/>
                  </a:cubicBezTo>
                  <a:cubicBezTo>
                    <a:pt x="64" y="95"/>
                    <a:pt x="63" y="93"/>
                    <a:pt x="62" y="90"/>
                  </a:cubicBezTo>
                  <a:cubicBezTo>
                    <a:pt x="57" y="73"/>
                    <a:pt x="57" y="73"/>
                    <a:pt x="57" y="73"/>
                  </a:cubicBezTo>
                  <a:cubicBezTo>
                    <a:pt x="29" y="73"/>
                    <a:pt x="29" y="73"/>
                    <a:pt x="29" y="73"/>
                  </a:cubicBezTo>
                  <a:lnTo>
                    <a:pt x="24" y="90"/>
                  </a:lnTo>
                  <a:close/>
                  <a:moveTo>
                    <a:pt x="49" y="40"/>
                  </a:moveTo>
                  <a:cubicBezTo>
                    <a:pt x="44" y="23"/>
                    <a:pt x="44" y="23"/>
                    <a:pt x="44" y="23"/>
                  </a:cubicBezTo>
                  <a:cubicBezTo>
                    <a:pt x="43" y="23"/>
                    <a:pt x="43" y="23"/>
                    <a:pt x="43" y="23"/>
                  </a:cubicBezTo>
                  <a:cubicBezTo>
                    <a:pt x="39" y="40"/>
                    <a:pt x="39" y="40"/>
                    <a:pt x="39" y="40"/>
                  </a:cubicBezTo>
                  <a:cubicBezTo>
                    <a:pt x="34" y="56"/>
                    <a:pt x="34" y="56"/>
                    <a:pt x="34" y="56"/>
                  </a:cubicBezTo>
                  <a:cubicBezTo>
                    <a:pt x="53" y="56"/>
                    <a:pt x="53" y="56"/>
                    <a:pt x="53" y="56"/>
                  </a:cubicBez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78">
              <a:extLst>
                <a:ext uri="{FF2B5EF4-FFF2-40B4-BE49-F238E27FC236}">
                  <a16:creationId xmlns:a16="http://schemas.microsoft.com/office/drawing/2014/main" id="{55DE6554-CBB4-40C3-8DFA-5B41D918BC16}"/>
                </a:ext>
              </a:extLst>
            </p:cNvPr>
            <p:cNvSpPr>
              <a:spLocks/>
            </p:cNvSpPr>
            <p:nvPr/>
          </p:nvSpPr>
          <p:spPr bwMode="auto">
            <a:xfrm>
              <a:off x="2917826" y="49213"/>
              <a:ext cx="196850" cy="133350"/>
            </a:xfrm>
            <a:custGeom>
              <a:avLst/>
              <a:gdLst>
                <a:gd name="T0" fmla="*/ 103 w 107"/>
                <a:gd name="T1" fmla="*/ 72 h 72"/>
                <a:gd name="T2" fmla="*/ 88 w 107"/>
                <a:gd name="T3" fmla="*/ 72 h 72"/>
                <a:gd name="T4" fmla="*/ 85 w 107"/>
                <a:gd name="T5" fmla="*/ 69 h 72"/>
                <a:gd name="T6" fmla="*/ 85 w 107"/>
                <a:gd name="T7" fmla="*/ 32 h 72"/>
                <a:gd name="T8" fmla="*/ 77 w 107"/>
                <a:gd name="T9" fmla="*/ 21 h 72"/>
                <a:gd name="T10" fmla="*/ 64 w 107"/>
                <a:gd name="T11" fmla="*/ 25 h 72"/>
                <a:gd name="T12" fmla="*/ 64 w 107"/>
                <a:gd name="T13" fmla="*/ 69 h 72"/>
                <a:gd name="T14" fmla="*/ 61 w 107"/>
                <a:gd name="T15" fmla="*/ 72 h 72"/>
                <a:gd name="T16" fmla="*/ 45 w 107"/>
                <a:gd name="T17" fmla="*/ 71 h 72"/>
                <a:gd name="T18" fmla="*/ 43 w 107"/>
                <a:gd name="T19" fmla="*/ 68 h 72"/>
                <a:gd name="T20" fmla="*/ 43 w 107"/>
                <a:gd name="T21" fmla="*/ 31 h 72"/>
                <a:gd name="T22" fmla="*/ 35 w 107"/>
                <a:gd name="T23" fmla="*/ 20 h 72"/>
                <a:gd name="T24" fmla="*/ 22 w 107"/>
                <a:gd name="T25" fmla="*/ 24 h 72"/>
                <a:gd name="T26" fmla="*/ 22 w 107"/>
                <a:gd name="T27" fmla="*/ 68 h 72"/>
                <a:gd name="T28" fmla="*/ 19 w 107"/>
                <a:gd name="T29" fmla="*/ 71 h 72"/>
                <a:gd name="T30" fmla="*/ 3 w 107"/>
                <a:gd name="T31" fmla="*/ 71 h 72"/>
                <a:gd name="T32" fmla="*/ 0 w 107"/>
                <a:gd name="T33" fmla="*/ 68 h 72"/>
                <a:gd name="T34" fmla="*/ 1 w 107"/>
                <a:gd name="T35" fmla="*/ 4 h 72"/>
                <a:gd name="T36" fmla="*/ 4 w 107"/>
                <a:gd name="T37" fmla="*/ 1 h 72"/>
                <a:gd name="T38" fmla="*/ 20 w 107"/>
                <a:gd name="T39" fmla="*/ 1 h 72"/>
                <a:gd name="T40" fmla="*/ 23 w 107"/>
                <a:gd name="T41" fmla="*/ 4 h 72"/>
                <a:gd name="T42" fmla="*/ 23 w 107"/>
                <a:gd name="T43" fmla="*/ 8 h 72"/>
                <a:gd name="T44" fmla="*/ 23 w 107"/>
                <a:gd name="T45" fmla="*/ 8 h 72"/>
                <a:gd name="T46" fmla="*/ 44 w 107"/>
                <a:gd name="T47" fmla="*/ 0 h 72"/>
                <a:gd name="T48" fmla="*/ 62 w 107"/>
                <a:gd name="T49" fmla="*/ 10 h 72"/>
                <a:gd name="T50" fmla="*/ 86 w 107"/>
                <a:gd name="T51" fmla="*/ 1 h 72"/>
                <a:gd name="T52" fmla="*/ 107 w 107"/>
                <a:gd name="T53" fmla="*/ 29 h 72"/>
                <a:gd name="T54" fmla="*/ 106 w 107"/>
                <a:gd name="T55" fmla="*/ 69 h 72"/>
                <a:gd name="T56" fmla="*/ 103 w 107"/>
                <a:gd name="T5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7" h="72">
                  <a:moveTo>
                    <a:pt x="103" y="72"/>
                  </a:moveTo>
                  <a:cubicBezTo>
                    <a:pt x="88" y="72"/>
                    <a:pt x="88" y="72"/>
                    <a:pt x="88" y="72"/>
                  </a:cubicBezTo>
                  <a:cubicBezTo>
                    <a:pt x="85" y="72"/>
                    <a:pt x="85" y="71"/>
                    <a:pt x="85" y="69"/>
                  </a:cubicBezTo>
                  <a:cubicBezTo>
                    <a:pt x="85" y="32"/>
                    <a:pt x="85" y="32"/>
                    <a:pt x="85" y="32"/>
                  </a:cubicBezTo>
                  <a:cubicBezTo>
                    <a:pt x="85" y="23"/>
                    <a:pt x="82" y="21"/>
                    <a:pt x="77" y="21"/>
                  </a:cubicBezTo>
                  <a:cubicBezTo>
                    <a:pt x="74" y="21"/>
                    <a:pt x="68" y="23"/>
                    <a:pt x="64" y="25"/>
                  </a:cubicBezTo>
                  <a:cubicBezTo>
                    <a:pt x="64" y="69"/>
                    <a:pt x="64" y="69"/>
                    <a:pt x="64" y="69"/>
                  </a:cubicBezTo>
                  <a:cubicBezTo>
                    <a:pt x="64" y="70"/>
                    <a:pt x="64" y="72"/>
                    <a:pt x="61" y="72"/>
                  </a:cubicBezTo>
                  <a:cubicBezTo>
                    <a:pt x="45" y="71"/>
                    <a:pt x="45" y="71"/>
                    <a:pt x="45" y="71"/>
                  </a:cubicBezTo>
                  <a:cubicBezTo>
                    <a:pt x="43" y="71"/>
                    <a:pt x="42" y="70"/>
                    <a:pt x="43" y="68"/>
                  </a:cubicBezTo>
                  <a:cubicBezTo>
                    <a:pt x="43" y="31"/>
                    <a:pt x="43" y="31"/>
                    <a:pt x="43" y="31"/>
                  </a:cubicBezTo>
                  <a:cubicBezTo>
                    <a:pt x="43" y="23"/>
                    <a:pt x="40" y="20"/>
                    <a:pt x="35" y="20"/>
                  </a:cubicBezTo>
                  <a:cubicBezTo>
                    <a:pt x="32" y="20"/>
                    <a:pt x="26" y="22"/>
                    <a:pt x="22" y="24"/>
                  </a:cubicBezTo>
                  <a:cubicBezTo>
                    <a:pt x="22" y="68"/>
                    <a:pt x="22" y="68"/>
                    <a:pt x="22" y="68"/>
                  </a:cubicBezTo>
                  <a:cubicBezTo>
                    <a:pt x="22" y="70"/>
                    <a:pt x="21" y="71"/>
                    <a:pt x="19" y="71"/>
                  </a:cubicBezTo>
                  <a:cubicBezTo>
                    <a:pt x="3" y="71"/>
                    <a:pt x="3" y="71"/>
                    <a:pt x="3" y="71"/>
                  </a:cubicBezTo>
                  <a:cubicBezTo>
                    <a:pt x="1" y="71"/>
                    <a:pt x="0" y="70"/>
                    <a:pt x="0" y="68"/>
                  </a:cubicBezTo>
                  <a:cubicBezTo>
                    <a:pt x="1" y="4"/>
                    <a:pt x="1" y="4"/>
                    <a:pt x="1" y="4"/>
                  </a:cubicBezTo>
                  <a:cubicBezTo>
                    <a:pt x="1" y="2"/>
                    <a:pt x="2" y="1"/>
                    <a:pt x="4" y="1"/>
                  </a:cubicBezTo>
                  <a:cubicBezTo>
                    <a:pt x="20" y="1"/>
                    <a:pt x="20" y="1"/>
                    <a:pt x="20" y="1"/>
                  </a:cubicBezTo>
                  <a:cubicBezTo>
                    <a:pt x="22" y="1"/>
                    <a:pt x="23" y="3"/>
                    <a:pt x="23" y="4"/>
                  </a:cubicBezTo>
                  <a:cubicBezTo>
                    <a:pt x="23" y="8"/>
                    <a:pt x="23" y="8"/>
                    <a:pt x="23" y="8"/>
                  </a:cubicBezTo>
                  <a:cubicBezTo>
                    <a:pt x="23" y="8"/>
                    <a:pt x="23" y="8"/>
                    <a:pt x="23" y="8"/>
                  </a:cubicBezTo>
                  <a:cubicBezTo>
                    <a:pt x="29" y="3"/>
                    <a:pt x="36" y="0"/>
                    <a:pt x="44" y="0"/>
                  </a:cubicBezTo>
                  <a:cubicBezTo>
                    <a:pt x="52" y="0"/>
                    <a:pt x="59" y="3"/>
                    <a:pt x="62" y="10"/>
                  </a:cubicBezTo>
                  <a:cubicBezTo>
                    <a:pt x="69" y="5"/>
                    <a:pt x="77" y="1"/>
                    <a:pt x="86" y="1"/>
                  </a:cubicBezTo>
                  <a:cubicBezTo>
                    <a:pt x="106" y="1"/>
                    <a:pt x="107" y="15"/>
                    <a:pt x="107" y="29"/>
                  </a:cubicBezTo>
                  <a:cubicBezTo>
                    <a:pt x="106" y="69"/>
                    <a:pt x="106" y="69"/>
                    <a:pt x="106" y="69"/>
                  </a:cubicBezTo>
                  <a:cubicBezTo>
                    <a:pt x="106" y="70"/>
                    <a:pt x="106" y="72"/>
                    <a:pt x="10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79">
              <a:extLst>
                <a:ext uri="{FF2B5EF4-FFF2-40B4-BE49-F238E27FC236}">
                  <a16:creationId xmlns:a16="http://schemas.microsoft.com/office/drawing/2014/main" id="{D24005D4-D41D-4A28-AE3A-903F3E4E8162}"/>
                </a:ext>
              </a:extLst>
            </p:cNvPr>
            <p:cNvSpPr>
              <a:spLocks noEditPoints="1"/>
            </p:cNvSpPr>
            <p:nvPr/>
          </p:nvSpPr>
          <p:spPr bwMode="auto">
            <a:xfrm>
              <a:off x="3136901" y="50800"/>
              <a:ext cx="133350" cy="134938"/>
            </a:xfrm>
            <a:custGeom>
              <a:avLst/>
              <a:gdLst>
                <a:gd name="T0" fmla="*/ 45 w 73"/>
                <a:gd name="T1" fmla="*/ 63 h 73"/>
                <a:gd name="T2" fmla="*/ 20 w 73"/>
                <a:gd name="T3" fmla="*/ 72 h 73"/>
                <a:gd name="T4" fmla="*/ 0 w 73"/>
                <a:gd name="T5" fmla="*/ 51 h 73"/>
                <a:gd name="T6" fmla="*/ 27 w 73"/>
                <a:gd name="T7" fmla="*/ 28 h 73"/>
                <a:gd name="T8" fmla="*/ 44 w 73"/>
                <a:gd name="T9" fmla="*/ 28 h 73"/>
                <a:gd name="T10" fmla="*/ 44 w 73"/>
                <a:gd name="T11" fmla="*/ 26 h 73"/>
                <a:gd name="T12" fmla="*/ 31 w 73"/>
                <a:gd name="T13" fmla="*/ 18 h 73"/>
                <a:gd name="T14" fmla="*/ 13 w 73"/>
                <a:gd name="T15" fmla="*/ 19 h 73"/>
                <a:gd name="T16" fmla="*/ 7 w 73"/>
                <a:gd name="T17" fmla="*/ 16 h 73"/>
                <a:gd name="T18" fmla="*/ 6 w 73"/>
                <a:gd name="T19" fmla="*/ 9 h 73"/>
                <a:gd name="T20" fmla="*/ 10 w 73"/>
                <a:gd name="T21" fmla="*/ 3 h 73"/>
                <a:gd name="T22" fmla="*/ 35 w 73"/>
                <a:gd name="T23" fmla="*/ 0 h 73"/>
                <a:gd name="T24" fmla="*/ 65 w 73"/>
                <a:gd name="T25" fmla="*/ 27 h 73"/>
                <a:gd name="T26" fmla="*/ 65 w 73"/>
                <a:gd name="T27" fmla="*/ 50 h 73"/>
                <a:gd name="T28" fmla="*/ 70 w 73"/>
                <a:gd name="T29" fmla="*/ 56 h 73"/>
                <a:gd name="T30" fmla="*/ 73 w 73"/>
                <a:gd name="T31" fmla="*/ 59 h 73"/>
                <a:gd name="T32" fmla="*/ 73 w 73"/>
                <a:gd name="T33" fmla="*/ 68 h 73"/>
                <a:gd name="T34" fmla="*/ 69 w 73"/>
                <a:gd name="T35" fmla="*/ 72 h 73"/>
                <a:gd name="T36" fmla="*/ 60 w 73"/>
                <a:gd name="T37" fmla="*/ 73 h 73"/>
                <a:gd name="T38" fmla="*/ 45 w 73"/>
                <a:gd name="T39" fmla="*/ 63 h 73"/>
                <a:gd name="T40" fmla="*/ 43 w 73"/>
                <a:gd name="T41" fmla="*/ 42 h 73"/>
                <a:gd name="T42" fmla="*/ 30 w 73"/>
                <a:gd name="T43" fmla="*/ 42 h 73"/>
                <a:gd name="T44" fmla="*/ 22 w 73"/>
                <a:gd name="T45" fmla="*/ 50 h 73"/>
                <a:gd name="T46" fmla="*/ 28 w 73"/>
                <a:gd name="T47" fmla="*/ 56 h 73"/>
                <a:gd name="T48" fmla="*/ 43 w 73"/>
                <a:gd name="T49" fmla="*/ 52 h 73"/>
                <a:gd name="T50" fmla="*/ 43 w 73"/>
                <a:gd name="T51" fmla="*/ 4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73">
                  <a:moveTo>
                    <a:pt x="45" y="63"/>
                  </a:moveTo>
                  <a:cubicBezTo>
                    <a:pt x="38" y="70"/>
                    <a:pt x="27" y="73"/>
                    <a:pt x="20" y="72"/>
                  </a:cubicBezTo>
                  <a:cubicBezTo>
                    <a:pt x="3" y="72"/>
                    <a:pt x="0" y="62"/>
                    <a:pt x="0" y="51"/>
                  </a:cubicBezTo>
                  <a:cubicBezTo>
                    <a:pt x="0" y="34"/>
                    <a:pt x="11" y="28"/>
                    <a:pt x="27" y="28"/>
                  </a:cubicBezTo>
                  <a:cubicBezTo>
                    <a:pt x="44" y="28"/>
                    <a:pt x="44" y="28"/>
                    <a:pt x="44" y="28"/>
                  </a:cubicBezTo>
                  <a:cubicBezTo>
                    <a:pt x="44" y="26"/>
                    <a:pt x="44" y="26"/>
                    <a:pt x="44" y="26"/>
                  </a:cubicBezTo>
                  <a:cubicBezTo>
                    <a:pt x="44" y="20"/>
                    <a:pt x="42" y="18"/>
                    <a:pt x="31" y="18"/>
                  </a:cubicBezTo>
                  <a:cubicBezTo>
                    <a:pt x="27" y="17"/>
                    <a:pt x="18" y="18"/>
                    <a:pt x="13" y="19"/>
                  </a:cubicBezTo>
                  <a:cubicBezTo>
                    <a:pt x="9" y="19"/>
                    <a:pt x="8" y="19"/>
                    <a:pt x="7" y="16"/>
                  </a:cubicBezTo>
                  <a:cubicBezTo>
                    <a:pt x="6" y="9"/>
                    <a:pt x="6" y="9"/>
                    <a:pt x="6" y="9"/>
                  </a:cubicBezTo>
                  <a:cubicBezTo>
                    <a:pt x="5" y="6"/>
                    <a:pt x="6" y="5"/>
                    <a:pt x="10" y="3"/>
                  </a:cubicBezTo>
                  <a:cubicBezTo>
                    <a:pt x="17" y="1"/>
                    <a:pt x="28" y="0"/>
                    <a:pt x="35" y="0"/>
                  </a:cubicBezTo>
                  <a:cubicBezTo>
                    <a:pt x="62" y="0"/>
                    <a:pt x="65" y="10"/>
                    <a:pt x="65" y="27"/>
                  </a:cubicBezTo>
                  <a:cubicBezTo>
                    <a:pt x="65" y="50"/>
                    <a:pt x="65" y="50"/>
                    <a:pt x="65" y="50"/>
                  </a:cubicBezTo>
                  <a:cubicBezTo>
                    <a:pt x="65" y="56"/>
                    <a:pt x="66" y="56"/>
                    <a:pt x="70" y="56"/>
                  </a:cubicBezTo>
                  <a:cubicBezTo>
                    <a:pt x="72" y="57"/>
                    <a:pt x="73" y="57"/>
                    <a:pt x="73" y="59"/>
                  </a:cubicBezTo>
                  <a:cubicBezTo>
                    <a:pt x="73" y="68"/>
                    <a:pt x="73" y="68"/>
                    <a:pt x="73" y="68"/>
                  </a:cubicBezTo>
                  <a:cubicBezTo>
                    <a:pt x="73" y="70"/>
                    <a:pt x="71" y="71"/>
                    <a:pt x="69" y="72"/>
                  </a:cubicBezTo>
                  <a:cubicBezTo>
                    <a:pt x="66" y="72"/>
                    <a:pt x="63" y="73"/>
                    <a:pt x="60" y="73"/>
                  </a:cubicBezTo>
                  <a:cubicBezTo>
                    <a:pt x="53" y="72"/>
                    <a:pt x="47" y="71"/>
                    <a:pt x="45" y="63"/>
                  </a:cubicBezTo>
                  <a:close/>
                  <a:moveTo>
                    <a:pt x="43" y="42"/>
                  </a:moveTo>
                  <a:cubicBezTo>
                    <a:pt x="30" y="42"/>
                    <a:pt x="30" y="42"/>
                    <a:pt x="30" y="42"/>
                  </a:cubicBezTo>
                  <a:cubicBezTo>
                    <a:pt x="25" y="42"/>
                    <a:pt x="22" y="44"/>
                    <a:pt x="22" y="50"/>
                  </a:cubicBezTo>
                  <a:cubicBezTo>
                    <a:pt x="22" y="55"/>
                    <a:pt x="23" y="56"/>
                    <a:pt x="28" y="56"/>
                  </a:cubicBezTo>
                  <a:cubicBezTo>
                    <a:pt x="33" y="56"/>
                    <a:pt x="39" y="54"/>
                    <a:pt x="43" y="52"/>
                  </a:cubicBezTo>
                  <a:lnTo>
                    <a:pt x="4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80">
              <a:extLst>
                <a:ext uri="{FF2B5EF4-FFF2-40B4-BE49-F238E27FC236}">
                  <a16:creationId xmlns:a16="http://schemas.microsoft.com/office/drawing/2014/main" id="{BCF94F72-E6A1-4189-9A78-ECD74E29C24A}"/>
                </a:ext>
              </a:extLst>
            </p:cNvPr>
            <p:cNvSpPr>
              <a:spLocks noEditPoints="1"/>
            </p:cNvSpPr>
            <p:nvPr/>
          </p:nvSpPr>
          <p:spPr bwMode="auto">
            <a:xfrm>
              <a:off x="3284538" y="0"/>
              <a:ext cx="123825" cy="185738"/>
            </a:xfrm>
            <a:custGeom>
              <a:avLst/>
              <a:gdLst>
                <a:gd name="T0" fmla="*/ 63 w 67"/>
                <a:gd name="T1" fmla="*/ 100 h 101"/>
                <a:gd name="T2" fmla="*/ 47 w 67"/>
                <a:gd name="T3" fmla="*/ 100 h 101"/>
                <a:gd name="T4" fmla="*/ 45 w 67"/>
                <a:gd name="T5" fmla="*/ 97 h 101"/>
                <a:gd name="T6" fmla="*/ 45 w 67"/>
                <a:gd name="T7" fmla="*/ 94 h 101"/>
                <a:gd name="T8" fmla="*/ 44 w 67"/>
                <a:gd name="T9" fmla="*/ 94 h 101"/>
                <a:gd name="T10" fmla="*/ 24 w 67"/>
                <a:gd name="T11" fmla="*/ 101 h 101"/>
                <a:gd name="T12" fmla="*/ 1 w 67"/>
                <a:gd name="T13" fmla="*/ 66 h 101"/>
                <a:gd name="T14" fmla="*/ 30 w 67"/>
                <a:gd name="T15" fmla="*/ 29 h 101"/>
                <a:gd name="T16" fmla="*/ 45 w 67"/>
                <a:gd name="T17" fmla="*/ 31 h 101"/>
                <a:gd name="T18" fmla="*/ 45 w 67"/>
                <a:gd name="T19" fmla="*/ 31 h 101"/>
                <a:gd name="T20" fmla="*/ 45 w 67"/>
                <a:gd name="T21" fmla="*/ 3 h 101"/>
                <a:gd name="T22" fmla="*/ 48 w 67"/>
                <a:gd name="T23" fmla="*/ 0 h 101"/>
                <a:gd name="T24" fmla="*/ 64 w 67"/>
                <a:gd name="T25" fmla="*/ 0 h 101"/>
                <a:gd name="T26" fmla="*/ 67 w 67"/>
                <a:gd name="T27" fmla="*/ 4 h 101"/>
                <a:gd name="T28" fmla="*/ 66 w 67"/>
                <a:gd name="T29" fmla="*/ 98 h 101"/>
                <a:gd name="T30" fmla="*/ 63 w 67"/>
                <a:gd name="T31" fmla="*/ 100 h 101"/>
                <a:gd name="T32" fmla="*/ 45 w 67"/>
                <a:gd name="T33" fmla="*/ 49 h 101"/>
                <a:gd name="T34" fmla="*/ 34 w 67"/>
                <a:gd name="T35" fmla="*/ 47 h 101"/>
                <a:gd name="T36" fmla="*/ 23 w 67"/>
                <a:gd name="T37" fmla="*/ 65 h 101"/>
                <a:gd name="T38" fmla="*/ 31 w 67"/>
                <a:gd name="T39" fmla="*/ 82 h 101"/>
                <a:gd name="T40" fmla="*/ 45 w 67"/>
                <a:gd name="T41" fmla="*/ 78 h 101"/>
                <a:gd name="T42" fmla="*/ 45 w 67"/>
                <a:gd name="T43" fmla="*/ 4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101">
                  <a:moveTo>
                    <a:pt x="63" y="100"/>
                  </a:moveTo>
                  <a:cubicBezTo>
                    <a:pt x="47" y="100"/>
                    <a:pt x="47" y="100"/>
                    <a:pt x="47" y="100"/>
                  </a:cubicBezTo>
                  <a:cubicBezTo>
                    <a:pt x="45" y="100"/>
                    <a:pt x="44" y="99"/>
                    <a:pt x="45" y="97"/>
                  </a:cubicBezTo>
                  <a:cubicBezTo>
                    <a:pt x="45" y="94"/>
                    <a:pt x="45" y="94"/>
                    <a:pt x="45" y="94"/>
                  </a:cubicBezTo>
                  <a:cubicBezTo>
                    <a:pt x="44" y="94"/>
                    <a:pt x="44" y="94"/>
                    <a:pt x="44" y="94"/>
                  </a:cubicBezTo>
                  <a:cubicBezTo>
                    <a:pt x="38" y="98"/>
                    <a:pt x="31" y="101"/>
                    <a:pt x="24" y="101"/>
                  </a:cubicBezTo>
                  <a:cubicBezTo>
                    <a:pt x="5" y="101"/>
                    <a:pt x="0" y="86"/>
                    <a:pt x="1" y="66"/>
                  </a:cubicBezTo>
                  <a:cubicBezTo>
                    <a:pt x="1" y="43"/>
                    <a:pt x="5" y="28"/>
                    <a:pt x="30" y="29"/>
                  </a:cubicBezTo>
                  <a:cubicBezTo>
                    <a:pt x="36" y="29"/>
                    <a:pt x="41" y="30"/>
                    <a:pt x="45" y="31"/>
                  </a:cubicBezTo>
                  <a:cubicBezTo>
                    <a:pt x="45" y="31"/>
                    <a:pt x="45" y="31"/>
                    <a:pt x="45" y="31"/>
                  </a:cubicBezTo>
                  <a:cubicBezTo>
                    <a:pt x="45" y="3"/>
                    <a:pt x="45" y="3"/>
                    <a:pt x="45" y="3"/>
                  </a:cubicBezTo>
                  <a:cubicBezTo>
                    <a:pt x="45" y="2"/>
                    <a:pt x="46" y="0"/>
                    <a:pt x="48" y="0"/>
                  </a:cubicBezTo>
                  <a:cubicBezTo>
                    <a:pt x="64" y="0"/>
                    <a:pt x="64" y="0"/>
                    <a:pt x="64" y="0"/>
                  </a:cubicBezTo>
                  <a:cubicBezTo>
                    <a:pt x="67" y="0"/>
                    <a:pt x="67" y="2"/>
                    <a:pt x="67" y="4"/>
                  </a:cubicBezTo>
                  <a:cubicBezTo>
                    <a:pt x="66" y="98"/>
                    <a:pt x="66" y="98"/>
                    <a:pt x="66" y="98"/>
                  </a:cubicBezTo>
                  <a:cubicBezTo>
                    <a:pt x="66" y="99"/>
                    <a:pt x="65" y="101"/>
                    <a:pt x="63" y="100"/>
                  </a:cubicBezTo>
                  <a:close/>
                  <a:moveTo>
                    <a:pt x="45" y="49"/>
                  </a:moveTo>
                  <a:cubicBezTo>
                    <a:pt x="40" y="48"/>
                    <a:pt x="37" y="47"/>
                    <a:pt x="34" y="47"/>
                  </a:cubicBezTo>
                  <a:cubicBezTo>
                    <a:pt x="26" y="47"/>
                    <a:pt x="23" y="51"/>
                    <a:pt x="23" y="65"/>
                  </a:cubicBezTo>
                  <a:cubicBezTo>
                    <a:pt x="22" y="79"/>
                    <a:pt x="25" y="82"/>
                    <a:pt x="31" y="82"/>
                  </a:cubicBezTo>
                  <a:cubicBezTo>
                    <a:pt x="35" y="82"/>
                    <a:pt x="41" y="79"/>
                    <a:pt x="45" y="78"/>
                  </a:cubicBezTo>
                  <a:lnTo>
                    <a:pt x="4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81">
              <a:extLst>
                <a:ext uri="{FF2B5EF4-FFF2-40B4-BE49-F238E27FC236}">
                  <a16:creationId xmlns:a16="http://schemas.microsoft.com/office/drawing/2014/main" id="{4BD8A3DC-E8B6-43EF-B3E0-05BDCE8DA1D5}"/>
                </a:ext>
              </a:extLst>
            </p:cNvPr>
            <p:cNvSpPr>
              <a:spLocks noEditPoints="1"/>
            </p:cNvSpPr>
            <p:nvPr/>
          </p:nvSpPr>
          <p:spPr bwMode="auto">
            <a:xfrm>
              <a:off x="3430588" y="53975"/>
              <a:ext cx="119063" cy="133350"/>
            </a:xfrm>
            <a:custGeom>
              <a:avLst/>
              <a:gdLst>
                <a:gd name="T0" fmla="*/ 22 w 65"/>
                <a:gd name="T1" fmla="*/ 42 h 73"/>
                <a:gd name="T2" fmla="*/ 38 w 65"/>
                <a:gd name="T3" fmla="*/ 55 h 73"/>
                <a:gd name="T4" fmla="*/ 54 w 65"/>
                <a:gd name="T5" fmla="*/ 54 h 73"/>
                <a:gd name="T6" fmla="*/ 59 w 65"/>
                <a:gd name="T7" fmla="*/ 57 h 73"/>
                <a:gd name="T8" fmla="*/ 60 w 65"/>
                <a:gd name="T9" fmla="*/ 64 h 73"/>
                <a:gd name="T10" fmla="*/ 56 w 65"/>
                <a:gd name="T11" fmla="*/ 70 h 73"/>
                <a:gd name="T12" fmla="*/ 34 w 65"/>
                <a:gd name="T13" fmla="*/ 73 h 73"/>
                <a:gd name="T14" fmla="*/ 0 w 65"/>
                <a:gd name="T15" fmla="*/ 37 h 73"/>
                <a:gd name="T16" fmla="*/ 33 w 65"/>
                <a:gd name="T17" fmla="*/ 1 h 73"/>
                <a:gd name="T18" fmla="*/ 65 w 65"/>
                <a:gd name="T19" fmla="*/ 33 h 73"/>
                <a:gd name="T20" fmla="*/ 57 w 65"/>
                <a:gd name="T21" fmla="*/ 42 h 73"/>
                <a:gd name="T22" fmla="*/ 22 w 65"/>
                <a:gd name="T23" fmla="*/ 42 h 73"/>
                <a:gd name="T24" fmla="*/ 23 w 65"/>
                <a:gd name="T25" fmla="*/ 29 h 73"/>
                <a:gd name="T26" fmla="*/ 43 w 65"/>
                <a:gd name="T27" fmla="*/ 29 h 73"/>
                <a:gd name="T28" fmla="*/ 33 w 65"/>
                <a:gd name="T29" fmla="*/ 17 h 73"/>
                <a:gd name="T30" fmla="*/ 23 w 65"/>
                <a:gd name="T31" fmla="*/ 2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73">
                  <a:moveTo>
                    <a:pt x="22" y="42"/>
                  </a:moveTo>
                  <a:cubicBezTo>
                    <a:pt x="23" y="53"/>
                    <a:pt x="28" y="55"/>
                    <a:pt x="38" y="55"/>
                  </a:cubicBezTo>
                  <a:cubicBezTo>
                    <a:pt x="42" y="55"/>
                    <a:pt x="49" y="55"/>
                    <a:pt x="54" y="54"/>
                  </a:cubicBezTo>
                  <a:cubicBezTo>
                    <a:pt x="58" y="54"/>
                    <a:pt x="58" y="54"/>
                    <a:pt x="59" y="57"/>
                  </a:cubicBezTo>
                  <a:cubicBezTo>
                    <a:pt x="60" y="64"/>
                    <a:pt x="60" y="64"/>
                    <a:pt x="60" y="64"/>
                  </a:cubicBezTo>
                  <a:cubicBezTo>
                    <a:pt x="61" y="67"/>
                    <a:pt x="61" y="69"/>
                    <a:pt x="56" y="70"/>
                  </a:cubicBezTo>
                  <a:cubicBezTo>
                    <a:pt x="51" y="72"/>
                    <a:pt x="40" y="73"/>
                    <a:pt x="34" y="73"/>
                  </a:cubicBezTo>
                  <a:cubicBezTo>
                    <a:pt x="5" y="73"/>
                    <a:pt x="0" y="56"/>
                    <a:pt x="0" y="37"/>
                  </a:cubicBezTo>
                  <a:cubicBezTo>
                    <a:pt x="0" y="24"/>
                    <a:pt x="3" y="0"/>
                    <a:pt x="33" y="1"/>
                  </a:cubicBezTo>
                  <a:cubicBezTo>
                    <a:pt x="60" y="1"/>
                    <a:pt x="65" y="18"/>
                    <a:pt x="65" y="33"/>
                  </a:cubicBezTo>
                  <a:cubicBezTo>
                    <a:pt x="65" y="39"/>
                    <a:pt x="63" y="42"/>
                    <a:pt x="57" y="42"/>
                  </a:cubicBezTo>
                  <a:lnTo>
                    <a:pt x="22" y="42"/>
                  </a:lnTo>
                  <a:close/>
                  <a:moveTo>
                    <a:pt x="23" y="29"/>
                  </a:moveTo>
                  <a:cubicBezTo>
                    <a:pt x="43" y="29"/>
                    <a:pt x="43" y="29"/>
                    <a:pt x="43" y="29"/>
                  </a:cubicBezTo>
                  <a:cubicBezTo>
                    <a:pt x="43" y="23"/>
                    <a:pt x="40" y="17"/>
                    <a:pt x="33" y="17"/>
                  </a:cubicBezTo>
                  <a:cubicBezTo>
                    <a:pt x="26" y="17"/>
                    <a:pt x="23" y="21"/>
                    <a:pt x="2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82">
              <a:extLst>
                <a:ext uri="{FF2B5EF4-FFF2-40B4-BE49-F238E27FC236}">
                  <a16:creationId xmlns:a16="http://schemas.microsoft.com/office/drawing/2014/main" id="{BA9FE523-0F0B-4F18-A526-3E94D5EA5DE9}"/>
                </a:ext>
              </a:extLst>
            </p:cNvPr>
            <p:cNvSpPr>
              <a:spLocks/>
            </p:cNvSpPr>
            <p:nvPr/>
          </p:nvSpPr>
          <p:spPr bwMode="auto">
            <a:xfrm>
              <a:off x="3570288" y="57150"/>
              <a:ext cx="120650" cy="131763"/>
            </a:xfrm>
            <a:custGeom>
              <a:avLst/>
              <a:gdLst>
                <a:gd name="T0" fmla="*/ 62 w 66"/>
                <a:gd name="T1" fmla="*/ 71 h 72"/>
                <a:gd name="T2" fmla="*/ 47 w 66"/>
                <a:gd name="T3" fmla="*/ 71 h 72"/>
                <a:gd name="T4" fmla="*/ 44 w 66"/>
                <a:gd name="T5" fmla="*/ 68 h 72"/>
                <a:gd name="T6" fmla="*/ 44 w 66"/>
                <a:gd name="T7" fmla="*/ 64 h 72"/>
                <a:gd name="T8" fmla="*/ 44 w 66"/>
                <a:gd name="T9" fmla="*/ 64 h 72"/>
                <a:gd name="T10" fmla="*/ 21 w 66"/>
                <a:gd name="T11" fmla="*/ 72 h 72"/>
                <a:gd name="T12" fmla="*/ 0 w 66"/>
                <a:gd name="T13" fmla="*/ 44 h 72"/>
                <a:gd name="T14" fmla="*/ 1 w 66"/>
                <a:gd name="T15" fmla="*/ 4 h 72"/>
                <a:gd name="T16" fmla="*/ 4 w 66"/>
                <a:gd name="T17" fmla="*/ 0 h 72"/>
                <a:gd name="T18" fmla="*/ 19 w 66"/>
                <a:gd name="T19" fmla="*/ 1 h 72"/>
                <a:gd name="T20" fmla="*/ 22 w 66"/>
                <a:gd name="T21" fmla="*/ 4 h 72"/>
                <a:gd name="T22" fmla="*/ 22 w 66"/>
                <a:gd name="T23" fmla="*/ 41 h 72"/>
                <a:gd name="T24" fmla="*/ 31 w 66"/>
                <a:gd name="T25" fmla="*/ 52 h 72"/>
                <a:gd name="T26" fmla="*/ 44 w 66"/>
                <a:gd name="T27" fmla="*/ 48 h 72"/>
                <a:gd name="T28" fmla="*/ 44 w 66"/>
                <a:gd name="T29" fmla="*/ 4 h 72"/>
                <a:gd name="T30" fmla="*/ 47 w 66"/>
                <a:gd name="T31" fmla="*/ 1 h 72"/>
                <a:gd name="T32" fmla="*/ 63 w 66"/>
                <a:gd name="T33" fmla="*/ 1 h 72"/>
                <a:gd name="T34" fmla="*/ 66 w 66"/>
                <a:gd name="T35" fmla="*/ 4 h 72"/>
                <a:gd name="T36" fmla="*/ 66 w 66"/>
                <a:gd name="T37" fmla="*/ 68 h 72"/>
                <a:gd name="T38" fmla="*/ 62 w 66"/>
                <a:gd name="T39"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2">
                  <a:moveTo>
                    <a:pt x="62" y="71"/>
                  </a:moveTo>
                  <a:cubicBezTo>
                    <a:pt x="47" y="71"/>
                    <a:pt x="47" y="71"/>
                    <a:pt x="47" y="71"/>
                  </a:cubicBezTo>
                  <a:cubicBezTo>
                    <a:pt x="44" y="71"/>
                    <a:pt x="44" y="69"/>
                    <a:pt x="44" y="68"/>
                  </a:cubicBezTo>
                  <a:cubicBezTo>
                    <a:pt x="44" y="64"/>
                    <a:pt x="44" y="64"/>
                    <a:pt x="44" y="64"/>
                  </a:cubicBezTo>
                  <a:cubicBezTo>
                    <a:pt x="44" y="64"/>
                    <a:pt x="44" y="64"/>
                    <a:pt x="44" y="64"/>
                  </a:cubicBezTo>
                  <a:cubicBezTo>
                    <a:pt x="37" y="69"/>
                    <a:pt x="28" y="72"/>
                    <a:pt x="21" y="72"/>
                  </a:cubicBezTo>
                  <a:cubicBezTo>
                    <a:pt x="1" y="71"/>
                    <a:pt x="0" y="59"/>
                    <a:pt x="0" y="44"/>
                  </a:cubicBezTo>
                  <a:cubicBezTo>
                    <a:pt x="1" y="4"/>
                    <a:pt x="1" y="4"/>
                    <a:pt x="1" y="4"/>
                  </a:cubicBezTo>
                  <a:cubicBezTo>
                    <a:pt x="1" y="2"/>
                    <a:pt x="1" y="0"/>
                    <a:pt x="4" y="0"/>
                  </a:cubicBezTo>
                  <a:cubicBezTo>
                    <a:pt x="19" y="1"/>
                    <a:pt x="19" y="1"/>
                    <a:pt x="19" y="1"/>
                  </a:cubicBezTo>
                  <a:cubicBezTo>
                    <a:pt x="22" y="1"/>
                    <a:pt x="22" y="2"/>
                    <a:pt x="22" y="4"/>
                  </a:cubicBezTo>
                  <a:cubicBezTo>
                    <a:pt x="22" y="41"/>
                    <a:pt x="22" y="41"/>
                    <a:pt x="22" y="41"/>
                  </a:cubicBezTo>
                  <a:cubicBezTo>
                    <a:pt x="22" y="48"/>
                    <a:pt x="24" y="52"/>
                    <a:pt x="31" y="52"/>
                  </a:cubicBezTo>
                  <a:cubicBezTo>
                    <a:pt x="35" y="52"/>
                    <a:pt x="41" y="49"/>
                    <a:pt x="44" y="48"/>
                  </a:cubicBezTo>
                  <a:cubicBezTo>
                    <a:pt x="44" y="4"/>
                    <a:pt x="44" y="4"/>
                    <a:pt x="44" y="4"/>
                  </a:cubicBezTo>
                  <a:cubicBezTo>
                    <a:pt x="44" y="2"/>
                    <a:pt x="45" y="1"/>
                    <a:pt x="47" y="1"/>
                  </a:cubicBezTo>
                  <a:cubicBezTo>
                    <a:pt x="63" y="1"/>
                    <a:pt x="63" y="1"/>
                    <a:pt x="63" y="1"/>
                  </a:cubicBezTo>
                  <a:cubicBezTo>
                    <a:pt x="65" y="1"/>
                    <a:pt x="66" y="2"/>
                    <a:pt x="66" y="4"/>
                  </a:cubicBezTo>
                  <a:cubicBezTo>
                    <a:pt x="66" y="68"/>
                    <a:pt x="66" y="68"/>
                    <a:pt x="66" y="68"/>
                  </a:cubicBezTo>
                  <a:cubicBezTo>
                    <a:pt x="66" y="70"/>
                    <a:pt x="65" y="71"/>
                    <a:pt x="6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3">
              <a:extLst>
                <a:ext uri="{FF2B5EF4-FFF2-40B4-BE49-F238E27FC236}">
                  <a16:creationId xmlns:a16="http://schemas.microsoft.com/office/drawing/2014/main" id="{E4AC22FF-E578-49C8-A601-E7ACF1C19E25}"/>
                </a:ext>
              </a:extLst>
            </p:cNvPr>
            <p:cNvSpPr>
              <a:spLocks/>
            </p:cNvSpPr>
            <p:nvPr/>
          </p:nvSpPr>
          <p:spPr bwMode="auto">
            <a:xfrm>
              <a:off x="3711576" y="57150"/>
              <a:ext cx="109538" cy="133350"/>
            </a:xfrm>
            <a:custGeom>
              <a:avLst/>
              <a:gdLst>
                <a:gd name="T0" fmla="*/ 28 w 60"/>
                <a:gd name="T1" fmla="*/ 73 h 73"/>
                <a:gd name="T2" fmla="*/ 6 w 60"/>
                <a:gd name="T3" fmla="*/ 69 h 73"/>
                <a:gd name="T4" fmla="*/ 1 w 60"/>
                <a:gd name="T5" fmla="*/ 62 h 73"/>
                <a:gd name="T6" fmla="*/ 3 w 60"/>
                <a:gd name="T7" fmla="*/ 56 h 73"/>
                <a:gd name="T8" fmla="*/ 7 w 60"/>
                <a:gd name="T9" fmla="*/ 53 h 73"/>
                <a:gd name="T10" fmla="*/ 28 w 60"/>
                <a:gd name="T11" fmla="*/ 55 h 73"/>
                <a:gd name="T12" fmla="*/ 38 w 60"/>
                <a:gd name="T13" fmla="*/ 50 h 73"/>
                <a:gd name="T14" fmla="*/ 30 w 60"/>
                <a:gd name="T15" fmla="*/ 44 h 73"/>
                <a:gd name="T16" fmla="*/ 2 w 60"/>
                <a:gd name="T17" fmla="*/ 22 h 73"/>
                <a:gd name="T18" fmla="*/ 31 w 60"/>
                <a:gd name="T19" fmla="*/ 0 h 73"/>
                <a:gd name="T20" fmla="*/ 53 w 60"/>
                <a:gd name="T21" fmla="*/ 3 h 73"/>
                <a:gd name="T22" fmla="*/ 58 w 60"/>
                <a:gd name="T23" fmla="*/ 9 h 73"/>
                <a:gd name="T24" fmla="*/ 56 w 60"/>
                <a:gd name="T25" fmla="*/ 16 h 73"/>
                <a:gd name="T26" fmla="*/ 52 w 60"/>
                <a:gd name="T27" fmla="*/ 19 h 73"/>
                <a:gd name="T28" fmla="*/ 32 w 60"/>
                <a:gd name="T29" fmla="*/ 17 h 73"/>
                <a:gd name="T30" fmla="*/ 24 w 60"/>
                <a:gd name="T31" fmla="*/ 22 h 73"/>
                <a:gd name="T32" fmla="*/ 32 w 60"/>
                <a:gd name="T33" fmla="*/ 27 h 73"/>
                <a:gd name="T34" fmla="*/ 60 w 60"/>
                <a:gd name="T35" fmla="*/ 49 h 73"/>
                <a:gd name="T36" fmla="*/ 28 w 60"/>
                <a:gd name="T3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73">
                  <a:moveTo>
                    <a:pt x="28" y="73"/>
                  </a:moveTo>
                  <a:cubicBezTo>
                    <a:pt x="21" y="73"/>
                    <a:pt x="12" y="71"/>
                    <a:pt x="6" y="69"/>
                  </a:cubicBezTo>
                  <a:cubicBezTo>
                    <a:pt x="1" y="68"/>
                    <a:pt x="0" y="66"/>
                    <a:pt x="1" y="62"/>
                  </a:cubicBezTo>
                  <a:cubicBezTo>
                    <a:pt x="3" y="56"/>
                    <a:pt x="3" y="56"/>
                    <a:pt x="3" y="56"/>
                  </a:cubicBezTo>
                  <a:cubicBezTo>
                    <a:pt x="3" y="53"/>
                    <a:pt x="4" y="53"/>
                    <a:pt x="7" y="53"/>
                  </a:cubicBezTo>
                  <a:cubicBezTo>
                    <a:pt x="14" y="54"/>
                    <a:pt x="23" y="55"/>
                    <a:pt x="28" y="55"/>
                  </a:cubicBezTo>
                  <a:cubicBezTo>
                    <a:pt x="35" y="55"/>
                    <a:pt x="38" y="54"/>
                    <a:pt x="38" y="50"/>
                  </a:cubicBezTo>
                  <a:cubicBezTo>
                    <a:pt x="38" y="46"/>
                    <a:pt x="36" y="45"/>
                    <a:pt x="30" y="44"/>
                  </a:cubicBezTo>
                  <a:cubicBezTo>
                    <a:pt x="14" y="42"/>
                    <a:pt x="2" y="39"/>
                    <a:pt x="2" y="22"/>
                  </a:cubicBezTo>
                  <a:cubicBezTo>
                    <a:pt x="2" y="7"/>
                    <a:pt x="14" y="0"/>
                    <a:pt x="31" y="0"/>
                  </a:cubicBezTo>
                  <a:cubicBezTo>
                    <a:pt x="37" y="0"/>
                    <a:pt x="47" y="1"/>
                    <a:pt x="53" y="3"/>
                  </a:cubicBezTo>
                  <a:cubicBezTo>
                    <a:pt x="57" y="5"/>
                    <a:pt x="59" y="6"/>
                    <a:pt x="58" y="9"/>
                  </a:cubicBezTo>
                  <a:cubicBezTo>
                    <a:pt x="56" y="16"/>
                    <a:pt x="56" y="16"/>
                    <a:pt x="56" y="16"/>
                  </a:cubicBezTo>
                  <a:cubicBezTo>
                    <a:pt x="55" y="19"/>
                    <a:pt x="55" y="19"/>
                    <a:pt x="52" y="19"/>
                  </a:cubicBezTo>
                  <a:cubicBezTo>
                    <a:pt x="46" y="18"/>
                    <a:pt x="36" y="17"/>
                    <a:pt x="32" y="17"/>
                  </a:cubicBezTo>
                  <a:cubicBezTo>
                    <a:pt x="25" y="17"/>
                    <a:pt x="24" y="19"/>
                    <a:pt x="24" y="22"/>
                  </a:cubicBezTo>
                  <a:cubicBezTo>
                    <a:pt x="24" y="25"/>
                    <a:pt x="27" y="26"/>
                    <a:pt x="32" y="27"/>
                  </a:cubicBezTo>
                  <a:cubicBezTo>
                    <a:pt x="47" y="29"/>
                    <a:pt x="60" y="32"/>
                    <a:pt x="60" y="49"/>
                  </a:cubicBezTo>
                  <a:cubicBezTo>
                    <a:pt x="60" y="67"/>
                    <a:pt x="44" y="73"/>
                    <a:pt x="2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84">
              <a:extLst>
                <a:ext uri="{FF2B5EF4-FFF2-40B4-BE49-F238E27FC236}">
                  <a16:creationId xmlns:a16="http://schemas.microsoft.com/office/drawing/2014/main" id="{E948ECFD-6B2B-4C3A-867B-68A94E4C97FE}"/>
                </a:ext>
              </a:extLst>
            </p:cNvPr>
            <p:cNvSpPr>
              <a:spLocks noEditPoints="1"/>
            </p:cNvSpPr>
            <p:nvPr/>
          </p:nvSpPr>
          <p:spPr bwMode="auto">
            <a:xfrm>
              <a:off x="3911601" y="15875"/>
              <a:ext cx="128588" cy="174625"/>
            </a:xfrm>
            <a:custGeom>
              <a:avLst/>
              <a:gdLst>
                <a:gd name="T0" fmla="*/ 63 w 70"/>
                <a:gd name="T1" fmla="*/ 95 h 95"/>
                <a:gd name="T2" fmla="*/ 61 w 70"/>
                <a:gd name="T3" fmla="*/ 93 h 95"/>
                <a:gd name="T4" fmla="*/ 54 w 70"/>
                <a:gd name="T5" fmla="*/ 69 h 95"/>
                <a:gd name="T6" fmla="*/ 16 w 70"/>
                <a:gd name="T7" fmla="*/ 68 h 95"/>
                <a:gd name="T8" fmla="*/ 8 w 70"/>
                <a:gd name="T9" fmla="*/ 92 h 95"/>
                <a:gd name="T10" fmla="*/ 5 w 70"/>
                <a:gd name="T11" fmla="*/ 94 h 95"/>
                <a:gd name="T12" fmla="*/ 1 w 70"/>
                <a:gd name="T13" fmla="*/ 94 h 95"/>
                <a:gd name="T14" fmla="*/ 1 w 70"/>
                <a:gd name="T15" fmla="*/ 92 h 95"/>
                <a:gd name="T16" fmla="*/ 31 w 70"/>
                <a:gd name="T17" fmla="*/ 2 h 95"/>
                <a:gd name="T18" fmla="*/ 33 w 70"/>
                <a:gd name="T19" fmla="*/ 0 h 95"/>
                <a:gd name="T20" fmla="*/ 39 w 70"/>
                <a:gd name="T21" fmla="*/ 0 h 95"/>
                <a:gd name="T22" fmla="*/ 41 w 70"/>
                <a:gd name="T23" fmla="*/ 2 h 95"/>
                <a:gd name="T24" fmla="*/ 70 w 70"/>
                <a:gd name="T25" fmla="*/ 93 h 95"/>
                <a:gd name="T26" fmla="*/ 69 w 70"/>
                <a:gd name="T27" fmla="*/ 95 h 95"/>
                <a:gd name="T28" fmla="*/ 63 w 70"/>
                <a:gd name="T29" fmla="*/ 95 h 95"/>
                <a:gd name="T30" fmla="*/ 40 w 70"/>
                <a:gd name="T31" fmla="*/ 22 h 95"/>
                <a:gd name="T32" fmla="*/ 36 w 70"/>
                <a:gd name="T33" fmla="*/ 8 h 95"/>
                <a:gd name="T34" fmla="*/ 36 w 70"/>
                <a:gd name="T35" fmla="*/ 8 h 95"/>
                <a:gd name="T36" fmla="*/ 31 w 70"/>
                <a:gd name="T37" fmla="*/ 21 h 95"/>
                <a:gd name="T38" fmla="*/ 19 w 70"/>
                <a:gd name="T39" fmla="*/ 61 h 95"/>
                <a:gd name="T40" fmla="*/ 52 w 70"/>
                <a:gd name="T41" fmla="*/ 61 h 95"/>
                <a:gd name="T42" fmla="*/ 40 w 70"/>
                <a:gd name="T43"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95">
                  <a:moveTo>
                    <a:pt x="63" y="95"/>
                  </a:moveTo>
                  <a:cubicBezTo>
                    <a:pt x="62" y="95"/>
                    <a:pt x="62" y="94"/>
                    <a:pt x="61" y="93"/>
                  </a:cubicBezTo>
                  <a:cubicBezTo>
                    <a:pt x="54" y="69"/>
                    <a:pt x="54" y="69"/>
                    <a:pt x="54" y="69"/>
                  </a:cubicBezTo>
                  <a:cubicBezTo>
                    <a:pt x="16" y="68"/>
                    <a:pt x="16" y="68"/>
                    <a:pt x="16" y="68"/>
                  </a:cubicBezTo>
                  <a:cubicBezTo>
                    <a:pt x="8" y="92"/>
                    <a:pt x="8" y="92"/>
                    <a:pt x="8" y="92"/>
                  </a:cubicBezTo>
                  <a:cubicBezTo>
                    <a:pt x="8" y="94"/>
                    <a:pt x="7" y="94"/>
                    <a:pt x="5" y="94"/>
                  </a:cubicBezTo>
                  <a:cubicBezTo>
                    <a:pt x="1" y="94"/>
                    <a:pt x="1" y="94"/>
                    <a:pt x="1" y="94"/>
                  </a:cubicBezTo>
                  <a:cubicBezTo>
                    <a:pt x="0" y="94"/>
                    <a:pt x="0" y="94"/>
                    <a:pt x="1" y="92"/>
                  </a:cubicBezTo>
                  <a:cubicBezTo>
                    <a:pt x="31" y="2"/>
                    <a:pt x="31" y="2"/>
                    <a:pt x="31" y="2"/>
                  </a:cubicBezTo>
                  <a:cubicBezTo>
                    <a:pt x="31" y="1"/>
                    <a:pt x="31" y="0"/>
                    <a:pt x="33" y="0"/>
                  </a:cubicBezTo>
                  <a:cubicBezTo>
                    <a:pt x="39" y="0"/>
                    <a:pt x="39" y="0"/>
                    <a:pt x="39" y="0"/>
                  </a:cubicBezTo>
                  <a:cubicBezTo>
                    <a:pt x="40" y="0"/>
                    <a:pt x="41" y="1"/>
                    <a:pt x="41" y="2"/>
                  </a:cubicBezTo>
                  <a:cubicBezTo>
                    <a:pt x="70" y="93"/>
                    <a:pt x="70" y="93"/>
                    <a:pt x="70" y="93"/>
                  </a:cubicBezTo>
                  <a:cubicBezTo>
                    <a:pt x="70" y="94"/>
                    <a:pt x="70" y="95"/>
                    <a:pt x="69" y="95"/>
                  </a:cubicBezTo>
                  <a:lnTo>
                    <a:pt x="63" y="95"/>
                  </a:lnTo>
                  <a:close/>
                  <a:moveTo>
                    <a:pt x="40" y="22"/>
                  </a:moveTo>
                  <a:cubicBezTo>
                    <a:pt x="36" y="10"/>
                    <a:pt x="37" y="13"/>
                    <a:pt x="36" y="8"/>
                  </a:cubicBezTo>
                  <a:cubicBezTo>
                    <a:pt x="36" y="8"/>
                    <a:pt x="36" y="8"/>
                    <a:pt x="36" y="8"/>
                  </a:cubicBezTo>
                  <a:cubicBezTo>
                    <a:pt x="34" y="12"/>
                    <a:pt x="35" y="10"/>
                    <a:pt x="31" y="21"/>
                  </a:cubicBezTo>
                  <a:cubicBezTo>
                    <a:pt x="19" y="61"/>
                    <a:pt x="19" y="61"/>
                    <a:pt x="19" y="61"/>
                  </a:cubicBezTo>
                  <a:cubicBezTo>
                    <a:pt x="52" y="61"/>
                    <a:pt x="52" y="61"/>
                    <a:pt x="52" y="61"/>
                  </a:cubicBezTo>
                  <a:lnTo>
                    <a:pt x="4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185">
              <a:extLst>
                <a:ext uri="{FF2B5EF4-FFF2-40B4-BE49-F238E27FC236}">
                  <a16:creationId xmlns:a16="http://schemas.microsoft.com/office/drawing/2014/main" id="{2CB2137B-D6D7-432F-966C-F0815D10DCCF}"/>
                </a:ext>
              </a:extLst>
            </p:cNvPr>
            <p:cNvSpPr>
              <a:spLocks noEditPoints="1"/>
            </p:cNvSpPr>
            <p:nvPr/>
          </p:nvSpPr>
          <p:spPr bwMode="auto">
            <a:xfrm>
              <a:off x="4065588" y="23813"/>
              <a:ext cx="15875" cy="166688"/>
            </a:xfrm>
            <a:custGeom>
              <a:avLst/>
              <a:gdLst>
                <a:gd name="T0" fmla="*/ 5 w 9"/>
                <a:gd name="T1" fmla="*/ 10 h 91"/>
                <a:gd name="T2" fmla="*/ 0 w 9"/>
                <a:gd name="T3" fmla="*/ 5 h 91"/>
                <a:gd name="T4" fmla="*/ 5 w 9"/>
                <a:gd name="T5" fmla="*/ 0 h 91"/>
                <a:gd name="T6" fmla="*/ 9 w 9"/>
                <a:gd name="T7" fmla="*/ 5 h 91"/>
                <a:gd name="T8" fmla="*/ 5 w 9"/>
                <a:gd name="T9" fmla="*/ 10 h 91"/>
                <a:gd name="T10" fmla="*/ 3 w 9"/>
                <a:gd name="T11" fmla="*/ 22 h 91"/>
                <a:gd name="T12" fmla="*/ 6 w 9"/>
                <a:gd name="T13" fmla="*/ 22 h 91"/>
                <a:gd name="T14" fmla="*/ 8 w 9"/>
                <a:gd name="T15" fmla="*/ 24 h 91"/>
                <a:gd name="T16" fmla="*/ 7 w 9"/>
                <a:gd name="T17" fmla="*/ 89 h 91"/>
                <a:gd name="T18" fmla="*/ 6 w 9"/>
                <a:gd name="T19" fmla="*/ 91 h 91"/>
                <a:gd name="T20" fmla="*/ 2 w 9"/>
                <a:gd name="T21" fmla="*/ 91 h 91"/>
                <a:gd name="T22" fmla="*/ 0 w 9"/>
                <a:gd name="T23" fmla="*/ 89 h 91"/>
                <a:gd name="T24" fmla="*/ 1 w 9"/>
                <a:gd name="T25" fmla="*/ 24 h 91"/>
                <a:gd name="T26" fmla="*/ 3 w 9"/>
                <a:gd name="T27"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1">
                  <a:moveTo>
                    <a:pt x="5" y="10"/>
                  </a:moveTo>
                  <a:cubicBezTo>
                    <a:pt x="0" y="10"/>
                    <a:pt x="0" y="8"/>
                    <a:pt x="0" y="5"/>
                  </a:cubicBezTo>
                  <a:cubicBezTo>
                    <a:pt x="0" y="2"/>
                    <a:pt x="1" y="0"/>
                    <a:pt x="5" y="0"/>
                  </a:cubicBezTo>
                  <a:cubicBezTo>
                    <a:pt x="9" y="0"/>
                    <a:pt x="9" y="2"/>
                    <a:pt x="9" y="5"/>
                  </a:cubicBezTo>
                  <a:cubicBezTo>
                    <a:pt x="9" y="8"/>
                    <a:pt x="9" y="10"/>
                    <a:pt x="5" y="10"/>
                  </a:cubicBezTo>
                  <a:close/>
                  <a:moveTo>
                    <a:pt x="3" y="22"/>
                  </a:moveTo>
                  <a:cubicBezTo>
                    <a:pt x="6" y="22"/>
                    <a:pt x="6" y="22"/>
                    <a:pt x="6" y="22"/>
                  </a:cubicBezTo>
                  <a:cubicBezTo>
                    <a:pt x="8" y="22"/>
                    <a:pt x="8" y="22"/>
                    <a:pt x="8" y="24"/>
                  </a:cubicBezTo>
                  <a:cubicBezTo>
                    <a:pt x="7" y="89"/>
                    <a:pt x="7" y="89"/>
                    <a:pt x="7" y="89"/>
                  </a:cubicBezTo>
                  <a:cubicBezTo>
                    <a:pt x="7" y="90"/>
                    <a:pt x="7" y="91"/>
                    <a:pt x="6" y="91"/>
                  </a:cubicBezTo>
                  <a:cubicBezTo>
                    <a:pt x="2" y="91"/>
                    <a:pt x="2" y="91"/>
                    <a:pt x="2" y="91"/>
                  </a:cubicBezTo>
                  <a:cubicBezTo>
                    <a:pt x="1" y="91"/>
                    <a:pt x="0" y="90"/>
                    <a:pt x="0" y="89"/>
                  </a:cubicBezTo>
                  <a:cubicBezTo>
                    <a:pt x="1" y="24"/>
                    <a:pt x="1" y="24"/>
                    <a:pt x="1" y="24"/>
                  </a:cubicBezTo>
                  <a:cubicBezTo>
                    <a:pt x="1" y="22"/>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186">
              <a:extLst>
                <a:ext uri="{FF2B5EF4-FFF2-40B4-BE49-F238E27FC236}">
                  <a16:creationId xmlns:a16="http://schemas.microsoft.com/office/drawing/2014/main" id="{7C64E000-1982-4EFC-9921-3CEF25D38CF0}"/>
                </a:ext>
              </a:extLst>
            </p:cNvPr>
            <p:cNvSpPr>
              <a:spLocks/>
            </p:cNvSpPr>
            <p:nvPr/>
          </p:nvSpPr>
          <p:spPr bwMode="auto">
            <a:xfrm>
              <a:off x="4119563" y="61913"/>
              <a:ext cx="50800" cy="128588"/>
            </a:xfrm>
            <a:custGeom>
              <a:avLst/>
              <a:gdLst>
                <a:gd name="T0" fmla="*/ 8 w 28"/>
                <a:gd name="T1" fmla="*/ 15 h 70"/>
                <a:gd name="T2" fmla="*/ 7 w 28"/>
                <a:gd name="T3" fmla="*/ 68 h 70"/>
                <a:gd name="T4" fmla="*/ 5 w 28"/>
                <a:gd name="T5" fmla="*/ 70 h 70"/>
                <a:gd name="T6" fmla="*/ 1 w 28"/>
                <a:gd name="T7" fmla="*/ 70 h 70"/>
                <a:gd name="T8" fmla="*/ 0 w 28"/>
                <a:gd name="T9" fmla="*/ 68 h 70"/>
                <a:gd name="T10" fmla="*/ 0 w 28"/>
                <a:gd name="T11" fmla="*/ 3 h 70"/>
                <a:gd name="T12" fmla="*/ 2 w 28"/>
                <a:gd name="T13" fmla="*/ 1 h 70"/>
                <a:gd name="T14" fmla="*/ 6 w 28"/>
                <a:gd name="T15" fmla="*/ 1 h 70"/>
                <a:gd name="T16" fmla="*/ 8 w 28"/>
                <a:gd name="T17" fmla="*/ 3 h 70"/>
                <a:gd name="T18" fmla="*/ 8 w 28"/>
                <a:gd name="T19" fmla="*/ 9 h 70"/>
                <a:gd name="T20" fmla="*/ 26 w 28"/>
                <a:gd name="T21" fmla="*/ 1 h 70"/>
                <a:gd name="T22" fmla="*/ 27 w 28"/>
                <a:gd name="T23" fmla="*/ 2 h 70"/>
                <a:gd name="T24" fmla="*/ 28 w 28"/>
                <a:gd name="T25" fmla="*/ 6 h 70"/>
                <a:gd name="T26" fmla="*/ 27 w 28"/>
                <a:gd name="T27" fmla="*/ 8 h 70"/>
                <a:gd name="T28" fmla="*/ 8 w 28"/>
                <a:gd name="T2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0">
                  <a:moveTo>
                    <a:pt x="8" y="15"/>
                  </a:moveTo>
                  <a:cubicBezTo>
                    <a:pt x="7" y="68"/>
                    <a:pt x="7" y="68"/>
                    <a:pt x="7" y="68"/>
                  </a:cubicBezTo>
                  <a:cubicBezTo>
                    <a:pt x="7" y="70"/>
                    <a:pt x="7" y="70"/>
                    <a:pt x="5" y="70"/>
                  </a:cubicBezTo>
                  <a:cubicBezTo>
                    <a:pt x="1" y="70"/>
                    <a:pt x="1" y="70"/>
                    <a:pt x="1" y="70"/>
                  </a:cubicBezTo>
                  <a:cubicBezTo>
                    <a:pt x="0" y="70"/>
                    <a:pt x="0" y="70"/>
                    <a:pt x="0" y="68"/>
                  </a:cubicBezTo>
                  <a:cubicBezTo>
                    <a:pt x="0" y="3"/>
                    <a:pt x="0" y="3"/>
                    <a:pt x="0" y="3"/>
                  </a:cubicBezTo>
                  <a:cubicBezTo>
                    <a:pt x="0" y="2"/>
                    <a:pt x="1" y="1"/>
                    <a:pt x="2" y="1"/>
                  </a:cubicBezTo>
                  <a:cubicBezTo>
                    <a:pt x="6" y="1"/>
                    <a:pt x="6" y="1"/>
                    <a:pt x="6" y="1"/>
                  </a:cubicBezTo>
                  <a:cubicBezTo>
                    <a:pt x="7" y="1"/>
                    <a:pt x="8" y="1"/>
                    <a:pt x="8" y="3"/>
                  </a:cubicBezTo>
                  <a:cubicBezTo>
                    <a:pt x="8" y="9"/>
                    <a:pt x="8" y="9"/>
                    <a:pt x="8" y="9"/>
                  </a:cubicBezTo>
                  <a:cubicBezTo>
                    <a:pt x="11" y="7"/>
                    <a:pt x="19" y="2"/>
                    <a:pt x="26" y="1"/>
                  </a:cubicBezTo>
                  <a:cubicBezTo>
                    <a:pt x="27" y="0"/>
                    <a:pt x="27" y="1"/>
                    <a:pt x="27" y="2"/>
                  </a:cubicBezTo>
                  <a:cubicBezTo>
                    <a:pt x="28" y="6"/>
                    <a:pt x="28" y="6"/>
                    <a:pt x="28" y="6"/>
                  </a:cubicBezTo>
                  <a:cubicBezTo>
                    <a:pt x="28" y="7"/>
                    <a:pt x="28" y="8"/>
                    <a:pt x="27" y="8"/>
                  </a:cubicBezTo>
                  <a:cubicBezTo>
                    <a:pt x="19" y="10"/>
                    <a:pt x="11" y="14"/>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187">
              <a:extLst>
                <a:ext uri="{FF2B5EF4-FFF2-40B4-BE49-F238E27FC236}">
                  <a16:creationId xmlns:a16="http://schemas.microsoft.com/office/drawing/2014/main" id="{E20CA11F-1159-4062-887B-34C8EB3D4EE9}"/>
                </a:ext>
              </a:extLst>
            </p:cNvPr>
            <p:cNvSpPr>
              <a:spLocks/>
            </p:cNvSpPr>
            <p:nvPr/>
          </p:nvSpPr>
          <p:spPr bwMode="auto">
            <a:xfrm>
              <a:off x="4192588" y="9525"/>
              <a:ext cx="31750" cy="184150"/>
            </a:xfrm>
            <a:custGeom>
              <a:avLst/>
              <a:gdLst>
                <a:gd name="T0" fmla="*/ 17 w 17"/>
                <a:gd name="T1" fmla="*/ 97 h 100"/>
                <a:gd name="T2" fmla="*/ 15 w 17"/>
                <a:gd name="T3" fmla="*/ 99 h 100"/>
                <a:gd name="T4" fmla="*/ 9 w 17"/>
                <a:gd name="T5" fmla="*/ 100 h 100"/>
                <a:gd name="T6" fmla="*/ 0 w 17"/>
                <a:gd name="T7" fmla="*/ 91 h 100"/>
                <a:gd name="T8" fmla="*/ 1 w 17"/>
                <a:gd name="T9" fmla="*/ 1 h 100"/>
                <a:gd name="T10" fmla="*/ 2 w 17"/>
                <a:gd name="T11" fmla="*/ 0 h 100"/>
                <a:gd name="T12" fmla="*/ 7 w 17"/>
                <a:gd name="T13" fmla="*/ 0 h 100"/>
                <a:gd name="T14" fmla="*/ 8 w 17"/>
                <a:gd name="T15" fmla="*/ 1 h 100"/>
                <a:gd name="T16" fmla="*/ 8 w 17"/>
                <a:gd name="T17" fmla="*/ 88 h 100"/>
                <a:gd name="T18" fmla="*/ 14 w 17"/>
                <a:gd name="T19" fmla="*/ 93 h 100"/>
                <a:gd name="T20" fmla="*/ 16 w 17"/>
                <a:gd name="T21" fmla="*/ 94 h 100"/>
                <a:gd name="T22" fmla="*/ 17 w 17"/>
                <a:gd name="T23" fmla="*/ 9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00">
                  <a:moveTo>
                    <a:pt x="17" y="97"/>
                  </a:moveTo>
                  <a:cubicBezTo>
                    <a:pt x="17" y="98"/>
                    <a:pt x="17" y="99"/>
                    <a:pt x="15" y="99"/>
                  </a:cubicBezTo>
                  <a:cubicBezTo>
                    <a:pt x="13" y="100"/>
                    <a:pt x="11" y="100"/>
                    <a:pt x="9" y="100"/>
                  </a:cubicBezTo>
                  <a:cubicBezTo>
                    <a:pt x="2" y="100"/>
                    <a:pt x="0" y="97"/>
                    <a:pt x="0" y="91"/>
                  </a:cubicBezTo>
                  <a:cubicBezTo>
                    <a:pt x="1" y="1"/>
                    <a:pt x="1" y="1"/>
                    <a:pt x="1" y="1"/>
                  </a:cubicBezTo>
                  <a:cubicBezTo>
                    <a:pt x="1" y="0"/>
                    <a:pt x="1" y="0"/>
                    <a:pt x="2" y="0"/>
                  </a:cubicBezTo>
                  <a:cubicBezTo>
                    <a:pt x="7" y="0"/>
                    <a:pt x="7" y="0"/>
                    <a:pt x="7" y="0"/>
                  </a:cubicBezTo>
                  <a:cubicBezTo>
                    <a:pt x="8" y="0"/>
                    <a:pt x="8" y="0"/>
                    <a:pt x="8" y="1"/>
                  </a:cubicBezTo>
                  <a:cubicBezTo>
                    <a:pt x="8" y="88"/>
                    <a:pt x="8" y="88"/>
                    <a:pt x="8" y="88"/>
                  </a:cubicBezTo>
                  <a:cubicBezTo>
                    <a:pt x="8" y="93"/>
                    <a:pt x="9" y="93"/>
                    <a:pt x="14" y="93"/>
                  </a:cubicBezTo>
                  <a:cubicBezTo>
                    <a:pt x="16" y="93"/>
                    <a:pt x="16" y="93"/>
                    <a:pt x="16" y="94"/>
                  </a:cubicBezTo>
                  <a:lnTo>
                    <a:pt x="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188">
              <a:extLst>
                <a:ext uri="{FF2B5EF4-FFF2-40B4-BE49-F238E27FC236}">
                  <a16:creationId xmlns:a16="http://schemas.microsoft.com/office/drawing/2014/main" id="{6A94B107-236A-4725-87C2-4D77156B9632}"/>
                </a:ext>
              </a:extLst>
            </p:cNvPr>
            <p:cNvSpPr>
              <a:spLocks noEditPoints="1"/>
            </p:cNvSpPr>
            <p:nvPr/>
          </p:nvSpPr>
          <p:spPr bwMode="auto">
            <a:xfrm>
              <a:off x="4249738" y="25400"/>
              <a:ext cx="17463" cy="168275"/>
            </a:xfrm>
            <a:custGeom>
              <a:avLst/>
              <a:gdLst>
                <a:gd name="T0" fmla="*/ 5 w 10"/>
                <a:gd name="T1" fmla="*/ 10 h 91"/>
                <a:gd name="T2" fmla="*/ 0 w 10"/>
                <a:gd name="T3" fmla="*/ 5 h 91"/>
                <a:gd name="T4" fmla="*/ 5 w 10"/>
                <a:gd name="T5" fmla="*/ 0 h 91"/>
                <a:gd name="T6" fmla="*/ 10 w 10"/>
                <a:gd name="T7" fmla="*/ 5 h 91"/>
                <a:gd name="T8" fmla="*/ 5 w 10"/>
                <a:gd name="T9" fmla="*/ 10 h 91"/>
                <a:gd name="T10" fmla="*/ 3 w 10"/>
                <a:gd name="T11" fmla="*/ 22 h 91"/>
                <a:gd name="T12" fmla="*/ 7 w 10"/>
                <a:gd name="T13" fmla="*/ 22 h 91"/>
                <a:gd name="T14" fmla="*/ 9 w 10"/>
                <a:gd name="T15" fmla="*/ 24 h 91"/>
                <a:gd name="T16" fmla="*/ 8 w 10"/>
                <a:gd name="T17" fmla="*/ 89 h 91"/>
                <a:gd name="T18" fmla="*/ 6 w 10"/>
                <a:gd name="T19" fmla="*/ 91 h 91"/>
                <a:gd name="T20" fmla="*/ 3 w 10"/>
                <a:gd name="T21" fmla="*/ 91 h 91"/>
                <a:gd name="T22" fmla="*/ 0 w 10"/>
                <a:gd name="T23" fmla="*/ 89 h 91"/>
                <a:gd name="T24" fmla="*/ 1 w 10"/>
                <a:gd name="T25" fmla="*/ 24 h 91"/>
                <a:gd name="T26" fmla="*/ 3 w 10"/>
                <a:gd name="T27"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1">
                  <a:moveTo>
                    <a:pt x="5" y="10"/>
                  </a:moveTo>
                  <a:cubicBezTo>
                    <a:pt x="1" y="10"/>
                    <a:pt x="0" y="7"/>
                    <a:pt x="0" y="5"/>
                  </a:cubicBezTo>
                  <a:cubicBezTo>
                    <a:pt x="0" y="2"/>
                    <a:pt x="1" y="0"/>
                    <a:pt x="5" y="0"/>
                  </a:cubicBezTo>
                  <a:cubicBezTo>
                    <a:pt x="9" y="0"/>
                    <a:pt x="10" y="2"/>
                    <a:pt x="10" y="5"/>
                  </a:cubicBezTo>
                  <a:cubicBezTo>
                    <a:pt x="10" y="8"/>
                    <a:pt x="9" y="10"/>
                    <a:pt x="5" y="10"/>
                  </a:cubicBezTo>
                  <a:close/>
                  <a:moveTo>
                    <a:pt x="3" y="22"/>
                  </a:moveTo>
                  <a:cubicBezTo>
                    <a:pt x="7" y="22"/>
                    <a:pt x="7" y="22"/>
                    <a:pt x="7" y="22"/>
                  </a:cubicBezTo>
                  <a:cubicBezTo>
                    <a:pt x="8" y="22"/>
                    <a:pt x="9" y="22"/>
                    <a:pt x="9" y="24"/>
                  </a:cubicBezTo>
                  <a:cubicBezTo>
                    <a:pt x="8" y="89"/>
                    <a:pt x="8" y="89"/>
                    <a:pt x="8" y="89"/>
                  </a:cubicBezTo>
                  <a:cubicBezTo>
                    <a:pt x="8" y="90"/>
                    <a:pt x="8" y="91"/>
                    <a:pt x="6" y="91"/>
                  </a:cubicBezTo>
                  <a:cubicBezTo>
                    <a:pt x="3" y="91"/>
                    <a:pt x="3" y="91"/>
                    <a:pt x="3" y="91"/>
                  </a:cubicBezTo>
                  <a:cubicBezTo>
                    <a:pt x="1" y="91"/>
                    <a:pt x="0" y="90"/>
                    <a:pt x="0" y="89"/>
                  </a:cubicBezTo>
                  <a:cubicBezTo>
                    <a:pt x="1" y="24"/>
                    <a:pt x="1" y="24"/>
                    <a:pt x="1" y="24"/>
                  </a:cubicBezTo>
                  <a:cubicBezTo>
                    <a:pt x="1" y="22"/>
                    <a:pt x="2"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89">
              <a:extLst>
                <a:ext uri="{FF2B5EF4-FFF2-40B4-BE49-F238E27FC236}">
                  <a16:creationId xmlns:a16="http://schemas.microsoft.com/office/drawing/2014/main" id="{A145DBEA-E59A-4578-84E0-CE2243E5C82B}"/>
                </a:ext>
              </a:extLst>
            </p:cNvPr>
            <p:cNvSpPr>
              <a:spLocks/>
            </p:cNvSpPr>
            <p:nvPr/>
          </p:nvSpPr>
          <p:spPr bwMode="auto">
            <a:xfrm>
              <a:off x="4297363" y="65088"/>
              <a:ext cx="98425" cy="128588"/>
            </a:xfrm>
            <a:custGeom>
              <a:avLst/>
              <a:gdLst>
                <a:gd name="T0" fmla="*/ 34 w 54"/>
                <a:gd name="T1" fmla="*/ 7 h 70"/>
                <a:gd name="T2" fmla="*/ 8 w 54"/>
                <a:gd name="T3" fmla="*/ 15 h 70"/>
                <a:gd name="T4" fmla="*/ 8 w 54"/>
                <a:gd name="T5" fmla="*/ 68 h 70"/>
                <a:gd name="T6" fmla="*/ 6 w 54"/>
                <a:gd name="T7" fmla="*/ 70 h 70"/>
                <a:gd name="T8" fmla="*/ 2 w 54"/>
                <a:gd name="T9" fmla="*/ 70 h 70"/>
                <a:gd name="T10" fmla="*/ 0 w 54"/>
                <a:gd name="T11" fmla="*/ 68 h 70"/>
                <a:gd name="T12" fmla="*/ 1 w 54"/>
                <a:gd name="T13" fmla="*/ 3 h 70"/>
                <a:gd name="T14" fmla="*/ 3 w 54"/>
                <a:gd name="T15" fmla="*/ 1 h 70"/>
                <a:gd name="T16" fmla="*/ 6 w 54"/>
                <a:gd name="T17" fmla="*/ 1 h 70"/>
                <a:gd name="T18" fmla="*/ 8 w 54"/>
                <a:gd name="T19" fmla="*/ 3 h 70"/>
                <a:gd name="T20" fmla="*/ 8 w 54"/>
                <a:gd name="T21" fmla="*/ 9 h 70"/>
                <a:gd name="T22" fmla="*/ 35 w 54"/>
                <a:gd name="T23" fmla="*/ 0 h 70"/>
                <a:gd name="T24" fmla="*/ 54 w 54"/>
                <a:gd name="T25" fmla="*/ 25 h 70"/>
                <a:gd name="T26" fmla="*/ 54 w 54"/>
                <a:gd name="T27" fmla="*/ 68 h 70"/>
                <a:gd name="T28" fmla="*/ 52 w 54"/>
                <a:gd name="T29" fmla="*/ 70 h 70"/>
                <a:gd name="T30" fmla="*/ 48 w 54"/>
                <a:gd name="T31" fmla="*/ 70 h 70"/>
                <a:gd name="T32" fmla="*/ 46 w 54"/>
                <a:gd name="T33" fmla="*/ 68 h 70"/>
                <a:gd name="T34" fmla="*/ 47 w 54"/>
                <a:gd name="T35" fmla="*/ 27 h 70"/>
                <a:gd name="T36" fmla="*/ 34 w 54"/>
                <a:gd name="T37"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70">
                  <a:moveTo>
                    <a:pt x="34" y="7"/>
                  </a:moveTo>
                  <a:cubicBezTo>
                    <a:pt x="26" y="7"/>
                    <a:pt x="12" y="13"/>
                    <a:pt x="8" y="15"/>
                  </a:cubicBezTo>
                  <a:cubicBezTo>
                    <a:pt x="8" y="68"/>
                    <a:pt x="8" y="68"/>
                    <a:pt x="8" y="68"/>
                  </a:cubicBezTo>
                  <a:cubicBezTo>
                    <a:pt x="8" y="69"/>
                    <a:pt x="7" y="70"/>
                    <a:pt x="6" y="70"/>
                  </a:cubicBezTo>
                  <a:cubicBezTo>
                    <a:pt x="2" y="70"/>
                    <a:pt x="2" y="70"/>
                    <a:pt x="2" y="70"/>
                  </a:cubicBezTo>
                  <a:cubicBezTo>
                    <a:pt x="1" y="70"/>
                    <a:pt x="0" y="70"/>
                    <a:pt x="0" y="68"/>
                  </a:cubicBezTo>
                  <a:cubicBezTo>
                    <a:pt x="1" y="3"/>
                    <a:pt x="1" y="3"/>
                    <a:pt x="1" y="3"/>
                  </a:cubicBezTo>
                  <a:cubicBezTo>
                    <a:pt x="1" y="1"/>
                    <a:pt x="1" y="1"/>
                    <a:pt x="3" y="1"/>
                  </a:cubicBezTo>
                  <a:cubicBezTo>
                    <a:pt x="6" y="1"/>
                    <a:pt x="6" y="1"/>
                    <a:pt x="6" y="1"/>
                  </a:cubicBezTo>
                  <a:cubicBezTo>
                    <a:pt x="8" y="1"/>
                    <a:pt x="8" y="1"/>
                    <a:pt x="8" y="3"/>
                  </a:cubicBezTo>
                  <a:cubicBezTo>
                    <a:pt x="8" y="9"/>
                    <a:pt x="8" y="9"/>
                    <a:pt x="8" y="9"/>
                  </a:cubicBezTo>
                  <a:cubicBezTo>
                    <a:pt x="12" y="7"/>
                    <a:pt x="24" y="0"/>
                    <a:pt x="35" y="0"/>
                  </a:cubicBezTo>
                  <a:cubicBezTo>
                    <a:pt x="52" y="0"/>
                    <a:pt x="54" y="10"/>
                    <a:pt x="54" y="25"/>
                  </a:cubicBezTo>
                  <a:cubicBezTo>
                    <a:pt x="54" y="68"/>
                    <a:pt x="54" y="68"/>
                    <a:pt x="54" y="68"/>
                  </a:cubicBezTo>
                  <a:cubicBezTo>
                    <a:pt x="54" y="70"/>
                    <a:pt x="53" y="70"/>
                    <a:pt x="52" y="70"/>
                  </a:cubicBezTo>
                  <a:cubicBezTo>
                    <a:pt x="48" y="70"/>
                    <a:pt x="48" y="70"/>
                    <a:pt x="48" y="70"/>
                  </a:cubicBezTo>
                  <a:cubicBezTo>
                    <a:pt x="47" y="70"/>
                    <a:pt x="46" y="70"/>
                    <a:pt x="46" y="68"/>
                  </a:cubicBezTo>
                  <a:cubicBezTo>
                    <a:pt x="47" y="27"/>
                    <a:pt x="47" y="27"/>
                    <a:pt x="47" y="27"/>
                  </a:cubicBezTo>
                  <a:cubicBezTo>
                    <a:pt x="47" y="11"/>
                    <a:pt x="45" y="7"/>
                    <a:pt x="3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0">
              <a:extLst>
                <a:ext uri="{FF2B5EF4-FFF2-40B4-BE49-F238E27FC236}">
                  <a16:creationId xmlns:a16="http://schemas.microsoft.com/office/drawing/2014/main" id="{B5871D3A-5EF5-420B-BE52-C1D544705EDE}"/>
                </a:ext>
              </a:extLst>
            </p:cNvPr>
            <p:cNvSpPr>
              <a:spLocks noEditPoints="1"/>
            </p:cNvSpPr>
            <p:nvPr/>
          </p:nvSpPr>
          <p:spPr bwMode="auto">
            <a:xfrm>
              <a:off x="4422776" y="65088"/>
              <a:ext cx="101600" cy="131763"/>
            </a:xfrm>
            <a:custGeom>
              <a:avLst/>
              <a:gdLst>
                <a:gd name="T0" fmla="*/ 56 w 56"/>
                <a:gd name="T1" fmla="*/ 32 h 72"/>
                <a:gd name="T2" fmla="*/ 50 w 56"/>
                <a:gd name="T3" fmla="*/ 39 h 72"/>
                <a:gd name="T4" fmla="*/ 8 w 56"/>
                <a:gd name="T5" fmla="*/ 38 h 72"/>
                <a:gd name="T6" fmla="*/ 28 w 56"/>
                <a:gd name="T7" fmla="*/ 65 h 72"/>
                <a:gd name="T8" fmla="*/ 50 w 56"/>
                <a:gd name="T9" fmla="*/ 63 h 72"/>
                <a:gd name="T10" fmla="*/ 51 w 56"/>
                <a:gd name="T11" fmla="*/ 64 h 72"/>
                <a:gd name="T12" fmla="*/ 52 w 56"/>
                <a:gd name="T13" fmla="*/ 66 h 72"/>
                <a:gd name="T14" fmla="*/ 50 w 56"/>
                <a:gd name="T15" fmla="*/ 69 h 72"/>
                <a:gd name="T16" fmla="*/ 27 w 56"/>
                <a:gd name="T17" fmla="*/ 72 h 72"/>
                <a:gd name="T18" fmla="*/ 0 w 56"/>
                <a:gd name="T19" fmla="*/ 36 h 72"/>
                <a:gd name="T20" fmla="*/ 28 w 56"/>
                <a:gd name="T21" fmla="*/ 0 h 72"/>
                <a:gd name="T22" fmla="*/ 56 w 56"/>
                <a:gd name="T23" fmla="*/ 32 h 72"/>
                <a:gd name="T24" fmla="*/ 8 w 56"/>
                <a:gd name="T25" fmla="*/ 32 h 72"/>
                <a:gd name="T26" fmla="*/ 48 w 56"/>
                <a:gd name="T27" fmla="*/ 32 h 72"/>
                <a:gd name="T28" fmla="*/ 28 w 56"/>
                <a:gd name="T29" fmla="*/ 7 h 72"/>
                <a:gd name="T30" fmla="*/ 8 w 56"/>
                <a:gd name="T3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2">
                  <a:moveTo>
                    <a:pt x="56" y="32"/>
                  </a:moveTo>
                  <a:cubicBezTo>
                    <a:pt x="56" y="36"/>
                    <a:pt x="55" y="39"/>
                    <a:pt x="50" y="39"/>
                  </a:cubicBezTo>
                  <a:cubicBezTo>
                    <a:pt x="8" y="38"/>
                    <a:pt x="8" y="38"/>
                    <a:pt x="8" y="38"/>
                  </a:cubicBezTo>
                  <a:cubicBezTo>
                    <a:pt x="9" y="57"/>
                    <a:pt x="11" y="64"/>
                    <a:pt x="28" y="65"/>
                  </a:cubicBezTo>
                  <a:cubicBezTo>
                    <a:pt x="33" y="65"/>
                    <a:pt x="45" y="63"/>
                    <a:pt x="50" y="63"/>
                  </a:cubicBezTo>
                  <a:cubicBezTo>
                    <a:pt x="51" y="63"/>
                    <a:pt x="51" y="63"/>
                    <a:pt x="51" y="64"/>
                  </a:cubicBezTo>
                  <a:cubicBezTo>
                    <a:pt x="52" y="66"/>
                    <a:pt x="52" y="66"/>
                    <a:pt x="52" y="66"/>
                  </a:cubicBezTo>
                  <a:cubicBezTo>
                    <a:pt x="52" y="67"/>
                    <a:pt x="52" y="68"/>
                    <a:pt x="50" y="69"/>
                  </a:cubicBezTo>
                  <a:cubicBezTo>
                    <a:pt x="46" y="70"/>
                    <a:pt x="34" y="72"/>
                    <a:pt x="27" y="72"/>
                  </a:cubicBezTo>
                  <a:cubicBezTo>
                    <a:pt x="2" y="72"/>
                    <a:pt x="0" y="55"/>
                    <a:pt x="0" y="36"/>
                  </a:cubicBezTo>
                  <a:cubicBezTo>
                    <a:pt x="0" y="19"/>
                    <a:pt x="2" y="0"/>
                    <a:pt x="28" y="0"/>
                  </a:cubicBezTo>
                  <a:cubicBezTo>
                    <a:pt x="52" y="1"/>
                    <a:pt x="56" y="16"/>
                    <a:pt x="56" y="32"/>
                  </a:cubicBezTo>
                  <a:close/>
                  <a:moveTo>
                    <a:pt x="8" y="32"/>
                  </a:moveTo>
                  <a:cubicBezTo>
                    <a:pt x="48" y="32"/>
                    <a:pt x="48" y="32"/>
                    <a:pt x="48" y="32"/>
                  </a:cubicBezTo>
                  <a:cubicBezTo>
                    <a:pt x="48" y="20"/>
                    <a:pt x="46" y="8"/>
                    <a:pt x="28" y="7"/>
                  </a:cubicBezTo>
                  <a:cubicBezTo>
                    <a:pt x="11" y="7"/>
                    <a:pt x="9" y="16"/>
                    <a:pt x="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91">
              <a:extLst>
                <a:ext uri="{FF2B5EF4-FFF2-40B4-BE49-F238E27FC236}">
                  <a16:creationId xmlns:a16="http://schemas.microsoft.com/office/drawing/2014/main" id="{DF3C6EFB-E441-4EA3-A3DF-E615D84CC420}"/>
                </a:ext>
              </a:extLst>
            </p:cNvPr>
            <p:cNvSpPr>
              <a:spLocks noEditPoints="1"/>
            </p:cNvSpPr>
            <p:nvPr/>
          </p:nvSpPr>
          <p:spPr bwMode="auto">
            <a:xfrm>
              <a:off x="4618038" y="23813"/>
              <a:ext cx="106363" cy="173038"/>
            </a:xfrm>
            <a:custGeom>
              <a:avLst/>
              <a:gdLst>
                <a:gd name="T0" fmla="*/ 30 w 58"/>
                <a:gd name="T1" fmla="*/ 54 h 94"/>
                <a:gd name="T2" fmla="*/ 9 w 58"/>
                <a:gd name="T3" fmla="*/ 54 h 94"/>
                <a:gd name="T4" fmla="*/ 8 w 58"/>
                <a:gd name="T5" fmla="*/ 92 h 94"/>
                <a:gd name="T6" fmla="*/ 6 w 58"/>
                <a:gd name="T7" fmla="*/ 94 h 94"/>
                <a:gd name="T8" fmla="*/ 2 w 58"/>
                <a:gd name="T9" fmla="*/ 94 h 94"/>
                <a:gd name="T10" fmla="*/ 0 w 58"/>
                <a:gd name="T11" fmla="*/ 91 h 94"/>
                <a:gd name="T12" fmla="*/ 1 w 58"/>
                <a:gd name="T13" fmla="*/ 1 h 94"/>
                <a:gd name="T14" fmla="*/ 3 w 58"/>
                <a:gd name="T15" fmla="*/ 0 h 94"/>
                <a:gd name="T16" fmla="*/ 30 w 58"/>
                <a:gd name="T17" fmla="*/ 0 h 94"/>
                <a:gd name="T18" fmla="*/ 58 w 58"/>
                <a:gd name="T19" fmla="*/ 27 h 94"/>
                <a:gd name="T20" fmla="*/ 30 w 58"/>
                <a:gd name="T21" fmla="*/ 54 h 94"/>
                <a:gd name="T22" fmla="*/ 28 w 58"/>
                <a:gd name="T23" fmla="*/ 7 h 94"/>
                <a:gd name="T24" fmla="*/ 9 w 58"/>
                <a:gd name="T25" fmla="*/ 7 h 94"/>
                <a:gd name="T26" fmla="*/ 9 w 58"/>
                <a:gd name="T27" fmla="*/ 47 h 94"/>
                <a:gd name="T28" fmla="*/ 30 w 58"/>
                <a:gd name="T29" fmla="*/ 48 h 94"/>
                <a:gd name="T30" fmla="*/ 49 w 58"/>
                <a:gd name="T31" fmla="*/ 27 h 94"/>
                <a:gd name="T32" fmla="*/ 28 w 58"/>
                <a:gd name="T3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94">
                  <a:moveTo>
                    <a:pt x="30" y="54"/>
                  </a:moveTo>
                  <a:cubicBezTo>
                    <a:pt x="9" y="54"/>
                    <a:pt x="9" y="54"/>
                    <a:pt x="9" y="54"/>
                  </a:cubicBezTo>
                  <a:cubicBezTo>
                    <a:pt x="8" y="92"/>
                    <a:pt x="8" y="92"/>
                    <a:pt x="8" y="92"/>
                  </a:cubicBezTo>
                  <a:cubicBezTo>
                    <a:pt x="8" y="93"/>
                    <a:pt x="8" y="94"/>
                    <a:pt x="6" y="94"/>
                  </a:cubicBezTo>
                  <a:cubicBezTo>
                    <a:pt x="2" y="94"/>
                    <a:pt x="2" y="94"/>
                    <a:pt x="2" y="94"/>
                  </a:cubicBezTo>
                  <a:cubicBezTo>
                    <a:pt x="1" y="94"/>
                    <a:pt x="0" y="93"/>
                    <a:pt x="0" y="91"/>
                  </a:cubicBezTo>
                  <a:cubicBezTo>
                    <a:pt x="1" y="1"/>
                    <a:pt x="1" y="1"/>
                    <a:pt x="1" y="1"/>
                  </a:cubicBezTo>
                  <a:cubicBezTo>
                    <a:pt x="1" y="0"/>
                    <a:pt x="2" y="0"/>
                    <a:pt x="3" y="0"/>
                  </a:cubicBezTo>
                  <a:cubicBezTo>
                    <a:pt x="30" y="0"/>
                    <a:pt x="30" y="0"/>
                    <a:pt x="30" y="0"/>
                  </a:cubicBezTo>
                  <a:cubicBezTo>
                    <a:pt x="46" y="0"/>
                    <a:pt x="58" y="9"/>
                    <a:pt x="58" y="27"/>
                  </a:cubicBezTo>
                  <a:cubicBezTo>
                    <a:pt x="57" y="40"/>
                    <a:pt x="49" y="55"/>
                    <a:pt x="30" y="54"/>
                  </a:cubicBezTo>
                  <a:close/>
                  <a:moveTo>
                    <a:pt x="28" y="7"/>
                  </a:moveTo>
                  <a:cubicBezTo>
                    <a:pt x="9" y="7"/>
                    <a:pt x="9" y="7"/>
                    <a:pt x="9" y="7"/>
                  </a:cubicBezTo>
                  <a:cubicBezTo>
                    <a:pt x="9" y="47"/>
                    <a:pt x="9" y="47"/>
                    <a:pt x="9" y="47"/>
                  </a:cubicBezTo>
                  <a:cubicBezTo>
                    <a:pt x="30" y="48"/>
                    <a:pt x="30" y="48"/>
                    <a:pt x="30" y="48"/>
                  </a:cubicBezTo>
                  <a:cubicBezTo>
                    <a:pt x="34" y="48"/>
                    <a:pt x="49" y="45"/>
                    <a:pt x="49" y="27"/>
                  </a:cubicBezTo>
                  <a:cubicBezTo>
                    <a:pt x="49" y="13"/>
                    <a:pt x="41" y="7"/>
                    <a:pt x="2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92">
              <a:extLst>
                <a:ext uri="{FF2B5EF4-FFF2-40B4-BE49-F238E27FC236}">
                  <a16:creationId xmlns:a16="http://schemas.microsoft.com/office/drawing/2014/main" id="{CBF3BECB-E5DD-4BB8-87D2-4D739B2C570D}"/>
                </a:ext>
              </a:extLst>
            </p:cNvPr>
            <p:cNvSpPr>
              <a:spLocks/>
            </p:cNvSpPr>
            <p:nvPr/>
          </p:nvSpPr>
          <p:spPr bwMode="auto">
            <a:xfrm>
              <a:off x="4748213" y="14288"/>
              <a:ext cx="31750" cy="184150"/>
            </a:xfrm>
            <a:custGeom>
              <a:avLst/>
              <a:gdLst>
                <a:gd name="T0" fmla="*/ 17 w 17"/>
                <a:gd name="T1" fmla="*/ 97 h 100"/>
                <a:gd name="T2" fmla="*/ 15 w 17"/>
                <a:gd name="T3" fmla="*/ 99 h 100"/>
                <a:gd name="T4" fmla="*/ 9 w 17"/>
                <a:gd name="T5" fmla="*/ 100 h 100"/>
                <a:gd name="T6" fmla="*/ 0 w 17"/>
                <a:gd name="T7" fmla="*/ 91 h 100"/>
                <a:gd name="T8" fmla="*/ 0 w 17"/>
                <a:gd name="T9" fmla="*/ 1 h 100"/>
                <a:gd name="T10" fmla="*/ 2 w 17"/>
                <a:gd name="T11" fmla="*/ 0 h 100"/>
                <a:gd name="T12" fmla="*/ 7 w 17"/>
                <a:gd name="T13" fmla="*/ 0 h 100"/>
                <a:gd name="T14" fmla="*/ 8 w 17"/>
                <a:gd name="T15" fmla="*/ 1 h 100"/>
                <a:gd name="T16" fmla="*/ 7 w 17"/>
                <a:gd name="T17" fmla="*/ 88 h 100"/>
                <a:gd name="T18" fmla="*/ 14 w 17"/>
                <a:gd name="T19" fmla="*/ 93 h 100"/>
                <a:gd name="T20" fmla="*/ 16 w 17"/>
                <a:gd name="T21" fmla="*/ 94 h 100"/>
                <a:gd name="T22" fmla="*/ 17 w 17"/>
                <a:gd name="T23" fmla="*/ 9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00">
                  <a:moveTo>
                    <a:pt x="17" y="97"/>
                  </a:moveTo>
                  <a:cubicBezTo>
                    <a:pt x="17" y="98"/>
                    <a:pt x="16" y="99"/>
                    <a:pt x="15" y="99"/>
                  </a:cubicBezTo>
                  <a:cubicBezTo>
                    <a:pt x="13" y="100"/>
                    <a:pt x="11" y="100"/>
                    <a:pt x="9" y="100"/>
                  </a:cubicBezTo>
                  <a:cubicBezTo>
                    <a:pt x="2" y="100"/>
                    <a:pt x="0" y="97"/>
                    <a:pt x="0" y="91"/>
                  </a:cubicBezTo>
                  <a:cubicBezTo>
                    <a:pt x="0" y="1"/>
                    <a:pt x="0" y="1"/>
                    <a:pt x="0" y="1"/>
                  </a:cubicBezTo>
                  <a:cubicBezTo>
                    <a:pt x="0" y="0"/>
                    <a:pt x="1" y="0"/>
                    <a:pt x="2" y="0"/>
                  </a:cubicBezTo>
                  <a:cubicBezTo>
                    <a:pt x="7" y="0"/>
                    <a:pt x="7" y="0"/>
                    <a:pt x="7" y="0"/>
                  </a:cubicBezTo>
                  <a:cubicBezTo>
                    <a:pt x="8" y="0"/>
                    <a:pt x="8" y="0"/>
                    <a:pt x="8" y="1"/>
                  </a:cubicBezTo>
                  <a:cubicBezTo>
                    <a:pt x="7" y="88"/>
                    <a:pt x="7" y="88"/>
                    <a:pt x="7" y="88"/>
                  </a:cubicBezTo>
                  <a:cubicBezTo>
                    <a:pt x="7" y="93"/>
                    <a:pt x="8" y="93"/>
                    <a:pt x="14" y="93"/>
                  </a:cubicBezTo>
                  <a:cubicBezTo>
                    <a:pt x="15" y="93"/>
                    <a:pt x="16" y="93"/>
                    <a:pt x="16" y="94"/>
                  </a:cubicBezTo>
                  <a:lnTo>
                    <a:pt x="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93">
              <a:extLst>
                <a:ext uri="{FF2B5EF4-FFF2-40B4-BE49-F238E27FC236}">
                  <a16:creationId xmlns:a16="http://schemas.microsoft.com/office/drawing/2014/main" id="{C2979A68-B484-478A-8E23-7B3D6FACF3E3}"/>
                </a:ext>
              </a:extLst>
            </p:cNvPr>
            <p:cNvSpPr>
              <a:spLocks noEditPoints="1"/>
            </p:cNvSpPr>
            <p:nvPr/>
          </p:nvSpPr>
          <p:spPr bwMode="auto">
            <a:xfrm>
              <a:off x="4799013" y="68263"/>
              <a:ext cx="115888" cy="131763"/>
            </a:xfrm>
            <a:custGeom>
              <a:avLst/>
              <a:gdLst>
                <a:gd name="T0" fmla="*/ 47 w 63"/>
                <a:gd name="T1" fmla="*/ 63 h 72"/>
                <a:gd name="T2" fmla="*/ 18 w 63"/>
                <a:gd name="T3" fmla="*/ 72 h 72"/>
                <a:gd name="T4" fmla="*/ 0 w 63"/>
                <a:gd name="T5" fmla="*/ 53 h 72"/>
                <a:gd name="T6" fmla="*/ 25 w 63"/>
                <a:gd name="T7" fmla="*/ 30 h 72"/>
                <a:gd name="T8" fmla="*/ 47 w 63"/>
                <a:gd name="T9" fmla="*/ 30 h 72"/>
                <a:gd name="T10" fmla="*/ 47 w 63"/>
                <a:gd name="T11" fmla="*/ 23 h 72"/>
                <a:gd name="T12" fmla="*/ 29 w 63"/>
                <a:gd name="T13" fmla="*/ 7 h 72"/>
                <a:gd name="T14" fmla="*/ 9 w 63"/>
                <a:gd name="T15" fmla="*/ 9 h 72"/>
                <a:gd name="T16" fmla="*/ 7 w 63"/>
                <a:gd name="T17" fmla="*/ 8 h 72"/>
                <a:gd name="T18" fmla="*/ 6 w 63"/>
                <a:gd name="T19" fmla="*/ 5 h 72"/>
                <a:gd name="T20" fmla="*/ 8 w 63"/>
                <a:gd name="T21" fmla="*/ 3 h 72"/>
                <a:gd name="T22" fmla="*/ 30 w 63"/>
                <a:gd name="T23" fmla="*/ 0 h 72"/>
                <a:gd name="T24" fmla="*/ 55 w 63"/>
                <a:gd name="T25" fmla="*/ 25 h 72"/>
                <a:gd name="T26" fmla="*/ 55 w 63"/>
                <a:gd name="T27" fmla="*/ 60 h 72"/>
                <a:gd name="T28" fmla="*/ 61 w 63"/>
                <a:gd name="T29" fmla="*/ 66 h 72"/>
                <a:gd name="T30" fmla="*/ 62 w 63"/>
                <a:gd name="T31" fmla="*/ 67 h 72"/>
                <a:gd name="T32" fmla="*/ 62 w 63"/>
                <a:gd name="T33" fmla="*/ 70 h 72"/>
                <a:gd name="T34" fmla="*/ 60 w 63"/>
                <a:gd name="T35" fmla="*/ 71 h 72"/>
                <a:gd name="T36" fmla="*/ 47 w 63"/>
                <a:gd name="T37" fmla="*/ 63 h 72"/>
                <a:gd name="T38" fmla="*/ 47 w 63"/>
                <a:gd name="T39" fmla="*/ 37 h 72"/>
                <a:gd name="T40" fmla="*/ 24 w 63"/>
                <a:gd name="T41" fmla="*/ 36 h 72"/>
                <a:gd name="T42" fmla="*/ 8 w 63"/>
                <a:gd name="T43" fmla="*/ 52 h 72"/>
                <a:gd name="T44" fmla="*/ 21 w 63"/>
                <a:gd name="T45" fmla="*/ 65 h 72"/>
                <a:gd name="T46" fmla="*/ 47 w 63"/>
                <a:gd name="T47" fmla="*/ 56 h 72"/>
                <a:gd name="T48" fmla="*/ 47 w 63"/>
                <a:gd name="T49"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72">
                  <a:moveTo>
                    <a:pt x="47" y="63"/>
                  </a:moveTo>
                  <a:cubicBezTo>
                    <a:pt x="39" y="68"/>
                    <a:pt x="30" y="72"/>
                    <a:pt x="18" y="72"/>
                  </a:cubicBezTo>
                  <a:cubicBezTo>
                    <a:pt x="5" y="72"/>
                    <a:pt x="0" y="65"/>
                    <a:pt x="0" y="53"/>
                  </a:cubicBezTo>
                  <a:cubicBezTo>
                    <a:pt x="0" y="37"/>
                    <a:pt x="8" y="29"/>
                    <a:pt x="25" y="30"/>
                  </a:cubicBezTo>
                  <a:cubicBezTo>
                    <a:pt x="47" y="30"/>
                    <a:pt x="47" y="30"/>
                    <a:pt x="47" y="30"/>
                  </a:cubicBezTo>
                  <a:cubicBezTo>
                    <a:pt x="47" y="23"/>
                    <a:pt x="47" y="23"/>
                    <a:pt x="47" y="23"/>
                  </a:cubicBezTo>
                  <a:cubicBezTo>
                    <a:pt x="48" y="12"/>
                    <a:pt x="44" y="7"/>
                    <a:pt x="29" y="7"/>
                  </a:cubicBezTo>
                  <a:cubicBezTo>
                    <a:pt x="23" y="7"/>
                    <a:pt x="15" y="8"/>
                    <a:pt x="9" y="9"/>
                  </a:cubicBezTo>
                  <a:cubicBezTo>
                    <a:pt x="7" y="9"/>
                    <a:pt x="7" y="9"/>
                    <a:pt x="7" y="8"/>
                  </a:cubicBezTo>
                  <a:cubicBezTo>
                    <a:pt x="6" y="5"/>
                    <a:pt x="6" y="5"/>
                    <a:pt x="6" y="5"/>
                  </a:cubicBezTo>
                  <a:cubicBezTo>
                    <a:pt x="6" y="4"/>
                    <a:pt x="6" y="3"/>
                    <a:pt x="8" y="3"/>
                  </a:cubicBezTo>
                  <a:cubicBezTo>
                    <a:pt x="14" y="1"/>
                    <a:pt x="24" y="0"/>
                    <a:pt x="30" y="0"/>
                  </a:cubicBezTo>
                  <a:cubicBezTo>
                    <a:pt x="51" y="0"/>
                    <a:pt x="56" y="8"/>
                    <a:pt x="55" y="25"/>
                  </a:cubicBezTo>
                  <a:cubicBezTo>
                    <a:pt x="55" y="60"/>
                    <a:pt x="55" y="60"/>
                    <a:pt x="55" y="60"/>
                  </a:cubicBezTo>
                  <a:cubicBezTo>
                    <a:pt x="55" y="65"/>
                    <a:pt x="56" y="65"/>
                    <a:pt x="61" y="66"/>
                  </a:cubicBezTo>
                  <a:cubicBezTo>
                    <a:pt x="62" y="66"/>
                    <a:pt x="63" y="66"/>
                    <a:pt x="62" y="67"/>
                  </a:cubicBezTo>
                  <a:cubicBezTo>
                    <a:pt x="62" y="70"/>
                    <a:pt x="62" y="70"/>
                    <a:pt x="62" y="70"/>
                  </a:cubicBezTo>
                  <a:cubicBezTo>
                    <a:pt x="62" y="71"/>
                    <a:pt x="62" y="71"/>
                    <a:pt x="60" y="71"/>
                  </a:cubicBezTo>
                  <a:cubicBezTo>
                    <a:pt x="51" y="72"/>
                    <a:pt x="48" y="71"/>
                    <a:pt x="47" y="63"/>
                  </a:cubicBezTo>
                  <a:close/>
                  <a:moveTo>
                    <a:pt x="47" y="37"/>
                  </a:moveTo>
                  <a:cubicBezTo>
                    <a:pt x="24" y="36"/>
                    <a:pt x="24" y="36"/>
                    <a:pt x="24" y="36"/>
                  </a:cubicBezTo>
                  <a:cubicBezTo>
                    <a:pt x="15" y="36"/>
                    <a:pt x="8" y="40"/>
                    <a:pt x="8" y="52"/>
                  </a:cubicBezTo>
                  <a:cubicBezTo>
                    <a:pt x="8" y="62"/>
                    <a:pt x="11" y="65"/>
                    <a:pt x="21" y="65"/>
                  </a:cubicBezTo>
                  <a:cubicBezTo>
                    <a:pt x="29" y="65"/>
                    <a:pt x="42" y="59"/>
                    <a:pt x="47" y="56"/>
                  </a:cubicBezTo>
                  <a:lnTo>
                    <a:pt x="4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194">
              <a:extLst>
                <a:ext uri="{FF2B5EF4-FFF2-40B4-BE49-F238E27FC236}">
                  <a16:creationId xmlns:a16="http://schemas.microsoft.com/office/drawing/2014/main" id="{28E684D0-1D12-4F09-9BA1-49CB7BEA27F9}"/>
                </a:ext>
              </a:extLst>
            </p:cNvPr>
            <p:cNvSpPr>
              <a:spLocks/>
            </p:cNvSpPr>
            <p:nvPr/>
          </p:nvSpPr>
          <p:spPr bwMode="auto">
            <a:xfrm>
              <a:off x="4927601" y="36513"/>
              <a:ext cx="69850" cy="165100"/>
            </a:xfrm>
            <a:custGeom>
              <a:avLst/>
              <a:gdLst>
                <a:gd name="T0" fmla="*/ 38 w 38"/>
                <a:gd name="T1" fmla="*/ 85 h 90"/>
                <a:gd name="T2" fmla="*/ 37 w 38"/>
                <a:gd name="T3" fmla="*/ 87 h 90"/>
                <a:gd name="T4" fmla="*/ 23 w 38"/>
                <a:gd name="T5" fmla="*/ 90 h 90"/>
                <a:gd name="T6" fmla="*/ 9 w 38"/>
                <a:gd name="T7" fmla="*/ 75 h 90"/>
                <a:gd name="T8" fmla="*/ 10 w 38"/>
                <a:gd name="T9" fmla="*/ 26 h 90"/>
                <a:gd name="T10" fmla="*/ 1 w 38"/>
                <a:gd name="T11" fmla="*/ 25 h 90"/>
                <a:gd name="T12" fmla="*/ 0 w 38"/>
                <a:gd name="T13" fmla="*/ 24 h 90"/>
                <a:gd name="T14" fmla="*/ 0 w 38"/>
                <a:gd name="T15" fmla="*/ 21 h 90"/>
                <a:gd name="T16" fmla="*/ 2 w 38"/>
                <a:gd name="T17" fmla="*/ 19 h 90"/>
                <a:gd name="T18" fmla="*/ 10 w 38"/>
                <a:gd name="T19" fmla="*/ 19 h 90"/>
                <a:gd name="T20" fmla="*/ 10 w 38"/>
                <a:gd name="T21" fmla="*/ 3 h 90"/>
                <a:gd name="T22" fmla="*/ 12 w 38"/>
                <a:gd name="T23" fmla="*/ 1 h 90"/>
                <a:gd name="T24" fmla="*/ 16 w 38"/>
                <a:gd name="T25" fmla="*/ 0 h 90"/>
                <a:gd name="T26" fmla="*/ 18 w 38"/>
                <a:gd name="T27" fmla="*/ 2 h 90"/>
                <a:gd name="T28" fmla="*/ 18 w 38"/>
                <a:gd name="T29" fmla="*/ 19 h 90"/>
                <a:gd name="T30" fmla="*/ 33 w 38"/>
                <a:gd name="T31" fmla="*/ 19 h 90"/>
                <a:gd name="T32" fmla="*/ 35 w 38"/>
                <a:gd name="T33" fmla="*/ 21 h 90"/>
                <a:gd name="T34" fmla="*/ 35 w 38"/>
                <a:gd name="T35" fmla="*/ 24 h 90"/>
                <a:gd name="T36" fmla="*/ 33 w 38"/>
                <a:gd name="T37" fmla="*/ 26 h 90"/>
                <a:gd name="T38" fmla="*/ 17 w 38"/>
                <a:gd name="T39" fmla="*/ 26 h 90"/>
                <a:gd name="T40" fmla="*/ 17 w 38"/>
                <a:gd name="T41" fmla="*/ 73 h 90"/>
                <a:gd name="T42" fmla="*/ 26 w 38"/>
                <a:gd name="T43" fmla="*/ 82 h 90"/>
                <a:gd name="T44" fmla="*/ 36 w 38"/>
                <a:gd name="T45" fmla="*/ 82 h 90"/>
                <a:gd name="T46" fmla="*/ 38 w 38"/>
                <a:gd name="T47" fmla="*/ 83 h 90"/>
                <a:gd name="T48" fmla="*/ 38 w 38"/>
                <a:gd name="T4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90">
                  <a:moveTo>
                    <a:pt x="38" y="85"/>
                  </a:moveTo>
                  <a:cubicBezTo>
                    <a:pt x="38" y="87"/>
                    <a:pt x="38" y="87"/>
                    <a:pt x="37" y="87"/>
                  </a:cubicBezTo>
                  <a:cubicBezTo>
                    <a:pt x="34" y="89"/>
                    <a:pt x="28" y="90"/>
                    <a:pt x="23" y="90"/>
                  </a:cubicBezTo>
                  <a:cubicBezTo>
                    <a:pt x="12" y="89"/>
                    <a:pt x="9" y="84"/>
                    <a:pt x="9" y="75"/>
                  </a:cubicBezTo>
                  <a:cubicBezTo>
                    <a:pt x="10" y="26"/>
                    <a:pt x="10" y="26"/>
                    <a:pt x="10" y="26"/>
                  </a:cubicBezTo>
                  <a:cubicBezTo>
                    <a:pt x="1" y="25"/>
                    <a:pt x="1" y="25"/>
                    <a:pt x="1" y="25"/>
                  </a:cubicBezTo>
                  <a:cubicBezTo>
                    <a:pt x="0" y="25"/>
                    <a:pt x="0" y="25"/>
                    <a:pt x="0" y="24"/>
                  </a:cubicBezTo>
                  <a:cubicBezTo>
                    <a:pt x="0" y="21"/>
                    <a:pt x="0" y="21"/>
                    <a:pt x="0" y="21"/>
                  </a:cubicBezTo>
                  <a:cubicBezTo>
                    <a:pt x="0" y="19"/>
                    <a:pt x="0" y="19"/>
                    <a:pt x="2" y="19"/>
                  </a:cubicBezTo>
                  <a:cubicBezTo>
                    <a:pt x="10" y="19"/>
                    <a:pt x="10" y="19"/>
                    <a:pt x="10" y="19"/>
                  </a:cubicBezTo>
                  <a:cubicBezTo>
                    <a:pt x="10" y="3"/>
                    <a:pt x="10" y="3"/>
                    <a:pt x="10" y="3"/>
                  </a:cubicBezTo>
                  <a:cubicBezTo>
                    <a:pt x="10" y="2"/>
                    <a:pt x="11" y="2"/>
                    <a:pt x="12" y="1"/>
                  </a:cubicBezTo>
                  <a:cubicBezTo>
                    <a:pt x="16" y="0"/>
                    <a:pt x="16" y="0"/>
                    <a:pt x="16" y="0"/>
                  </a:cubicBezTo>
                  <a:cubicBezTo>
                    <a:pt x="17" y="0"/>
                    <a:pt x="18" y="0"/>
                    <a:pt x="18" y="2"/>
                  </a:cubicBezTo>
                  <a:cubicBezTo>
                    <a:pt x="18" y="19"/>
                    <a:pt x="18" y="19"/>
                    <a:pt x="18" y="19"/>
                  </a:cubicBezTo>
                  <a:cubicBezTo>
                    <a:pt x="33" y="19"/>
                    <a:pt x="33" y="19"/>
                    <a:pt x="33" y="19"/>
                  </a:cubicBezTo>
                  <a:cubicBezTo>
                    <a:pt x="35" y="19"/>
                    <a:pt x="35" y="20"/>
                    <a:pt x="35" y="21"/>
                  </a:cubicBezTo>
                  <a:cubicBezTo>
                    <a:pt x="35" y="24"/>
                    <a:pt x="35" y="24"/>
                    <a:pt x="35" y="24"/>
                  </a:cubicBezTo>
                  <a:cubicBezTo>
                    <a:pt x="35" y="25"/>
                    <a:pt x="34" y="26"/>
                    <a:pt x="33" y="26"/>
                  </a:cubicBezTo>
                  <a:cubicBezTo>
                    <a:pt x="17" y="26"/>
                    <a:pt x="17" y="26"/>
                    <a:pt x="17" y="26"/>
                  </a:cubicBezTo>
                  <a:cubicBezTo>
                    <a:pt x="17" y="73"/>
                    <a:pt x="17" y="73"/>
                    <a:pt x="17" y="73"/>
                  </a:cubicBezTo>
                  <a:cubicBezTo>
                    <a:pt x="17" y="79"/>
                    <a:pt x="18" y="82"/>
                    <a:pt x="26" y="82"/>
                  </a:cubicBezTo>
                  <a:cubicBezTo>
                    <a:pt x="28" y="82"/>
                    <a:pt x="33" y="82"/>
                    <a:pt x="36" y="82"/>
                  </a:cubicBezTo>
                  <a:cubicBezTo>
                    <a:pt x="37" y="82"/>
                    <a:pt x="37" y="82"/>
                    <a:pt x="38" y="83"/>
                  </a:cubicBezTo>
                  <a:lnTo>
                    <a:pt x="38"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195">
              <a:extLst>
                <a:ext uri="{FF2B5EF4-FFF2-40B4-BE49-F238E27FC236}">
                  <a16:creationId xmlns:a16="http://schemas.microsoft.com/office/drawing/2014/main" id="{91E1D565-5738-420F-94E6-93CACB1D42E0}"/>
                </a:ext>
              </a:extLst>
            </p:cNvPr>
            <p:cNvSpPr>
              <a:spLocks/>
            </p:cNvSpPr>
            <p:nvPr/>
          </p:nvSpPr>
          <p:spPr bwMode="auto">
            <a:xfrm>
              <a:off x="5008563" y="14288"/>
              <a:ext cx="85725" cy="185738"/>
            </a:xfrm>
            <a:custGeom>
              <a:avLst/>
              <a:gdLst>
                <a:gd name="T0" fmla="*/ 10 w 47"/>
                <a:gd name="T1" fmla="*/ 32 h 101"/>
                <a:gd name="T2" fmla="*/ 10 w 47"/>
                <a:gd name="T3" fmla="*/ 21 h 101"/>
                <a:gd name="T4" fmla="*/ 30 w 47"/>
                <a:gd name="T5" fmla="*/ 1 h 101"/>
                <a:gd name="T6" fmla="*/ 45 w 47"/>
                <a:gd name="T7" fmla="*/ 3 h 101"/>
                <a:gd name="T8" fmla="*/ 47 w 47"/>
                <a:gd name="T9" fmla="*/ 6 h 101"/>
                <a:gd name="T10" fmla="*/ 46 w 47"/>
                <a:gd name="T11" fmla="*/ 8 h 101"/>
                <a:gd name="T12" fmla="*/ 44 w 47"/>
                <a:gd name="T13" fmla="*/ 9 h 101"/>
                <a:gd name="T14" fmla="*/ 32 w 47"/>
                <a:gd name="T15" fmla="*/ 8 h 101"/>
                <a:gd name="T16" fmla="*/ 17 w 47"/>
                <a:gd name="T17" fmla="*/ 21 h 101"/>
                <a:gd name="T18" fmla="*/ 17 w 47"/>
                <a:gd name="T19" fmla="*/ 32 h 101"/>
                <a:gd name="T20" fmla="*/ 36 w 47"/>
                <a:gd name="T21" fmla="*/ 32 h 101"/>
                <a:gd name="T22" fmla="*/ 38 w 47"/>
                <a:gd name="T23" fmla="*/ 33 h 101"/>
                <a:gd name="T24" fmla="*/ 38 w 47"/>
                <a:gd name="T25" fmla="*/ 37 h 101"/>
                <a:gd name="T26" fmla="*/ 36 w 47"/>
                <a:gd name="T27" fmla="*/ 38 h 101"/>
                <a:gd name="T28" fmla="*/ 17 w 47"/>
                <a:gd name="T29" fmla="*/ 38 h 101"/>
                <a:gd name="T30" fmla="*/ 17 w 47"/>
                <a:gd name="T31" fmla="*/ 99 h 101"/>
                <a:gd name="T32" fmla="*/ 15 w 47"/>
                <a:gd name="T33" fmla="*/ 101 h 101"/>
                <a:gd name="T34" fmla="*/ 11 w 47"/>
                <a:gd name="T35" fmla="*/ 101 h 101"/>
                <a:gd name="T36" fmla="*/ 9 w 47"/>
                <a:gd name="T37" fmla="*/ 99 h 101"/>
                <a:gd name="T38" fmla="*/ 9 w 47"/>
                <a:gd name="T39" fmla="*/ 38 h 101"/>
                <a:gd name="T40" fmla="*/ 2 w 47"/>
                <a:gd name="T41" fmla="*/ 38 h 101"/>
                <a:gd name="T42" fmla="*/ 0 w 47"/>
                <a:gd name="T43" fmla="*/ 36 h 101"/>
                <a:gd name="T44" fmla="*/ 0 w 47"/>
                <a:gd name="T45" fmla="*/ 33 h 101"/>
                <a:gd name="T46" fmla="*/ 2 w 47"/>
                <a:gd name="T47" fmla="*/ 31 h 101"/>
                <a:gd name="T48" fmla="*/ 10 w 47"/>
                <a:gd name="T49" fmla="*/ 3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101">
                  <a:moveTo>
                    <a:pt x="10" y="32"/>
                  </a:moveTo>
                  <a:cubicBezTo>
                    <a:pt x="10" y="21"/>
                    <a:pt x="10" y="21"/>
                    <a:pt x="10" y="21"/>
                  </a:cubicBezTo>
                  <a:cubicBezTo>
                    <a:pt x="10" y="8"/>
                    <a:pt x="16" y="0"/>
                    <a:pt x="30" y="1"/>
                  </a:cubicBezTo>
                  <a:cubicBezTo>
                    <a:pt x="33" y="1"/>
                    <a:pt x="40" y="1"/>
                    <a:pt x="45" y="3"/>
                  </a:cubicBezTo>
                  <a:cubicBezTo>
                    <a:pt x="47" y="4"/>
                    <a:pt x="47" y="5"/>
                    <a:pt x="47" y="6"/>
                  </a:cubicBezTo>
                  <a:cubicBezTo>
                    <a:pt x="46" y="8"/>
                    <a:pt x="46" y="8"/>
                    <a:pt x="46" y="8"/>
                  </a:cubicBezTo>
                  <a:cubicBezTo>
                    <a:pt x="46" y="9"/>
                    <a:pt x="45" y="9"/>
                    <a:pt x="44" y="9"/>
                  </a:cubicBezTo>
                  <a:cubicBezTo>
                    <a:pt x="38" y="8"/>
                    <a:pt x="34" y="8"/>
                    <a:pt x="32" y="8"/>
                  </a:cubicBezTo>
                  <a:cubicBezTo>
                    <a:pt x="22" y="8"/>
                    <a:pt x="17" y="11"/>
                    <a:pt x="17" y="21"/>
                  </a:cubicBezTo>
                  <a:cubicBezTo>
                    <a:pt x="17" y="32"/>
                    <a:pt x="17" y="32"/>
                    <a:pt x="17" y="32"/>
                  </a:cubicBezTo>
                  <a:cubicBezTo>
                    <a:pt x="36" y="32"/>
                    <a:pt x="36" y="32"/>
                    <a:pt x="36" y="32"/>
                  </a:cubicBezTo>
                  <a:cubicBezTo>
                    <a:pt x="37" y="32"/>
                    <a:pt x="38" y="32"/>
                    <a:pt x="38" y="33"/>
                  </a:cubicBezTo>
                  <a:cubicBezTo>
                    <a:pt x="38" y="37"/>
                    <a:pt x="38" y="37"/>
                    <a:pt x="38" y="37"/>
                  </a:cubicBezTo>
                  <a:cubicBezTo>
                    <a:pt x="38" y="38"/>
                    <a:pt x="37" y="38"/>
                    <a:pt x="36" y="38"/>
                  </a:cubicBezTo>
                  <a:cubicBezTo>
                    <a:pt x="17" y="38"/>
                    <a:pt x="17" y="38"/>
                    <a:pt x="17" y="38"/>
                  </a:cubicBezTo>
                  <a:cubicBezTo>
                    <a:pt x="17" y="99"/>
                    <a:pt x="17" y="99"/>
                    <a:pt x="17" y="99"/>
                  </a:cubicBezTo>
                  <a:cubicBezTo>
                    <a:pt x="17" y="100"/>
                    <a:pt x="16" y="101"/>
                    <a:pt x="15" y="101"/>
                  </a:cubicBezTo>
                  <a:cubicBezTo>
                    <a:pt x="11" y="101"/>
                    <a:pt x="11" y="101"/>
                    <a:pt x="11" y="101"/>
                  </a:cubicBezTo>
                  <a:cubicBezTo>
                    <a:pt x="9" y="101"/>
                    <a:pt x="9" y="100"/>
                    <a:pt x="9" y="99"/>
                  </a:cubicBezTo>
                  <a:cubicBezTo>
                    <a:pt x="9" y="38"/>
                    <a:pt x="9" y="38"/>
                    <a:pt x="9" y="38"/>
                  </a:cubicBezTo>
                  <a:cubicBezTo>
                    <a:pt x="2" y="38"/>
                    <a:pt x="2" y="38"/>
                    <a:pt x="2" y="38"/>
                  </a:cubicBezTo>
                  <a:cubicBezTo>
                    <a:pt x="1" y="38"/>
                    <a:pt x="0" y="37"/>
                    <a:pt x="0" y="36"/>
                  </a:cubicBezTo>
                  <a:cubicBezTo>
                    <a:pt x="0" y="33"/>
                    <a:pt x="0" y="33"/>
                    <a:pt x="0" y="33"/>
                  </a:cubicBezTo>
                  <a:cubicBezTo>
                    <a:pt x="0" y="32"/>
                    <a:pt x="1" y="31"/>
                    <a:pt x="2" y="31"/>
                  </a:cubicBez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96">
              <a:extLst>
                <a:ext uri="{FF2B5EF4-FFF2-40B4-BE49-F238E27FC236}">
                  <a16:creationId xmlns:a16="http://schemas.microsoft.com/office/drawing/2014/main" id="{F2ED436A-5E1A-487D-8E6C-E8F8CA397330}"/>
                </a:ext>
              </a:extLst>
            </p:cNvPr>
            <p:cNvSpPr>
              <a:spLocks noEditPoints="1"/>
            </p:cNvSpPr>
            <p:nvPr/>
          </p:nvSpPr>
          <p:spPr bwMode="auto">
            <a:xfrm>
              <a:off x="5087938" y="69850"/>
              <a:ext cx="103188" cy="133350"/>
            </a:xfrm>
            <a:custGeom>
              <a:avLst/>
              <a:gdLst>
                <a:gd name="T0" fmla="*/ 0 w 56"/>
                <a:gd name="T1" fmla="*/ 35 h 73"/>
                <a:gd name="T2" fmla="*/ 28 w 56"/>
                <a:gd name="T3" fmla="*/ 1 h 73"/>
                <a:gd name="T4" fmla="*/ 56 w 56"/>
                <a:gd name="T5" fmla="*/ 36 h 73"/>
                <a:gd name="T6" fmla="*/ 27 w 56"/>
                <a:gd name="T7" fmla="*/ 72 h 73"/>
                <a:gd name="T8" fmla="*/ 0 w 56"/>
                <a:gd name="T9" fmla="*/ 35 h 73"/>
                <a:gd name="T10" fmla="*/ 8 w 56"/>
                <a:gd name="T11" fmla="*/ 36 h 73"/>
                <a:gd name="T12" fmla="*/ 27 w 56"/>
                <a:gd name="T13" fmla="*/ 65 h 73"/>
                <a:gd name="T14" fmla="*/ 48 w 56"/>
                <a:gd name="T15" fmla="*/ 37 h 73"/>
                <a:gd name="T16" fmla="*/ 28 w 56"/>
                <a:gd name="T17" fmla="*/ 8 h 73"/>
                <a:gd name="T18" fmla="*/ 8 w 56"/>
                <a:gd name="T19"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73">
                  <a:moveTo>
                    <a:pt x="0" y="35"/>
                  </a:moveTo>
                  <a:cubicBezTo>
                    <a:pt x="0" y="21"/>
                    <a:pt x="3" y="0"/>
                    <a:pt x="28" y="1"/>
                  </a:cubicBezTo>
                  <a:cubicBezTo>
                    <a:pt x="53" y="1"/>
                    <a:pt x="56" y="18"/>
                    <a:pt x="56" y="36"/>
                  </a:cubicBezTo>
                  <a:cubicBezTo>
                    <a:pt x="56" y="53"/>
                    <a:pt x="54" y="73"/>
                    <a:pt x="27" y="72"/>
                  </a:cubicBezTo>
                  <a:cubicBezTo>
                    <a:pt x="1" y="72"/>
                    <a:pt x="0" y="53"/>
                    <a:pt x="0" y="35"/>
                  </a:cubicBezTo>
                  <a:close/>
                  <a:moveTo>
                    <a:pt x="8" y="36"/>
                  </a:moveTo>
                  <a:cubicBezTo>
                    <a:pt x="8" y="54"/>
                    <a:pt x="11" y="65"/>
                    <a:pt x="27" y="65"/>
                  </a:cubicBezTo>
                  <a:cubicBezTo>
                    <a:pt x="44" y="65"/>
                    <a:pt x="48" y="55"/>
                    <a:pt x="48" y="37"/>
                  </a:cubicBezTo>
                  <a:cubicBezTo>
                    <a:pt x="48" y="18"/>
                    <a:pt x="45" y="8"/>
                    <a:pt x="28" y="8"/>
                  </a:cubicBezTo>
                  <a:cubicBezTo>
                    <a:pt x="11" y="8"/>
                    <a:pt x="8" y="18"/>
                    <a:pt x="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97">
              <a:extLst>
                <a:ext uri="{FF2B5EF4-FFF2-40B4-BE49-F238E27FC236}">
                  <a16:creationId xmlns:a16="http://schemas.microsoft.com/office/drawing/2014/main" id="{59DE617D-970A-4F9E-BEE3-AFF9F8B345E7}"/>
                </a:ext>
              </a:extLst>
            </p:cNvPr>
            <p:cNvSpPr>
              <a:spLocks/>
            </p:cNvSpPr>
            <p:nvPr/>
          </p:nvSpPr>
          <p:spPr bwMode="auto">
            <a:xfrm>
              <a:off x="5221288" y="73025"/>
              <a:ext cx="52388" cy="128588"/>
            </a:xfrm>
            <a:custGeom>
              <a:avLst/>
              <a:gdLst>
                <a:gd name="T0" fmla="*/ 9 w 29"/>
                <a:gd name="T1" fmla="*/ 15 h 70"/>
                <a:gd name="T2" fmla="*/ 8 w 29"/>
                <a:gd name="T3" fmla="*/ 68 h 70"/>
                <a:gd name="T4" fmla="*/ 6 w 29"/>
                <a:gd name="T5" fmla="*/ 70 h 70"/>
                <a:gd name="T6" fmla="*/ 2 w 29"/>
                <a:gd name="T7" fmla="*/ 70 h 70"/>
                <a:gd name="T8" fmla="*/ 0 w 29"/>
                <a:gd name="T9" fmla="*/ 68 h 70"/>
                <a:gd name="T10" fmla="*/ 1 w 29"/>
                <a:gd name="T11" fmla="*/ 3 h 70"/>
                <a:gd name="T12" fmla="*/ 3 w 29"/>
                <a:gd name="T13" fmla="*/ 1 h 70"/>
                <a:gd name="T14" fmla="*/ 6 w 29"/>
                <a:gd name="T15" fmla="*/ 1 h 70"/>
                <a:gd name="T16" fmla="*/ 9 w 29"/>
                <a:gd name="T17" fmla="*/ 3 h 70"/>
                <a:gd name="T18" fmla="*/ 9 w 29"/>
                <a:gd name="T19" fmla="*/ 9 h 70"/>
                <a:gd name="T20" fmla="*/ 27 w 29"/>
                <a:gd name="T21" fmla="*/ 0 h 70"/>
                <a:gd name="T22" fmla="*/ 28 w 29"/>
                <a:gd name="T23" fmla="*/ 1 h 70"/>
                <a:gd name="T24" fmla="*/ 29 w 29"/>
                <a:gd name="T25" fmla="*/ 6 h 70"/>
                <a:gd name="T26" fmla="*/ 27 w 29"/>
                <a:gd name="T27" fmla="*/ 8 h 70"/>
                <a:gd name="T28" fmla="*/ 9 w 29"/>
                <a:gd name="T2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70">
                  <a:moveTo>
                    <a:pt x="9" y="15"/>
                  </a:moveTo>
                  <a:cubicBezTo>
                    <a:pt x="8" y="68"/>
                    <a:pt x="8" y="68"/>
                    <a:pt x="8" y="68"/>
                  </a:cubicBezTo>
                  <a:cubicBezTo>
                    <a:pt x="8" y="69"/>
                    <a:pt x="8" y="70"/>
                    <a:pt x="6" y="70"/>
                  </a:cubicBezTo>
                  <a:cubicBezTo>
                    <a:pt x="2" y="70"/>
                    <a:pt x="2" y="70"/>
                    <a:pt x="2" y="70"/>
                  </a:cubicBezTo>
                  <a:cubicBezTo>
                    <a:pt x="1" y="70"/>
                    <a:pt x="0" y="69"/>
                    <a:pt x="0" y="68"/>
                  </a:cubicBezTo>
                  <a:cubicBezTo>
                    <a:pt x="1" y="3"/>
                    <a:pt x="1" y="3"/>
                    <a:pt x="1" y="3"/>
                  </a:cubicBezTo>
                  <a:cubicBezTo>
                    <a:pt x="1" y="1"/>
                    <a:pt x="1" y="1"/>
                    <a:pt x="3" y="1"/>
                  </a:cubicBezTo>
                  <a:cubicBezTo>
                    <a:pt x="6" y="1"/>
                    <a:pt x="6" y="1"/>
                    <a:pt x="6" y="1"/>
                  </a:cubicBezTo>
                  <a:cubicBezTo>
                    <a:pt x="8" y="1"/>
                    <a:pt x="9" y="1"/>
                    <a:pt x="9" y="3"/>
                  </a:cubicBezTo>
                  <a:cubicBezTo>
                    <a:pt x="9" y="9"/>
                    <a:pt x="9" y="9"/>
                    <a:pt x="9" y="9"/>
                  </a:cubicBezTo>
                  <a:cubicBezTo>
                    <a:pt x="11" y="7"/>
                    <a:pt x="19" y="2"/>
                    <a:pt x="27" y="0"/>
                  </a:cubicBezTo>
                  <a:cubicBezTo>
                    <a:pt x="28" y="0"/>
                    <a:pt x="28" y="0"/>
                    <a:pt x="28" y="1"/>
                  </a:cubicBezTo>
                  <a:cubicBezTo>
                    <a:pt x="29" y="6"/>
                    <a:pt x="29" y="6"/>
                    <a:pt x="29" y="6"/>
                  </a:cubicBezTo>
                  <a:cubicBezTo>
                    <a:pt x="29" y="7"/>
                    <a:pt x="29" y="8"/>
                    <a:pt x="27" y="8"/>
                  </a:cubicBezTo>
                  <a:cubicBezTo>
                    <a:pt x="20" y="9"/>
                    <a:pt x="12" y="13"/>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198">
              <a:extLst>
                <a:ext uri="{FF2B5EF4-FFF2-40B4-BE49-F238E27FC236}">
                  <a16:creationId xmlns:a16="http://schemas.microsoft.com/office/drawing/2014/main" id="{8674F7AD-FE4B-4F95-988E-19BECD9AE372}"/>
                </a:ext>
              </a:extLst>
            </p:cNvPr>
            <p:cNvSpPr>
              <a:spLocks/>
            </p:cNvSpPr>
            <p:nvPr/>
          </p:nvSpPr>
          <p:spPr bwMode="auto">
            <a:xfrm>
              <a:off x="5289551" y="73025"/>
              <a:ext cx="176213" cy="130175"/>
            </a:xfrm>
            <a:custGeom>
              <a:avLst/>
              <a:gdLst>
                <a:gd name="T0" fmla="*/ 76 w 96"/>
                <a:gd name="T1" fmla="*/ 7 h 71"/>
                <a:gd name="T2" fmla="*/ 52 w 96"/>
                <a:gd name="T3" fmla="*/ 16 h 71"/>
                <a:gd name="T4" fmla="*/ 52 w 96"/>
                <a:gd name="T5" fmla="*/ 24 h 71"/>
                <a:gd name="T6" fmla="*/ 52 w 96"/>
                <a:gd name="T7" fmla="*/ 68 h 71"/>
                <a:gd name="T8" fmla="*/ 50 w 96"/>
                <a:gd name="T9" fmla="*/ 70 h 71"/>
                <a:gd name="T10" fmla="*/ 45 w 96"/>
                <a:gd name="T11" fmla="*/ 70 h 71"/>
                <a:gd name="T12" fmla="*/ 44 w 96"/>
                <a:gd name="T13" fmla="*/ 68 h 71"/>
                <a:gd name="T14" fmla="*/ 44 w 96"/>
                <a:gd name="T15" fmla="*/ 24 h 71"/>
                <a:gd name="T16" fmla="*/ 32 w 96"/>
                <a:gd name="T17" fmla="*/ 7 h 71"/>
                <a:gd name="T18" fmla="*/ 8 w 96"/>
                <a:gd name="T19" fmla="*/ 15 h 71"/>
                <a:gd name="T20" fmla="*/ 8 w 96"/>
                <a:gd name="T21" fmla="*/ 68 h 71"/>
                <a:gd name="T22" fmla="*/ 6 w 96"/>
                <a:gd name="T23" fmla="*/ 70 h 71"/>
                <a:gd name="T24" fmla="*/ 2 w 96"/>
                <a:gd name="T25" fmla="*/ 70 h 71"/>
                <a:gd name="T26" fmla="*/ 0 w 96"/>
                <a:gd name="T27" fmla="*/ 68 h 71"/>
                <a:gd name="T28" fmla="*/ 1 w 96"/>
                <a:gd name="T29" fmla="*/ 3 h 71"/>
                <a:gd name="T30" fmla="*/ 3 w 96"/>
                <a:gd name="T31" fmla="*/ 1 h 71"/>
                <a:gd name="T32" fmla="*/ 6 w 96"/>
                <a:gd name="T33" fmla="*/ 1 h 71"/>
                <a:gd name="T34" fmla="*/ 8 w 96"/>
                <a:gd name="T35" fmla="*/ 3 h 71"/>
                <a:gd name="T36" fmla="*/ 8 w 96"/>
                <a:gd name="T37" fmla="*/ 9 h 71"/>
                <a:gd name="T38" fmla="*/ 33 w 96"/>
                <a:gd name="T39" fmla="*/ 0 h 71"/>
                <a:gd name="T40" fmla="*/ 51 w 96"/>
                <a:gd name="T41" fmla="*/ 11 h 71"/>
                <a:gd name="T42" fmla="*/ 77 w 96"/>
                <a:gd name="T43" fmla="*/ 0 h 71"/>
                <a:gd name="T44" fmla="*/ 96 w 96"/>
                <a:gd name="T45" fmla="*/ 24 h 71"/>
                <a:gd name="T46" fmla="*/ 96 w 96"/>
                <a:gd name="T47" fmla="*/ 69 h 71"/>
                <a:gd name="T48" fmla="*/ 94 w 96"/>
                <a:gd name="T49" fmla="*/ 71 h 71"/>
                <a:gd name="T50" fmla="*/ 90 w 96"/>
                <a:gd name="T51" fmla="*/ 71 h 71"/>
                <a:gd name="T52" fmla="*/ 88 w 96"/>
                <a:gd name="T53" fmla="*/ 69 h 71"/>
                <a:gd name="T54" fmla="*/ 88 w 96"/>
                <a:gd name="T55" fmla="*/ 26 h 71"/>
                <a:gd name="T56" fmla="*/ 76 w 96"/>
                <a:gd name="T57"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71">
                  <a:moveTo>
                    <a:pt x="76" y="7"/>
                  </a:moveTo>
                  <a:cubicBezTo>
                    <a:pt x="69" y="7"/>
                    <a:pt x="57" y="13"/>
                    <a:pt x="52" y="16"/>
                  </a:cubicBezTo>
                  <a:cubicBezTo>
                    <a:pt x="52" y="18"/>
                    <a:pt x="52" y="21"/>
                    <a:pt x="52" y="24"/>
                  </a:cubicBezTo>
                  <a:cubicBezTo>
                    <a:pt x="52" y="68"/>
                    <a:pt x="52" y="68"/>
                    <a:pt x="52" y="68"/>
                  </a:cubicBezTo>
                  <a:cubicBezTo>
                    <a:pt x="52" y="70"/>
                    <a:pt x="51" y="70"/>
                    <a:pt x="50" y="70"/>
                  </a:cubicBezTo>
                  <a:cubicBezTo>
                    <a:pt x="45" y="70"/>
                    <a:pt x="45" y="70"/>
                    <a:pt x="45" y="70"/>
                  </a:cubicBezTo>
                  <a:cubicBezTo>
                    <a:pt x="44" y="70"/>
                    <a:pt x="44" y="70"/>
                    <a:pt x="44" y="68"/>
                  </a:cubicBezTo>
                  <a:cubicBezTo>
                    <a:pt x="44" y="24"/>
                    <a:pt x="44" y="24"/>
                    <a:pt x="44" y="24"/>
                  </a:cubicBezTo>
                  <a:cubicBezTo>
                    <a:pt x="45" y="15"/>
                    <a:pt x="43" y="7"/>
                    <a:pt x="32" y="7"/>
                  </a:cubicBezTo>
                  <a:cubicBezTo>
                    <a:pt x="26" y="7"/>
                    <a:pt x="16" y="11"/>
                    <a:pt x="8" y="15"/>
                  </a:cubicBezTo>
                  <a:cubicBezTo>
                    <a:pt x="8" y="68"/>
                    <a:pt x="8" y="68"/>
                    <a:pt x="8" y="68"/>
                  </a:cubicBezTo>
                  <a:cubicBezTo>
                    <a:pt x="8" y="69"/>
                    <a:pt x="7" y="70"/>
                    <a:pt x="6" y="70"/>
                  </a:cubicBezTo>
                  <a:cubicBezTo>
                    <a:pt x="2" y="70"/>
                    <a:pt x="2" y="70"/>
                    <a:pt x="2" y="70"/>
                  </a:cubicBezTo>
                  <a:cubicBezTo>
                    <a:pt x="0" y="70"/>
                    <a:pt x="0" y="70"/>
                    <a:pt x="0" y="68"/>
                  </a:cubicBezTo>
                  <a:cubicBezTo>
                    <a:pt x="1" y="3"/>
                    <a:pt x="1" y="3"/>
                    <a:pt x="1" y="3"/>
                  </a:cubicBezTo>
                  <a:cubicBezTo>
                    <a:pt x="1" y="1"/>
                    <a:pt x="1" y="1"/>
                    <a:pt x="3" y="1"/>
                  </a:cubicBezTo>
                  <a:cubicBezTo>
                    <a:pt x="6" y="1"/>
                    <a:pt x="6" y="1"/>
                    <a:pt x="6" y="1"/>
                  </a:cubicBezTo>
                  <a:cubicBezTo>
                    <a:pt x="8" y="1"/>
                    <a:pt x="8" y="1"/>
                    <a:pt x="8" y="3"/>
                  </a:cubicBezTo>
                  <a:cubicBezTo>
                    <a:pt x="8" y="9"/>
                    <a:pt x="8" y="9"/>
                    <a:pt x="8" y="9"/>
                  </a:cubicBezTo>
                  <a:cubicBezTo>
                    <a:pt x="14" y="5"/>
                    <a:pt x="23" y="0"/>
                    <a:pt x="33" y="0"/>
                  </a:cubicBezTo>
                  <a:cubicBezTo>
                    <a:pt x="43" y="0"/>
                    <a:pt x="48" y="4"/>
                    <a:pt x="51" y="11"/>
                  </a:cubicBezTo>
                  <a:cubicBezTo>
                    <a:pt x="58" y="5"/>
                    <a:pt x="67" y="0"/>
                    <a:pt x="77" y="0"/>
                  </a:cubicBezTo>
                  <a:cubicBezTo>
                    <a:pt x="93" y="0"/>
                    <a:pt x="96" y="9"/>
                    <a:pt x="96" y="24"/>
                  </a:cubicBezTo>
                  <a:cubicBezTo>
                    <a:pt x="96" y="69"/>
                    <a:pt x="96" y="69"/>
                    <a:pt x="96" y="69"/>
                  </a:cubicBezTo>
                  <a:cubicBezTo>
                    <a:pt x="96" y="70"/>
                    <a:pt x="95" y="71"/>
                    <a:pt x="94" y="71"/>
                  </a:cubicBezTo>
                  <a:cubicBezTo>
                    <a:pt x="90" y="71"/>
                    <a:pt x="90" y="71"/>
                    <a:pt x="90" y="71"/>
                  </a:cubicBezTo>
                  <a:cubicBezTo>
                    <a:pt x="88" y="71"/>
                    <a:pt x="88" y="70"/>
                    <a:pt x="88" y="69"/>
                  </a:cubicBezTo>
                  <a:cubicBezTo>
                    <a:pt x="88" y="26"/>
                    <a:pt x="88" y="26"/>
                    <a:pt x="88" y="26"/>
                  </a:cubicBezTo>
                  <a:cubicBezTo>
                    <a:pt x="88" y="12"/>
                    <a:pt x="87" y="7"/>
                    <a:pt x="7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4992735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16982"/>
          </a:xfrm>
          <a:prstGeom prst="rect">
            <a:avLst/>
          </a:prstGeom>
        </p:spPr>
        <p:txBody>
          <a:bodyPr wrap="none">
            <a:spAutoFit/>
          </a:bodyPr>
          <a:lstStyle>
            <a:lvl1pPr marL="0" indent="0" algn="l">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Tree>
    <p:extLst>
      <p:ext uri="{BB962C8B-B14F-4D97-AF65-F5344CB8AC3E}">
        <p14:creationId xmlns:p14="http://schemas.microsoft.com/office/powerpoint/2010/main" val="78788569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15" name="Group 14"/>
          <p:cNvGrpSpPr/>
          <p:nvPr userDrawn="1"/>
        </p:nvGrpSpPr>
        <p:grpSpPr>
          <a:xfrm>
            <a:off x="11548481" y="73568"/>
            <a:ext cx="409580" cy="338886"/>
            <a:chOff x="10987081" y="138792"/>
            <a:chExt cx="409580" cy="338886"/>
          </a:xfrm>
        </p:grpSpPr>
        <p:grpSp>
          <p:nvGrpSpPr>
            <p:cNvPr id="16" name="Group 26"/>
            <p:cNvGrpSpPr/>
            <p:nvPr userDrawn="1"/>
          </p:nvGrpSpPr>
          <p:grpSpPr>
            <a:xfrm>
              <a:off x="11011908" y="146161"/>
              <a:ext cx="384753" cy="331517"/>
              <a:chOff x="9021034" y="119041"/>
              <a:chExt cx="630093" cy="553987"/>
            </a:xfrm>
          </p:grpSpPr>
          <p:sp>
            <p:nvSpPr>
              <p:cNvPr id="18"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a:solidFill>
                      <a:srgbClr val="E5A912"/>
                    </a:solidFill>
                  </a:rPr>
                  <a:t>RESTRICTED</a:t>
                </a:r>
              </a:p>
            </p:txBody>
          </p:sp>
          <p:grpSp>
            <p:nvGrpSpPr>
              <p:cNvPr id="19" name="Group 30"/>
              <p:cNvGrpSpPr/>
              <p:nvPr userDrawn="1"/>
            </p:nvGrpSpPr>
            <p:grpSpPr>
              <a:xfrm>
                <a:off x="9094418" y="119041"/>
                <a:ext cx="477460" cy="431416"/>
                <a:chOff x="8532895" y="91935"/>
                <a:chExt cx="504900" cy="444531"/>
              </a:xfrm>
            </p:grpSpPr>
            <p:sp>
              <p:nvSpPr>
                <p:cNvPr id="21"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30"/>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31"/>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2" name="Freeform 32"/>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3"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grpSp>
        <p:sp>
          <p:nvSpPr>
            <p:cNvPr id="17"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a:solidFill>
                    <a:srgbClr val="7F7F7F"/>
                  </a:solidFill>
                </a:rPr>
                <a:t>Confidential</a:t>
              </a:r>
            </a:p>
          </p:txBody>
        </p:sp>
      </p:grpSp>
    </p:spTree>
    <p:extLst>
      <p:ext uri="{BB962C8B-B14F-4D97-AF65-F5344CB8AC3E}">
        <p14:creationId xmlns:p14="http://schemas.microsoft.com/office/powerpoint/2010/main" val="3140558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bg1"/>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3"/>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3CC17AF5-E76C-4559-B749-924D696639A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30180769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2DD0A4-3D7A-46DA-BA36-C2A1FD4C4FDC}" type="datetimeFigureOut">
              <a:rPr lang="en-US" smtClean="0"/>
              <a:t>9/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F037572-DACB-48B5-9502-C81E6B189104}" type="slidenum">
              <a:rPr lang="en-US" smtClean="0"/>
              <a:t>‹#›</a:t>
            </a:fld>
            <a:endParaRPr lang="en-US"/>
          </a:p>
        </p:txBody>
      </p:sp>
    </p:spTree>
    <p:extLst>
      <p:ext uri="{BB962C8B-B14F-4D97-AF65-F5344CB8AC3E}">
        <p14:creationId xmlns:p14="http://schemas.microsoft.com/office/powerpoint/2010/main" val="3371575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Tree>
    <p:extLst>
      <p:ext uri="{BB962C8B-B14F-4D97-AF65-F5344CB8AC3E}">
        <p14:creationId xmlns:p14="http://schemas.microsoft.com/office/powerpoint/2010/main" val="255126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Tree>
    <p:extLst>
      <p:ext uri="{BB962C8B-B14F-4D97-AF65-F5344CB8AC3E}">
        <p14:creationId xmlns:p14="http://schemas.microsoft.com/office/powerpoint/2010/main" val="387945730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ver option_NO IMAGE">
    <p:spTree>
      <p:nvGrpSpPr>
        <p:cNvPr id="1" name=""/>
        <p:cNvGrpSpPr/>
        <p:nvPr/>
      </p:nvGrpSpPr>
      <p:grpSpPr>
        <a:xfrm>
          <a:off x="0" y="0"/>
          <a:ext cx="0" cy="0"/>
          <a:chOff x="0" y="0"/>
          <a:chExt cx="0" cy="0"/>
        </a:xfrm>
      </p:grpSpPr>
      <p:sp>
        <p:nvSpPr>
          <p:cNvPr id="2" name="Title 1"/>
          <p:cNvSpPr>
            <a:spLocks noGrp="1"/>
          </p:cNvSpPr>
          <p:nvPr>
            <p:ph type="ctrTitle"/>
          </p:nvPr>
        </p:nvSpPr>
        <p:spPr>
          <a:xfrm>
            <a:off x="963813" y="1764051"/>
            <a:ext cx="10143533" cy="1829040"/>
          </a:xfrm>
          <a:prstGeom prst="rect">
            <a:avLst/>
          </a:prstGeom>
        </p:spPr>
        <p:txBody>
          <a:bodyPr anchor="b">
            <a:normAutofit/>
          </a:bodyPr>
          <a:lstStyle>
            <a:lvl1pPr algn="ctr">
              <a:defRPr sz="6600" b="0" i="0">
                <a:solidFill>
                  <a:srgbClr val="005EB8"/>
                </a:solidFill>
                <a:latin typeface="Gibson Light" panose="02000000000000000000" pitchFamily="2" charset="77"/>
              </a:defRPr>
            </a:lvl1pPr>
          </a:lstStyle>
          <a:p>
            <a:r>
              <a:rPr lang="en-US" dirty="0"/>
              <a:t>Click to edit Master title style</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787875"/>
                </a:solidFill>
                <a:latin typeface="Gibson Light" panose="02000000000000000000" pitchFamily="2" charset="77"/>
              </a:defRPr>
            </a:lvl1pPr>
          </a:lstStyle>
          <a:p>
            <a:r>
              <a:rPr lang="en-US" dirty="0"/>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pic>
        <p:nvPicPr>
          <p:cNvPr id="8" name="Picture 7">
            <a:extLst>
              <a:ext uri="{FF2B5EF4-FFF2-40B4-BE49-F238E27FC236}">
                <a16:creationId xmlns:a16="http://schemas.microsoft.com/office/drawing/2014/main" id="{3978D5FD-A706-5B4C-BFEC-732EC8C749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9" name="Straight Connector 8">
            <a:extLst>
              <a:ext uri="{FF2B5EF4-FFF2-40B4-BE49-F238E27FC236}">
                <a16:creationId xmlns:a16="http://schemas.microsoft.com/office/drawing/2014/main" id="{1DAE47B0-32E5-4F41-B03D-C2D5F0E3D1C9}"/>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EF24E79-8CC0-1E40-976D-01D596303F4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pic>
        <p:nvPicPr>
          <p:cNvPr id="14" name="Picture 13">
            <a:extLst>
              <a:ext uri="{FF2B5EF4-FFF2-40B4-BE49-F238E27FC236}">
                <a16:creationId xmlns:a16="http://schemas.microsoft.com/office/drawing/2014/main" id="{FB1D2122-4AE9-9F46-818E-3A37DC4E972D}"/>
              </a:ext>
            </a:extLst>
          </p:cNvPr>
          <p:cNvPicPr>
            <a:picLocks noChangeAspect="1"/>
          </p:cNvPicPr>
          <p:nvPr userDrawn="1"/>
        </p:nvPicPr>
        <p:blipFill>
          <a:blip r:embed="rId4"/>
          <a:stretch>
            <a:fillRect/>
          </a:stretch>
        </p:blipFill>
        <p:spPr>
          <a:xfrm>
            <a:off x="12549762" y="416228"/>
            <a:ext cx="2108200" cy="381000"/>
          </a:xfrm>
          <a:prstGeom prst="rect">
            <a:avLst/>
          </a:prstGeom>
        </p:spPr>
      </p:pic>
      <p:cxnSp>
        <p:nvCxnSpPr>
          <p:cNvPr id="16" name="Straight Connector 15">
            <a:extLst>
              <a:ext uri="{FF2B5EF4-FFF2-40B4-BE49-F238E27FC236}">
                <a16:creationId xmlns:a16="http://schemas.microsoft.com/office/drawing/2014/main" id="{E5AF93E1-E3E0-8E42-9CD1-B79E94F40819}"/>
              </a:ext>
            </a:extLst>
          </p:cNvPr>
          <p:cNvCxnSpPr/>
          <p:nvPr userDrawn="1"/>
        </p:nvCxnSpPr>
        <p:spPr>
          <a:xfrm>
            <a:off x="14822955"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08005719-B7BD-FF41-82A7-D2F0FB5A3EFD}"/>
              </a:ext>
            </a:extLst>
          </p:cNvPr>
          <p:cNvPicPr>
            <a:picLocks noChangeAspect="1"/>
          </p:cNvPicPr>
          <p:nvPr userDrawn="1"/>
        </p:nvPicPr>
        <p:blipFill>
          <a:blip r:embed="rId5"/>
          <a:stretch>
            <a:fillRect/>
          </a:stretch>
        </p:blipFill>
        <p:spPr>
          <a:xfrm>
            <a:off x="14962275" y="474639"/>
            <a:ext cx="2259329" cy="332391"/>
          </a:xfrm>
          <a:prstGeom prst="rect">
            <a:avLst/>
          </a:prstGeom>
        </p:spPr>
      </p:pic>
    </p:spTree>
    <p:extLst>
      <p:ext uri="{BB962C8B-B14F-4D97-AF65-F5344CB8AC3E}">
        <p14:creationId xmlns:p14="http://schemas.microsoft.com/office/powerpoint/2010/main" val="42278837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pener Slide Option 2_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406758"/>
            <a:ext cx="6750067" cy="6451241"/>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7609971" y="1501996"/>
            <a:ext cx="4061316"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dirty="0"/>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7609971" y="4029740"/>
            <a:ext cx="4076388"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787875"/>
                </a:solidFill>
                <a:latin typeface="Gibson Light" panose="02000000000000000000" pitchFamily="2" charset="77"/>
              </a:defRPr>
            </a:lvl1pPr>
          </a:lstStyle>
          <a:p>
            <a:r>
              <a:rPr lang="en-US" dirty="0"/>
              <a:t>Name  I  00.00.00  I  Location</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pic>
        <p:nvPicPr>
          <p:cNvPr id="14" name="Picture 13">
            <a:extLst>
              <a:ext uri="{FF2B5EF4-FFF2-40B4-BE49-F238E27FC236}">
                <a16:creationId xmlns:a16="http://schemas.microsoft.com/office/drawing/2014/main" id="{E557E9B1-D1D1-CD4D-A354-8E2F4BEBEA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15" name="Straight Connector 14">
            <a:extLst>
              <a:ext uri="{FF2B5EF4-FFF2-40B4-BE49-F238E27FC236}">
                <a16:creationId xmlns:a16="http://schemas.microsoft.com/office/drawing/2014/main" id="{D9D99A2E-08BE-FE47-82AE-BA6DC5017504}"/>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4A95D367-CA7A-5248-BCB1-8EF6F6A43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pic>
        <p:nvPicPr>
          <p:cNvPr id="19" name="Picture 18">
            <a:extLst>
              <a:ext uri="{FF2B5EF4-FFF2-40B4-BE49-F238E27FC236}">
                <a16:creationId xmlns:a16="http://schemas.microsoft.com/office/drawing/2014/main" id="{73FC9FF3-6E0A-8347-846B-1355D30E5551}"/>
              </a:ext>
            </a:extLst>
          </p:cNvPr>
          <p:cNvPicPr>
            <a:picLocks noChangeAspect="1"/>
          </p:cNvPicPr>
          <p:nvPr userDrawn="1"/>
        </p:nvPicPr>
        <p:blipFill>
          <a:blip r:embed="rId4"/>
          <a:stretch>
            <a:fillRect/>
          </a:stretch>
        </p:blipFill>
        <p:spPr>
          <a:xfrm>
            <a:off x="12559388" y="416228"/>
            <a:ext cx="2108200" cy="381000"/>
          </a:xfrm>
          <a:prstGeom prst="rect">
            <a:avLst/>
          </a:prstGeom>
        </p:spPr>
      </p:pic>
      <p:cxnSp>
        <p:nvCxnSpPr>
          <p:cNvPr id="20" name="Straight Connector 19">
            <a:extLst>
              <a:ext uri="{FF2B5EF4-FFF2-40B4-BE49-F238E27FC236}">
                <a16:creationId xmlns:a16="http://schemas.microsoft.com/office/drawing/2014/main" id="{7EDB2A84-DE8E-084A-89C7-23333D31C1D0}"/>
              </a:ext>
            </a:extLst>
          </p:cNvPr>
          <p:cNvCxnSpPr/>
          <p:nvPr userDrawn="1"/>
        </p:nvCxnSpPr>
        <p:spPr>
          <a:xfrm>
            <a:off x="14832581"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47C3BF11-DBA1-C141-B669-9E63F93BB790}"/>
              </a:ext>
            </a:extLst>
          </p:cNvPr>
          <p:cNvPicPr>
            <a:picLocks noChangeAspect="1"/>
          </p:cNvPicPr>
          <p:nvPr userDrawn="1"/>
        </p:nvPicPr>
        <p:blipFill>
          <a:blip r:embed="rId5"/>
          <a:stretch>
            <a:fillRect/>
          </a:stretch>
        </p:blipFill>
        <p:spPr>
          <a:xfrm>
            <a:off x="14971901" y="474639"/>
            <a:ext cx="2259329" cy="332391"/>
          </a:xfrm>
          <a:prstGeom prst="rect">
            <a:avLst/>
          </a:prstGeom>
        </p:spPr>
      </p:pic>
    </p:spTree>
    <p:extLst>
      <p:ext uri="{BB962C8B-B14F-4D97-AF65-F5344CB8AC3E}">
        <p14:creationId xmlns:p14="http://schemas.microsoft.com/office/powerpoint/2010/main" val="426248411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Opener Slide Option 2_ MORE LOGOS small 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1087551"/>
            <a:ext cx="6037739" cy="5770448"/>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6963508" y="1501996"/>
            <a:ext cx="4707779"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dirty="0"/>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6963508" y="4029740"/>
            <a:ext cx="4722851"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787875"/>
                </a:solidFill>
                <a:latin typeface="Gibson Light" panose="02000000000000000000" pitchFamily="2" charset="77"/>
              </a:defRPr>
            </a:lvl1pPr>
          </a:lstStyle>
          <a:p>
            <a:r>
              <a:rPr lang="en-US" dirty="0"/>
              <a:t>Footer  I  Credits  I  Links</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0888DE82-4B10-EB43-9EAA-BB5F42FAD224}"/>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pic>
        <p:nvPicPr>
          <p:cNvPr id="14" name="Picture 13">
            <a:extLst>
              <a:ext uri="{FF2B5EF4-FFF2-40B4-BE49-F238E27FC236}">
                <a16:creationId xmlns:a16="http://schemas.microsoft.com/office/drawing/2014/main" id="{F09FDBD2-ECF5-6645-A489-F33908AF84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19" name="Straight Connector 18">
            <a:extLst>
              <a:ext uri="{FF2B5EF4-FFF2-40B4-BE49-F238E27FC236}">
                <a16:creationId xmlns:a16="http://schemas.microsoft.com/office/drawing/2014/main" id="{9FE9C430-534F-B842-B2DF-AF5A703BCF38}"/>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8EF7CA5-F7E9-B64E-BBC1-1566B5DCE6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pic>
        <p:nvPicPr>
          <p:cNvPr id="21" name="Picture 20">
            <a:extLst>
              <a:ext uri="{FF2B5EF4-FFF2-40B4-BE49-F238E27FC236}">
                <a16:creationId xmlns:a16="http://schemas.microsoft.com/office/drawing/2014/main" id="{422E3636-2099-A84D-B8EF-8A88E0A95379}"/>
              </a:ext>
            </a:extLst>
          </p:cNvPr>
          <p:cNvPicPr>
            <a:picLocks noChangeAspect="1"/>
          </p:cNvPicPr>
          <p:nvPr userDrawn="1"/>
        </p:nvPicPr>
        <p:blipFill>
          <a:blip r:embed="rId4"/>
          <a:stretch>
            <a:fillRect/>
          </a:stretch>
        </p:blipFill>
        <p:spPr>
          <a:xfrm>
            <a:off x="12918236" y="416228"/>
            <a:ext cx="2108200" cy="381000"/>
          </a:xfrm>
          <a:prstGeom prst="rect">
            <a:avLst/>
          </a:prstGeom>
        </p:spPr>
      </p:pic>
      <p:cxnSp>
        <p:nvCxnSpPr>
          <p:cNvPr id="22" name="Straight Connector 21">
            <a:extLst>
              <a:ext uri="{FF2B5EF4-FFF2-40B4-BE49-F238E27FC236}">
                <a16:creationId xmlns:a16="http://schemas.microsoft.com/office/drawing/2014/main" id="{F7E24EF2-0D23-064B-827D-CAAA259D7E73}"/>
              </a:ext>
            </a:extLst>
          </p:cNvPr>
          <p:cNvCxnSpPr/>
          <p:nvPr userDrawn="1"/>
        </p:nvCxnSpPr>
        <p:spPr>
          <a:xfrm>
            <a:off x="15191429"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D1B4BF9C-490C-D74B-A36E-995F9EBE586F}"/>
              </a:ext>
            </a:extLst>
          </p:cNvPr>
          <p:cNvPicPr>
            <a:picLocks noChangeAspect="1"/>
          </p:cNvPicPr>
          <p:nvPr userDrawn="1"/>
        </p:nvPicPr>
        <p:blipFill>
          <a:blip r:embed="rId5"/>
          <a:stretch>
            <a:fillRect/>
          </a:stretch>
        </p:blipFill>
        <p:spPr>
          <a:xfrm>
            <a:off x="15330749" y="474639"/>
            <a:ext cx="2259329" cy="332391"/>
          </a:xfrm>
          <a:prstGeom prst="rect">
            <a:avLst/>
          </a:prstGeom>
        </p:spPr>
      </p:pic>
    </p:spTree>
    <p:extLst>
      <p:ext uri="{BB962C8B-B14F-4D97-AF65-F5344CB8AC3E}">
        <p14:creationId xmlns:p14="http://schemas.microsoft.com/office/powerpoint/2010/main" val="399296977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pener Slide Option 3_Full Blee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screen">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775791"/>
            <a:ext cx="5317622"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p:nvPr>
        </p:nvSpPr>
        <p:spPr>
          <a:xfrm>
            <a:off x="534536" y="2189075"/>
            <a:ext cx="4506366"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dirty="0"/>
              <a:t>Click to edit Master title styl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016033"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449891" cy="579469"/>
          </a:xfrm>
          <a:prstGeom prst="rect">
            <a:avLst/>
          </a:prstGeom>
        </p:spPr>
        <p:txBody>
          <a:bodyPr>
            <a:noAutofit/>
          </a:bodyPr>
          <a:lstStyle>
            <a:lvl1pPr marL="0" indent="0" algn="l">
              <a:buNone/>
              <a:defRPr sz="1200" b="0" i="0">
                <a:solidFill>
                  <a:srgbClr val="787875"/>
                </a:solidFill>
                <a:latin typeface="Gibson Light"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Name </a:t>
            </a:r>
            <a:r>
              <a:rPr lang="de-DE" noProof="0" dirty="0" err="1"/>
              <a:t>Surname</a:t>
            </a:r>
            <a:r>
              <a:rPr lang="de-DE" noProof="0" dirty="0"/>
              <a:t>  I  00.00.2018  I  Location </a:t>
            </a:r>
          </a:p>
        </p:txBody>
      </p:sp>
      <p:sp>
        <p:nvSpPr>
          <p:cNvPr id="14" name="Text Placeholder 4">
            <a:extLst>
              <a:ext uri="{FF2B5EF4-FFF2-40B4-BE49-F238E27FC236}">
                <a16:creationId xmlns:a16="http://schemas.microsoft.com/office/drawing/2014/main" id="{4E2C0494-05EB-9E40-B272-C4CB4781CE9B}"/>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pic>
        <p:nvPicPr>
          <p:cNvPr id="3" name="Picture 2">
            <a:extLst>
              <a:ext uri="{FF2B5EF4-FFF2-40B4-BE49-F238E27FC236}">
                <a16:creationId xmlns:a16="http://schemas.microsoft.com/office/drawing/2014/main" id="{AEADAC17-718C-0C45-AF32-FFD3C2842BCE}"/>
              </a:ext>
            </a:extLst>
          </p:cNvPr>
          <p:cNvPicPr>
            <a:picLocks noChangeAspect="1"/>
          </p:cNvPicPr>
          <p:nvPr userDrawn="1"/>
        </p:nvPicPr>
        <p:blipFill>
          <a:blip r:embed="rId5"/>
          <a:stretch>
            <a:fillRect/>
          </a:stretch>
        </p:blipFill>
        <p:spPr>
          <a:xfrm>
            <a:off x="12826490" y="416228"/>
            <a:ext cx="2108200" cy="381000"/>
          </a:xfrm>
          <a:prstGeom prst="rect">
            <a:avLst/>
          </a:prstGeom>
        </p:spPr>
      </p:pic>
      <p:pic>
        <p:nvPicPr>
          <p:cNvPr id="10" name="Picture 9">
            <a:extLst>
              <a:ext uri="{FF2B5EF4-FFF2-40B4-BE49-F238E27FC236}">
                <a16:creationId xmlns:a16="http://schemas.microsoft.com/office/drawing/2014/main" id="{4B87210F-A577-1645-AD5A-66AB4D60666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15" name="Straight Connector 14">
            <a:extLst>
              <a:ext uri="{FF2B5EF4-FFF2-40B4-BE49-F238E27FC236}">
                <a16:creationId xmlns:a16="http://schemas.microsoft.com/office/drawing/2014/main" id="{0F9F9520-306A-BD4A-BF12-C8B7C4EB762F}"/>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9E8BCEF-93E2-1346-81A6-E2514D46A84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cxnSp>
        <p:nvCxnSpPr>
          <p:cNvPr id="19" name="Straight Connector 18">
            <a:extLst>
              <a:ext uri="{FF2B5EF4-FFF2-40B4-BE49-F238E27FC236}">
                <a16:creationId xmlns:a16="http://schemas.microsoft.com/office/drawing/2014/main" id="{DA78098B-D4F4-0E47-991B-3E904FE9BB54}"/>
              </a:ext>
            </a:extLst>
          </p:cNvPr>
          <p:cNvCxnSpPr/>
          <p:nvPr userDrawn="1"/>
        </p:nvCxnSpPr>
        <p:spPr>
          <a:xfrm>
            <a:off x="15099683"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A2F725A6-0158-5A46-8BA1-C26C7C1AFDEA}"/>
              </a:ext>
            </a:extLst>
          </p:cNvPr>
          <p:cNvPicPr>
            <a:picLocks noChangeAspect="1"/>
          </p:cNvPicPr>
          <p:nvPr userDrawn="1"/>
        </p:nvPicPr>
        <p:blipFill>
          <a:blip r:embed="rId8"/>
          <a:stretch>
            <a:fillRect/>
          </a:stretch>
        </p:blipFill>
        <p:spPr>
          <a:xfrm>
            <a:off x="15239003" y="474639"/>
            <a:ext cx="2259329" cy="332391"/>
          </a:xfrm>
          <a:prstGeom prst="rect">
            <a:avLst/>
          </a:prstGeom>
        </p:spPr>
      </p:pic>
    </p:spTree>
    <p:extLst>
      <p:ext uri="{BB962C8B-B14F-4D97-AF65-F5344CB8AC3E}">
        <p14:creationId xmlns:p14="http://schemas.microsoft.com/office/powerpoint/2010/main" val="18340624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Opener Slide Option 3_ta Full Bleed Image Long Header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screen">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025236"/>
            <a:ext cx="6102944" cy="5832764"/>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hasCustomPrompt="1"/>
          </p:nvPr>
        </p:nvSpPr>
        <p:spPr>
          <a:xfrm>
            <a:off x="534536" y="2189075"/>
            <a:ext cx="5169578"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dirty="0"/>
              <a:t>Click to edit Master title style: For really long topics her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506366"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950634" cy="579469"/>
          </a:xfrm>
          <a:prstGeom prst="rect">
            <a:avLst/>
          </a:prstGeom>
        </p:spPr>
        <p:txBody>
          <a:bodyPr>
            <a:noAutofit/>
          </a:bodyPr>
          <a:lstStyle>
            <a:lvl1pPr marL="0" indent="0" algn="l">
              <a:buNone/>
              <a:defRPr sz="1200" b="0" i="0">
                <a:solidFill>
                  <a:srgbClr val="787875"/>
                </a:solidFill>
                <a:latin typeface="Gibson Light"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Name </a:t>
            </a:r>
            <a:r>
              <a:rPr lang="de-DE" noProof="0" dirty="0" err="1"/>
              <a:t>Surname</a:t>
            </a:r>
            <a:r>
              <a:rPr lang="de-DE" noProof="0" dirty="0"/>
              <a:t>  I  00.00.2018  I  Location </a:t>
            </a:r>
          </a:p>
        </p:txBody>
      </p:sp>
      <p:pic>
        <p:nvPicPr>
          <p:cNvPr id="9" name="Picture 8">
            <a:extLst>
              <a:ext uri="{FF2B5EF4-FFF2-40B4-BE49-F238E27FC236}">
                <a16:creationId xmlns:a16="http://schemas.microsoft.com/office/drawing/2014/main" id="{C15396C1-39B7-4945-9832-171EC021020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a:fillRect/>
          </a:stretch>
        </p:blipFill>
        <p:spPr>
          <a:xfrm>
            <a:off x="12473116" y="402676"/>
            <a:ext cx="2127533" cy="386161"/>
          </a:xfrm>
          <a:prstGeom prst="rect">
            <a:avLst/>
          </a:prstGeom>
        </p:spPr>
      </p:pic>
      <p:cxnSp>
        <p:nvCxnSpPr>
          <p:cNvPr id="14" name="Straight Connector 13">
            <a:extLst>
              <a:ext uri="{FF2B5EF4-FFF2-40B4-BE49-F238E27FC236}">
                <a16:creationId xmlns:a16="http://schemas.microsoft.com/office/drawing/2014/main" id="{362F7CF5-2647-1341-BFFE-D9BBC558BFDC}"/>
              </a:ext>
            </a:extLst>
          </p:cNvPr>
          <p:cNvCxnSpPr/>
          <p:nvPr userDrawn="1"/>
        </p:nvCxnSpPr>
        <p:spPr>
          <a:xfrm>
            <a:off x="14746309" y="470390"/>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4E7ED84-E507-524E-BC46-892CE6BF3D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885629" y="464262"/>
            <a:ext cx="2259329" cy="331838"/>
          </a:xfrm>
          <a:prstGeom prst="rect">
            <a:avLst/>
          </a:prstGeom>
        </p:spPr>
      </p:pic>
      <p:pic>
        <p:nvPicPr>
          <p:cNvPr id="16" name="Picture 15">
            <a:extLst>
              <a:ext uri="{FF2B5EF4-FFF2-40B4-BE49-F238E27FC236}">
                <a16:creationId xmlns:a16="http://schemas.microsoft.com/office/drawing/2014/main" id="{6CD552CC-9303-6D41-9CEC-37F336D485F2}"/>
              </a:ext>
            </a:extLst>
          </p:cNvPr>
          <p:cNvPicPr>
            <a:picLocks noChangeAspect="1"/>
          </p:cNvPicPr>
          <p:nvPr userDrawn="1"/>
        </p:nvPicPr>
        <p:blipFill>
          <a:blip r:embed="rId7"/>
          <a:stretch>
            <a:fillRect/>
          </a:stretch>
        </p:blipFill>
        <p:spPr>
          <a:xfrm>
            <a:off x="6918983" y="416228"/>
            <a:ext cx="2108200" cy="381000"/>
          </a:xfrm>
          <a:prstGeom prst="rect">
            <a:avLst/>
          </a:prstGeom>
        </p:spPr>
      </p:pic>
      <p:cxnSp>
        <p:nvCxnSpPr>
          <p:cNvPr id="18" name="Straight Connector 17">
            <a:extLst>
              <a:ext uri="{FF2B5EF4-FFF2-40B4-BE49-F238E27FC236}">
                <a16:creationId xmlns:a16="http://schemas.microsoft.com/office/drawing/2014/main" id="{5A1954BC-BCBE-D442-8150-C3252995B726}"/>
              </a:ext>
            </a:extLst>
          </p:cNvPr>
          <p:cNvCxnSpPr/>
          <p:nvPr userDrawn="1"/>
        </p:nvCxnSpPr>
        <p:spPr>
          <a:xfrm>
            <a:off x="9192176"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CFF8E79-29C0-394C-A05A-053472860F2C}"/>
              </a:ext>
            </a:extLst>
          </p:cNvPr>
          <p:cNvPicPr>
            <a:picLocks noChangeAspect="1"/>
          </p:cNvPicPr>
          <p:nvPr userDrawn="1"/>
        </p:nvPicPr>
        <p:blipFill>
          <a:blip r:embed="rId8"/>
          <a:stretch>
            <a:fillRect/>
          </a:stretch>
        </p:blipFill>
        <p:spPr>
          <a:xfrm>
            <a:off x="9331496" y="474639"/>
            <a:ext cx="2259329" cy="332391"/>
          </a:xfrm>
          <a:prstGeom prst="rect">
            <a:avLst/>
          </a:prstGeom>
        </p:spPr>
      </p:pic>
    </p:spTree>
    <p:extLst>
      <p:ext uri="{BB962C8B-B14F-4D97-AF65-F5344CB8AC3E}">
        <p14:creationId xmlns:p14="http://schemas.microsoft.com/office/powerpoint/2010/main" val="20278535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Opener Slide Option 3_MORE LOGOS Full Blee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3" cstate="screen">
            <a:alphaModFix amt="0"/>
            <a:extLst>
              <a:ext uri="{BEBA8EAE-BF5A-486C-A8C5-ECC9F3942E4B}">
                <a14:imgProps xmlns:a14="http://schemas.microsoft.com/office/drawing/2010/main">
                  <a14:imgLayer r:embed="rId4">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flipH="1">
            <a:off x="6865648" y="1775791"/>
            <a:ext cx="5326351"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355318" y="6142362"/>
            <a:ext cx="3318744" cy="579469"/>
          </a:xfrm>
          <a:prstGeom prst="rect">
            <a:avLst/>
          </a:prstGeom>
        </p:spPr>
        <p:txBody>
          <a:bodyPr>
            <a:noAutofit/>
          </a:bodyPr>
          <a:lstStyle>
            <a:lvl1pPr marL="0" indent="0" algn="r">
              <a:buNone/>
              <a:defRPr sz="1200" b="0" i="0">
                <a:solidFill>
                  <a:srgbClr val="787875"/>
                </a:solidFill>
                <a:latin typeface="Gibson Light"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Name </a:t>
            </a:r>
            <a:r>
              <a:rPr lang="de-DE" noProof="0" dirty="0" err="1"/>
              <a:t>Surname</a:t>
            </a:r>
            <a:r>
              <a:rPr lang="de-DE" noProof="0" dirty="0"/>
              <a:t>  I  00.00.2018  I  Location </a:t>
            </a:r>
          </a:p>
        </p:txBody>
      </p:sp>
      <p:cxnSp>
        <p:nvCxnSpPr>
          <p:cNvPr id="21" name="Straight Connector 20">
            <a:extLst>
              <a:ext uri="{FF2B5EF4-FFF2-40B4-BE49-F238E27FC236}">
                <a16:creationId xmlns:a16="http://schemas.microsoft.com/office/drawing/2014/main" id="{8464986D-46E9-F345-86A1-64EAD1F6B93F}"/>
              </a:ext>
            </a:extLst>
          </p:cNvPr>
          <p:cNvCxnSpPr/>
          <p:nvPr userDrawn="1"/>
        </p:nvCxnSpPr>
        <p:spPr>
          <a:xfrm>
            <a:off x="8355318"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25" name="Title 1">
            <a:extLst>
              <a:ext uri="{FF2B5EF4-FFF2-40B4-BE49-F238E27FC236}">
                <a16:creationId xmlns:a16="http://schemas.microsoft.com/office/drawing/2014/main" id="{25E0E32A-F106-F048-88D4-0509F5B5F353}"/>
              </a:ext>
            </a:extLst>
          </p:cNvPr>
          <p:cNvSpPr>
            <a:spLocks noGrp="1"/>
          </p:cNvSpPr>
          <p:nvPr>
            <p:ph type="title"/>
          </p:nvPr>
        </p:nvSpPr>
        <p:spPr>
          <a:xfrm>
            <a:off x="7077354" y="2189075"/>
            <a:ext cx="4506366" cy="2852737"/>
          </a:xfrm>
          <a:prstGeom prst="rect">
            <a:avLst/>
          </a:prstGeom>
        </p:spPr>
        <p:txBody>
          <a:bodyPr anchor="b">
            <a:normAutofit/>
          </a:bodyPr>
          <a:lstStyle>
            <a:lvl1pPr algn="r">
              <a:defRPr sz="5000" b="0" i="0">
                <a:solidFill>
                  <a:srgbClr val="005EB8"/>
                </a:solidFill>
                <a:latin typeface="Gibson Light" panose="02000000000000000000" pitchFamily="2" charset="77"/>
                <a:ea typeface="Malgun Gothic Semilight" panose="020B0503020000020004" pitchFamily="34" charset="-127"/>
              </a:defRPr>
            </a:lvl1pPr>
          </a:lstStyle>
          <a:p>
            <a:r>
              <a:rPr lang="en-US" dirty="0"/>
              <a:t>Click to edit Master title style</a:t>
            </a:r>
          </a:p>
        </p:txBody>
      </p:sp>
      <p:sp>
        <p:nvSpPr>
          <p:cNvPr id="26" name="Text Placeholder 2">
            <a:extLst>
              <a:ext uri="{FF2B5EF4-FFF2-40B4-BE49-F238E27FC236}">
                <a16:creationId xmlns:a16="http://schemas.microsoft.com/office/drawing/2014/main" id="{8CA0C161-A898-0E42-A93F-E360D37B156B}"/>
              </a:ext>
            </a:extLst>
          </p:cNvPr>
          <p:cNvSpPr>
            <a:spLocks noGrp="1"/>
          </p:cNvSpPr>
          <p:nvPr>
            <p:ph type="body" idx="1"/>
          </p:nvPr>
        </p:nvSpPr>
        <p:spPr>
          <a:xfrm>
            <a:off x="7594556" y="5074217"/>
            <a:ext cx="4016033" cy="761468"/>
          </a:xfrm>
          <a:prstGeom prst="rect">
            <a:avLst/>
          </a:prstGeom>
        </p:spPr>
        <p:txBody>
          <a:bodyPr>
            <a:normAutofit/>
          </a:bodyPr>
          <a:lstStyle>
            <a:lvl1pPr marL="0" indent="0" algn="r">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3r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pic>
        <p:nvPicPr>
          <p:cNvPr id="12" name="Picture 11">
            <a:extLst>
              <a:ext uri="{FF2B5EF4-FFF2-40B4-BE49-F238E27FC236}">
                <a16:creationId xmlns:a16="http://schemas.microsoft.com/office/drawing/2014/main" id="{7616F428-CA46-934E-A971-34863F99A53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a:fillRect/>
          </a:stretch>
        </p:blipFill>
        <p:spPr>
          <a:xfrm>
            <a:off x="12597294" y="403804"/>
            <a:ext cx="2127533" cy="386161"/>
          </a:xfrm>
          <a:prstGeom prst="rect">
            <a:avLst/>
          </a:prstGeom>
        </p:spPr>
      </p:pic>
      <p:cxnSp>
        <p:nvCxnSpPr>
          <p:cNvPr id="15" name="Straight Connector 14">
            <a:extLst>
              <a:ext uri="{FF2B5EF4-FFF2-40B4-BE49-F238E27FC236}">
                <a16:creationId xmlns:a16="http://schemas.microsoft.com/office/drawing/2014/main" id="{F1CC6C93-5E38-F94F-9D2C-4952C37CBDAF}"/>
              </a:ext>
            </a:extLst>
          </p:cNvPr>
          <p:cNvCxnSpPr/>
          <p:nvPr userDrawn="1"/>
        </p:nvCxnSpPr>
        <p:spPr>
          <a:xfrm>
            <a:off x="14870487" y="471518"/>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9A52EEDB-FE94-E442-B620-E8381785678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009807" y="465390"/>
            <a:ext cx="2259329" cy="331838"/>
          </a:xfrm>
          <a:prstGeom prst="rect">
            <a:avLst/>
          </a:prstGeom>
        </p:spPr>
      </p:pic>
      <p:pic>
        <p:nvPicPr>
          <p:cNvPr id="18" name="Picture 17">
            <a:extLst>
              <a:ext uri="{FF2B5EF4-FFF2-40B4-BE49-F238E27FC236}">
                <a16:creationId xmlns:a16="http://schemas.microsoft.com/office/drawing/2014/main" id="{A7D9F461-E18B-454C-88E2-AC7DEE0694A3}"/>
              </a:ext>
            </a:extLst>
          </p:cNvPr>
          <p:cNvPicPr>
            <a:picLocks noChangeAspect="1"/>
          </p:cNvPicPr>
          <p:nvPr userDrawn="1"/>
        </p:nvPicPr>
        <p:blipFill>
          <a:blip r:embed="rId7"/>
          <a:stretch>
            <a:fillRect/>
          </a:stretch>
        </p:blipFill>
        <p:spPr>
          <a:xfrm>
            <a:off x="6918983" y="416228"/>
            <a:ext cx="2108200" cy="381000"/>
          </a:xfrm>
          <a:prstGeom prst="rect">
            <a:avLst/>
          </a:prstGeom>
        </p:spPr>
      </p:pic>
      <p:cxnSp>
        <p:nvCxnSpPr>
          <p:cNvPr id="19" name="Straight Connector 18">
            <a:extLst>
              <a:ext uri="{FF2B5EF4-FFF2-40B4-BE49-F238E27FC236}">
                <a16:creationId xmlns:a16="http://schemas.microsoft.com/office/drawing/2014/main" id="{FCD073AA-4AEC-274C-AEC3-6A3FB7104027}"/>
              </a:ext>
            </a:extLst>
          </p:cNvPr>
          <p:cNvCxnSpPr/>
          <p:nvPr userDrawn="1"/>
        </p:nvCxnSpPr>
        <p:spPr>
          <a:xfrm>
            <a:off x="9192176"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FFFA83AB-15A9-084E-A6FC-0AD57C2D6B2B}"/>
              </a:ext>
            </a:extLst>
          </p:cNvPr>
          <p:cNvPicPr>
            <a:picLocks noChangeAspect="1"/>
          </p:cNvPicPr>
          <p:nvPr userDrawn="1"/>
        </p:nvPicPr>
        <p:blipFill>
          <a:blip r:embed="rId8"/>
          <a:stretch>
            <a:fillRect/>
          </a:stretch>
        </p:blipFill>
        <p:spPr>
          <a:xfrm>
            <a:off x="9331496" y="474639"/>
            <a:ext cx="2259329" cy="332391"/>
          </a:xfrm>
          <a:prstGeom prst="rect">
            <a:avLst/>
          </a:prstGeom>
        </p:spPr>
      </p:pic>
    </p:spTree>
    <p:extLst>
      <p:ext uri="{BB962C8B-B14F-4D97-AF65-F5344CB8AC3E}">
        <p14:creationId xmlns:p14="http://schemas.microsoft.com/office/powerpoint/2010/main" val="294892623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dirty="0"/>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Tree>
    <p:extLst>
      <p:ext uri="{BB962C8B-B14F-4D97-AF65-F5344CB8AC3E}">
        <p14:creationId xmlns:p14="http://schemas.microsoft.com/office/powerpoint/2010/main" val="17310940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solidFill>
                  <a:schemeClr val="bg1"/>
                </a:solidFill>
                <a:latin typeface="Calibri Light" panose="020F0302020204030204" pitchFamily="34" charset="0"/>
              </a:defRPr>
            </a:lvl1pPr>
          </a:lstStyle>
          <a:p>
            <a:r>
              <a:rPr lang="en-GB"/>
              <a:t>Click to edit Master title style</a:t>
            </a:r>
            <a:endParaRPr lang="en-US"/>
          </a:p>
        </p:txBody>
      </p:sp>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08DDA232-D2BF-4C20-95E7-C3EDF7F007B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23712369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HEADER: Title and Dark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solidFill>
            <a:srgbClr val="E5E5E5"/>
          </a:solidFill>
        </p:spPr>
      </p:sp>
      <p:sp>
        <p:nvSpPr>
          <p:cNvPr id="16" name="Title 1"/>
          <p:cNvSpPr>
            <a:spLocks noGrp="1"/>
          </p:cNvSpPr>
          <p:nvPr>
            <p:ph type="title" hasCustomPrompt="1"/>
          </p:nvPr>
        </p:nvSpPr>
        <p:spPr>
          <a:xfrm>
            <a:off x="600600" y="4571999"/>
            <a:ext cx="10990800" cy="1446693"/>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chemeClr val="bg1"/>
                </a:solidFill>
                <a:latin typeface="Gibson Light" charset="0"/>
                <a:ea typeface="Gibson Light" charset="0"/>
                <a:cs typeface="Gibson Light" charset="0"/>
              </a:defRPr>
            </a:lvl1pPr>
          </a:lstStyle>
          <a:p>
            <a:r>
              <a:rPr lang="de-DE" noProof="0" dirty="0" err="1"/>
              <a:t>Section</a:t>
            </a:r>
            <a:r>
              <a:rPr lang="de-DE" noProof="0" dirty="0"/>
              <a:t> Header/Dark </a:t>
            </a:r>
            <a:r>
              <a:rPr lang="de-DE" noProof="0" dirty="0" err="1"/>
              <a:t>Imagery</a:t>
            </a:r>
            <a:r>
              <a:rPr lang="de-DE" noProof="0" dirty="0"/>
              <a:t> </a:t>
            </a:r>
            <a:r>
              <a:rPr lang="de-DE" noProof="0" dirty="0" err="1"/>
              <a:t>description</a:t>
            </a:r>
            <a:endParaRPr lang="en-GB" noProof="0" dirty="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chemeClr val="bg1"/>
                </a:solidFill>
                <a:latin typeface="Gibson" panose="02000000000000000000" pitchFamily="2" charset="77"/>
              </a:defRPr>
            </a:lvl1pPr>
          </a:lstStyle>
          <a:p>
            <a:r>
              <a:rPr lang="en-US" dirty="0"/>
              <a:t>Footer  I  Credits  I  Links</a:t>
            </a:r>
          </a:p>
        </p:txBody>
      </p:sp>
    </p:spTree>
    <p:extLst>
      <p:ext uri="{BB962C8B-B14F-4D97-AF65-F5344CB8AC3E}">
        <p14:creationId xmlns:p14="http://schemas.microsoft.com/office/powerpoint/2010/main" val="2381333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HEADER: Title and Light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noFill/>
        </p:spPr>
      </p:sp>
      <p:sp>
        <p:nvSpPr>
          <p:cNvPr id="16" name="Title 1"/>
          <p:cNvSpPr>
            <a:spLocks noGrp="1"/>
          </p:cNvSpPr>
          <p:nvPr>
            <p:ph type="title" hasCustomPrompt="1"/>
          </p:nvPr>
        </p:nvSpPr>
        <p:spPr>
          <a:xfrm>
            <a:off x="600600" y="4255127"/>
            <a:ext cx="10990800" cy="1763565"/>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rgbClr val="005EB8"/>
                </a:solidFill>
                <a:latin typeface="Gibson Light" charset="0"/>
                <a:ea typeface="Gibson Light" charset="0"/>
                <a:cs typeface="Gibson Light" charset="0"/>
              </a:defRPr>
            </a:lvl1pPr>
          </a:lstStyle>
          <a:p>
            <a:r>
              <a:rPr lang="de-DE" noProof="0" dirty="0" err="1"/>
              <a:t>Section</a:t>
            </a:r>
            <a:r>
              <a:rPr lang="de-DE" noProof="0" dirty="0"/>
              <a:t> Header/Light </a:t>
            </a:r>
            <a:r>
              <a:rPr lang="de-DE" noProof="0" dirty="0" err="1"/>
              <a:t>Imagery</a:t>
            </a:r>
            <a:r>
              <a:rPr lang="de-DE" noProof="0" dirty="0"/>
              <a:t> </a:t>
            </a:r>
            <a:r>
              <a:rPr lang="de-DE" noProof="0" dirty="0" err="1"/>
              <a:t>description</a:t>
            </a:r>
            <a:endParaRPr lang="en-GB" noProof="0" dirty="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Tree>
    <p:extLst>
      <p:ext uri="{BB962C8B-B14F-4D97-AF65-F5344CB8AC3E}">
        <p14:creationId xmlns:p14="http://schemas.microsoft.com/office/powerpoint/2010/main" val="8872752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roposal page:Title, Subhead and Content">
    <p:bg>
      <p:bgPr>
        <a:solidFill>
          <a:srgbClr val="005EB8"/>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chemeClr val="bg1"/>
                </a:solidFill>
                <a:latin typeface="Gibson Light" panose="02000000000000000000" pitchFamily="2" charset="77"/>
              </a:defRPr>
            </a:lvl1pPr>
          </a:lstStyle>
          <a:p>
            <a:r>
              <a:rPr lang="en-US"/>
              <a:t>Footer  I  Credits  I  Links</a:t>
            </a:r>
            <a:endParaRPr lang="en-US" dirty="0"/>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chemeClr val="bg1"/>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chemeClr val="bg1"/>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chemeClr val="bg1"/>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chemeClr val="bg1"/>
                </a:solidFill>
                <a:latin typeface="Gibson Light" panose="02000000000000000000" pitchFamily="2" charset="77"/>
              </a:defRPr>
            </a:lvl3pPr>
            <a:lvl4pPr marL="1600200" indent="-228600">
              <a:lnSpc>
                <a:spcPct val="100000"/>
              </a:lnSpc>
              <a:buSzPct val="70000"/>
              <a:buFont typeface="Symbol" pitchFamily="2" charset="2"/>
              <a:buChar char="-"/>
              <a:defRPr b="0" i="0">
                <a:solidFill>
                  <a:schemeClr val="bg1"/>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chemeClr val="bg1"/>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chemeClr val="bg1"/>
                </a:solidFill>
                <a:latin typeface="Gibson" charset="0"/>
                <a:ea typeface="Gibson" charset="0"/>
                <a:cs typeface="Gibson" charset="0"/>
              </a:rPr>
              <a:pPr/>
              <a:t>‹#›</a:t>
            </a:fld>
            <a:endParaRPr lang="en-US" sz="1000" dirty="0">
              <a:solidFill>
                <a:schemeClr val="bg1"/>
              </a:solidFill>
              <a:latin typeface="Gibson" charset="0"/>
              <a:ea typeface="Gibson" charset="0"/>
              <a:cs typeface="Gibson" charset="0"/>
            </a:endParaRPr>
          </a:p>
        </p:txBody>
      </p:sp>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chemeClr val="bg1"/>
                </a:solidFill>
                <a:latin typeface="Gibson" panose="02000000000000000000" pitchFamily="2" charset="77"/>
              </a:defRPr>
            </a:lvl1pPr>
          </a:lstStyle>
          <a:p>
            <a:r>
              <a:rPr lang="de-DE" dirty="0" err="1"/>
              <a:t>Strap</a:t>
            </a:r>
            <a:endParaRPr lang="de-DE" dirty="0"/>
          </a:p>
        </p:txBody>
      </p:sp>
      <p:pic>
        <p:nvPicPr>
          <p:cNvPr id="10" name="Picture 9">
            <a:extLst>
              <a:ext uri="{FF2B5EF4-FFF2-40B4-BE49-F238E27FC236}">
                <a16:creationId xmlns:a16="http://schemas.microsoft.com/office/drawing/2014/main" id="{BFC98645-AB5D-7748-AAE4-ACD529926CAC}"/>
              </a:ext>
            </a:extLst>
          </p:cNvPr>
          <p:cNvPicPr>
            <a:picLocks noChangeAspect="1"/>
          </p:cNvPicPr>
          <p:nvPr userDrawn="1"/>
        </p:nvPicPr>
        <p:blipFill>
          <a:blip r:embed="rId2"/>
          <a:stretch>
            <a:fillRect/>
          </a:stretch>
        </p:blipFill>
        <p:spPr>
          <a:xfrm>
            <a:off x="10475028" y="6197600"/>
            <a:ext cx="729587" cy="133446"/>
          </a:xfrm>
          <a:prstGeom prst="rect">
            <a:avLst/>
          </a:prstGeom>
        </p:spPr>
      </p:pic>
      <p:pic>
        <p:nvPicPr>
          <p:cNvPr id="12" name="Picture 11">
            <a:extLst>
              <a:ext uri="{FF2B5EF4-FFF2-40B4-BE49-F238E27FC236}">
                <a16:creationId xmlns:a16="http://schemas.microsoft.com/office/drawing/2014/main" id="{9158F6BD-E563-9140-8461-D8114E6C4B92}"/>
              </a:ext>
            </a:extLst>
          </p:cNvPr>
          <p:cNvPicPr>
            <a:picLocks noChangeAspect="1"/>
          </p:cNvPicPr>
          <p:nvPr userDrawn="1"/>
        </p:nvPicPr>
        <p:blipFill>
          <a:blip r:embed="rId3"/>
          <a:stretch>
            <a:fillRect/>
          </a:stretch>
        </p:blipFill>
        <p:spPr>
          <a:xfrm>
            <a:off x="9567167" y="6224951"/>
            <a:ext cx="672040" cy="98870"/>
          </a:xfrm>
          <a:prstGeom prst="rect">
            <a:avLst/>
          </a:prstGeom>
        </p:spPr>
      </p:pic>
      <p:cxnSp>
        <p:nvCxnSpPr>
          <p:cNvPr id="15" name="Straight Connector 14">
            <a:extLst>
              <a:ext uri="{FF2B5EF4-FFF2-40B4-BE49-F238E27FC236}">
                <a16:creationId xmlns:a16="http://schemas.microsoft.com/office/drawing/2014/main" id="{975AD741-B9E1-484D-856F-578443F9397A}"/>
              </a:ext>
            </a:extLst>
          </p:cNvPr>
          <p:cNvCxnSpPr/>
          <p:nvPr userDrawn="1"/>
        </p:nvCxnSpPr>
        <p:spPr>
          <a:xfrm>
            <a:off x="1035711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5353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Proposal page: Title and Content">
    <p:bg>
      <p:bgPr>
        <a:solidFill>
          <a:srgbClr val="005EB8"/>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3" y="1908061"/>
            <a:ext cx="10950419" cy="3935755"/>
          </a:xfrm>
          <a:prstGeom prst="rect">
            <a:avLst/>
          </a:prstGeom>
        </p:spPr>
        <p:txBody>
          <a:bodyPr/>
          <a:lstStyle>
            <a:lvl1pPr marL="228600" indent="-228600">
              <a:buSzPct val="70000"/>
              <a:buFont typeface="Symbol" pitchFamily="2" charset="2"/>
              <a:buChar char="-"/>
              <a:defRPr sz="2800" b="0" i="0">
                <a:solidFill>
                  <a:schemeClr val="bg1"/>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chemeClr val="bg1"/>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chemeClr val="bg1"/>
                </a:solidFill>
                <a:latin typeface="Gibson Light" panose="02000000000000000000" pitchFamily="2" charset="77"/>
              </a:defRPr>
            </a:lvl3pPr>
            <a:lvl4pPr marL="1600200" indent="-228600">
              <a:lnSpc>
                <a:spcPct val="100000"/>
              </a:lnSpc>
              <a:buSzPct val="70000"/>
              <a:buFont typeface="Symbol" pitchFamily="2" charset="2"/>
              <a:buChar char="-"/>
              <a:defRPr b="0" i="0">
                <a:solidFill>
                  <a:schemeClr val="bg1"/>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chemeClr val="bg1"/>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chemeClr val="bg1"/>
                </a:solidFill>
                <a:latin typeface="Gibson Light" panose="02000000000000000000" pitchFamily="2" charset="77"/>
              </a:defRPr>
            </a:lvl1pPr>
          </a:lstStyle>
          <a:p>
            <a:r>
              <a:rPr lang="en-US"/>
              <a:t>Footer  I  Credits  I  Links</a:t>
            </a:r>
            <a:endParaRPr lang="en-US" dirty="0"/>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chemeClr val="bg1"/>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chemeClr val="bg1"/>
                </a:solidFill>
                <a:latin typeface="Gibson" charset="0"/>
                <a:ea typeface="Gibson" charset="0"/>
                <a:cs typeface="Gibson" charset="0"/>
              </a:rPr>
              <a:pPr/>
              <a:t>‹#›</a:t>
            </a:fld>
            <a:endParaRPr lang="en-US" sz="1000" dirty="0">
              <a:solidFill>
                <a:schemeClr val="bg1"/>
              </a:solidFill>
              <a:latin typeface="Gibson" charset="0"/>
              <a:ea typeface="Gibson" charset="0"/>
              <a:cs typeface="Gibson" charset="0"/>
            </a:endParaRPr>
          </a:p>
        </p:txBody>
      </p:sp>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chemeClr val="bg1"/>
                </a:solidFill>
                <a:latin typeface="Gibson" panose="02000000000000000000" pitchFamily="2" charset="77"/>
              </a:defRPr>
            </a:lvl1pPr>
          </a:lstStyle>
          <a:p>
            <a:r>
              <a:rPr lang="de-DE" dirty="0" err="1"/>
              <a:t>Strap</a:t>
            </a:r>
            <a:endParaRPr lang="de-DE" dirty="0"/>
          </a:p>
        </p:txBody>
      </p:sp>
      <p:pic>
        <p:nvPicPr>
          <p:cNvPr id="12" name="Picture 11">
            <a:extLst>
              <a:ext uri="{FF2B5EF4-FFF2-40B4-BE49-F238E27FC236}">
                <a16:creationId xmlns:a16="http://schemas.microsoft.com/office/drawing/2014/main" id="{9DA8CCBF-3C71-D840-AE5A-6811FDE6325B}"/>
              </a:ext>
            </a:extLst>
          </p:cNvPr>
          <p:cNvPicPr>
            <a:picLocks noChangeAspect="1"/>
          </p:cNvPicPr>
          <p:nvPr userDrawn="1"/>
        </p:nvPicPr>
        <p:blipFill>
          <a:blip r:embed="rId2"/>
          <a:stretch>
            <a:fillRect/>
          </a:stretch>
        </p:blipFill>
        <p:spPr>
          <a:xfrm>
            <a:off x="10475028" y="6197600"/>
            <a:ext cx="729587" cy="133446"/>
          </a:xfrm>
          <a:prstGeom prst="rect">
            <a:avLst/>
          </a:prstGeom>
        </p:spPr>
      </p:pic>
      <p:pic>
        <p:nvPicPr>
          <p:cNvPr id="10" name="Picture 9">
            <a:extLst>
              <a:ext uri="{FF2B5EF4-FFF2-40B4-BE49-F238E27FC236}">
                <a16:creationId xmlns:a16="http://schemas.microsoft.com/office/drawing/2014/main" id="{2A5CCB35-74E2-ED42-B094-45F105750C2E}"/>
              </a:ext>
            </a:extLst>
          </p:cNvPr>
          <p:cNvPicPr>
            <a:picLocks noChangeAspect="1"/>
          </p:cNvPicPr>
          <p:nvPr userDrawn="1"/>
        </p:nvPicPr>
        <p:blipFill>
          <a:blip r:embed="rId3"/>
          <a:stretch>
            <a:fillRect/>
          </a:stretch>
        </p:blipFill>
        <p:spPr>
          <a:xfrm>
            <a:off x="9567167" y="6224951"/>
            <a:ext cx="672040" cy="98870"/>
          </a:xfrm>
          <a:prstGeom prst="rect">
            <a:avLst/>
          </a:prstGeom>
        </p:spPr>
      </p:pic>
      <p:cxnSp>
        <p:nvCxnSpPr>
          <p:cNvPr id="13" name="Straight Connector 12">
            <a:extLst>
              <a:ext uri="{FF2B5EF4-FFF2-40B4-BE49-F238E27FC236}">
                <a16:creationId xmlns:a16="http://schemas.microsoft.com/office/drawing/2014/main" id="{7FC72315-9EAC-0C4F-8892-1D5CD6670C41}"/>
              </a:ext>
            </a:extLst>
          </p:cNvPr>
          <p:cNvCxnSpPr/>
          <p:nvPr userDrawn="1"/>
        </p:nvCxnSpPr>
        <p:spPr>
          <a:xfrm>
            <a:off x="1035711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285892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Subhead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0" name="Picture 9">
            <a:extLst>
              <a:ext uri="{FF2B5EF4-FFF2-40B4-BE49-F238E27FC236}">
                <a16:creationId xmlns:a16="http://schemas.microsoft.com/office/drawing/2014/main" id="{DF6219FC-DC00-4F4F-BDE5-05FF976190E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2" name="Straight Connector 11">
            <a:extLst>
              <a:ext uri="{FF2B5EF4-FFF2-40B4-BE49-F238E27FC236}">
                <a16:creationId xmlns:a16="http://schemas.microsoft.com/office/drawing/2014/main" id="{90AE963A-BD2A-F843-AA17-9695B1514A96}"/>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2709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3" y="1908061"/>
            <a:ext cx="1095041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0" name="Picture 9">
            <a:extLst>
              <a:ext uri="{FF2B5EF4-FFF2-40B4-BE49-F238E27FC236}">
                <a16:creationId xmlns:a16="http://schemas.microsoft.com/office/drawing/2014/main" id="{34B987A3-5ABC-9A4C-B3FB-1DD5DA89AE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2" name="Straight Connector 11">
            <a:extLst>
              <a:ext uri="{FF2B5EF4-FFF2-40B4-BE49-F238E27FC236}">
                <a16:creationId xmlns:a16="http://schemas.microsoft.com/office/drawing/2014/main" id="{4CC3D6E3-0F27-D54F-B876-F204B2CF505D}"/>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32568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Sub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4" y="2154358"/>
            <a:ext cx="5396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p:nvPr>
        </p:nvSpPr>
        <p:spPr>
          <a:xfrm>
            <a:off x="6172200" y="2154358"/>
            <a:ext cx="5395912" cy="3687642"/>
          </a:xfrm>
          <a:prstGeom prst="rect">
            <a:avLst/>
          </a:prstGeom>
        </p:spPr>
        <p:txBody>
          <a:bodyPr/>
          <a:lstStyle>
            <a:lvl1pPr marL="228600" indent="-228600">
              <a:defRPr lang="en-US" sz="2800" b="0" i="0" kern="1200" dirty="0">
                <a:solidFill>
                  <a:srgbClr val="787875"/>
                </a:solidFill>
                <a:latin typeface="Gibson Light" panose="02000000000000000000" pitchFamily="2" charset="77"/>
                <a:ea typeface="+mn-ea"/>
                <a:cs typeface="+mn-cs"/>
              </a:defRPr>
            </a:lvl1pPr>
            <a:lvl2pPr marL="685800" indent="-228600">
              <a:defRPr lang="en-US" sz="2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dirty="0"/>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dirty="0"/>
              <a:t>Second level</a:t>
            </a:r>
          </a:p>
          <a:p>
            <a:pPr marL="1143000" lvl="2" indent="-228600" algn="l" defTabSz="914400" rtl="0" eaLnBrk="1" latinLnBrk="0" hangingPunct="1">
              <a:lnSpc>
                <a:spcPct val="100000"/>
              </a:lnSpc>
              <a:spcBef>
                <a:spcPts val="500"/>
              </a:spcBef>
              <a:buSzPct val="70000"/>
              <a:buFont typeface="Symbol" pitchFamily="2" charset="2"/>
              <a:buChar char="-"/>
            </a:pPr>
            <a:r>
              <a:rPr lang="en-US" dirty="0"/>
              <a:t>Third level</a:t>
            </a:r>
          </a:p>
          <a:p>
            <a:pPr marL="1600200" lvl="3" indent="-228600" algn="l" defTabSz="914400" rtl="0" eaLnBrk="1" latinLnBrk="0" hangingPunct="1">
              <a:lnSpc>
                <a:spcPct val="100000"/>
              </a:lnSpc>
              <a:spcBef>
                <a:spcPts val="500"/>
              </a:spcBef>
              <a:buSzPct val="70000"/>
              <a:buFont typeface="Symbol" pitchFamily="2" charset="2"/>
              <a:buChar char="-"/>
            </a:pPr>
            <a:r>
              <a:rPr lang="en-US" dirty="0"/>
              <a:t>Fourth level</a:t>
            </a:r>
          </a:p>
          <a:p>
            <a:pPr marL="2057400" lvl="4" indent="-228600" algn="l" defTabSz="914400" rtl="0" eaLnBrk="1" latinLnBrk="0" hangingPunct="1">
              <a:lnSpc>
                <a:spcPct val="100000"/>
              </a:lnSpc>
              <a:spcBef>
                <a:spcPts val="500"/>
              </a:spcBef>
              <a:buSzPct val="70000"/>
              <a:buFont typeface="Symbol" pitchFamily="2" charset="2"/>
              <a:buChar char="-"/>
            </a:pPr>
            <a:r>
              <a:rPr lang="en-US" dirty="0"/>
              <a:t>Fifth level</a:t>
            </a:r>
          </a:p>
        </p:txBody>
      </p:sp>
      <p:pic>
        <p:nvPicPr>
          <p:cNvPr id="12" name="Picture 11">
            <a:extLst>
              <a:ext uri="{FF2B5EF4-FFF2-40B4-BE49-F238E27FC236}">
                <a16:creationId xmlns:a16="http://schemas.microsoft.com/office/drawing/2014/main" id="{97F0B16B-6940-4D4E-87CC-957BA3AF71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6FA24ACB-9FEC-C040-AE86-2088F4C69E6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824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Content Placeholder 2">
            <a:extLst>
              <a:ext uri="{FF2B5EF4-FFF2-40B4-BE49-F238E27FC236}">
                <a16:creationId xmlns:a16="http://schemas.microsoft.com/office/drawing/2014/main" id="{4E45BF06-49B1-A844-8D28-F56D54BD99BB}"/>
              </a:ext>
            </a:extLst>
          </p:cNvPr>
          <p:cNvSpPr>
            <a:spLocks noGrp="1"/>
          </p:cNvSpPr>
          <p:nvPr>
            <p:ph idx="22" hasCustomPrompt="1"/>
          </p:nvPr>
        </p:nvSpPr>
        <p:spPr>
          <a:xfrm>
            <a:off x="617693"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13" name="Title 1">
            <a:extLst>
              <a:ext uri="{FF2B5EF4-FFF2-40B4-BE49-F238E27FC236}">
                <a16:creationId xmlns:a16="http://schemas.microsoft.com/office/drawing/2014/main" id="{2435B18A-4ED0-824B-99BE-DB030D8BF3F1}"/>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15" name="Content Placeholder 2">
            <a:extLst>
              <a:ext uri="{FF2B5EF4-FFF2-40B4-BE49-F238E27FC236}">
                <a16:creationId xmlns:a16="http://schemas.microsoft.com/office/drawing/2014/main" id="{7AB50851-71A5-7943-9150-54C8FEB44E19}"/>
              </a:ext>
            </a:extLst>
          </p:cNvPr>
          <p:cNvSpPr>
            <a:spLocks noGrp="1"/>
          </p:cNvSpPr>
          <p:nvPr>
            <p:ph idx="23" hasCustomPrompt="1"/>
          </p:nvPr>
        </p:nvSpPr>
        <p:spPr>
          <a:xfrm>
            <a:off x="6171470"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pic>
        <p:nvPicPr>
          <p:cNvPr id="10" name="Picture 9">
            <a:extLst>
              <a:ext uri="{FF2B5EF4-FFF2-40B4-BE49-F238E27FC236}">
                <a16:creationId xmlns:a16="http://schemas.microsoft.com/office/drawing/2014/main" id="{4B6A77F7-AC5A-F34B-989E-BFABE85E20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4" name="Straight Connector 13">
            <a:extLst>
              <a:ext uri="{FF2B5EF4-FFF2-40B4-BE49-F238E27FC236}">
                <a16:creationId xmlns:a16="http://schemas.microsoft.com/office/drawing/2014/main" id="{87A932E6-42DF-7243-AAAF-65216F910452}"/>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84348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Listing: 2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4" y="2537034"/>
            <a:ext cx="5396400" cy="3304966"/>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hasCustomPrompt="1"/>
          </p:nvPr>
        </p:nvSpPr>
        <p:spPr>
          <a:xfrm>
            <a:off x="6172200" y="2537034"/>
            <a:ext cx="5395912" cy="3304966"/>
          </a:xfrm>
          <a:prstGeom prst="rect">
            <a:avLst/>
          </a:prstGeom>
        </p:spPr>
        <p:txBody>
          <a:bodyPr/>
          <a:lstStyle>
            <a:lvl1pPr marL="228600" indent="-228600">
              <a:defRPr lang="en-US" sz="1800" b="0" i="0" kern="1200" dirty="0">
                <a:solidFill>
                  <a:srgbClr val="787875"/>
                </a:solidFill>
                <a:latin typeface="Gibson Light" panose="02000000000000000000" pitchFamily="2" charset="77"/>
                <a:ea typeface="+mn-ea"/>
                <a:cs typeface="+mn-cs"/>
              </a:defRPr>
            </a:lvl1pPr>
            <a:lvl2pPr marL="685800" indent="-228600">
              <a:defRPr lang="en-US" sz="1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dirty="0"/>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dirty="0"/>
              <a:t>Second level</a:t>
            </a:r>
          </a:p>
        </p:txBody>
      </p:sp>
      <p:sp>
        <p:nvSpPr>
          <p:cNvPr id="21" name="Text Placeholder 19">
            <a:extLst>
              <a:ext uri="{FF2B5EF4-FFF2-40B4-BE49-F238E27FC236}">
                <a16:creationId xmlns:a16="http://schemas.microsoft.com/office/drawing/2014/main" id="{0317F79B-6462-2C4F-BD9B-322247BB510F}"/>
              </a:ext>
            </a:extLst>
          </p:cNvPr>
          <p:cNvSpPr>
            <a:spLocks noGrp="1"/>
          </p:cNvSpPr>
          <p:nvPr>
            <p:ph type="body" sz="quarter" idx="26" hasCustomPrompt="1"/>
          </p:nvPr>
        </p:nvSpPr>
        <p:spPr>
          <a:xfrm>
            <a:off x="617695"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3" name="Text Placeholder 19">
            <a:extLst>
              <a:ext uri="{FF2B5EF4-FFF2-40B4-BE49-F238E27FC236}">
                <a16:creationId xmlns:a16="http://schemas.microsoft.com/office/drawing/2014/main" id="{6AEEECBC-B8D0-364D-B845-8B4EB594FAD5}"/>
              </a:ext>
            </a:extLst>
          </p:cNvPr>
          <p:cNvSpPr>
            <a:spLocks noGrp="1"/>
          </p:cNvSpPr>
          <p:nvPr>
            <p:ph type="body" sz="quarter" idx="27" hasCustomPrompt="1"/>
          </p:nvPr>
        </p:nvSpPr>
        <p:spPr>
          <a:xfrm>
            <a:off x="6172920"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13" name="Picture 12">
            <a:extLst>
              <a:ext uri="{FF2B5EF4-FFF2-40B4-BE49-F238E27FC236}">
                <a16:creationId xmlns:a16="http://schemas.microsoft.com/office/drawing/2014/main" id="{8EB5CE57-8E4D-5B42-8A45-E49A9FABCB2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5" name="Straight Connector 14">
            <a:extLst>
              <a:ext uri="{FF2B5EF4-FFF2-40B4-BE49-F238E27FC236}">
                <a16:creationId xmlns:a16="http://schemas.microsoft.com/office/drawing/2014/main" id="{519A817E-B02B-0348-9E47-E903343B511F}"/>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3109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Listing: 2Poin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5" name="Title 1">
            <a:extLst>
              <a:ext uri="{FF2B5EF4-FFF2-40B4-BE49-F238E27FC236}">
                <a16:creationId xmlns:a16="http://schemas.microsoft.com/office/drawing/2014/main" id="{A3239D28-8547-704B-9FB0-06B6340E087B}"/>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16" name="Text Placeholder 19">
            <a:extLst>
              <a:ext uri="{FF2B5EF4-FFF2-40B4-BE49-F238E27FC236}">
                <a16:creationId xmlns:a16="http://schemas.microsoft.com/office/drawing/2014/main" id="{3F9BB059-A4B7-7F43-BCDA-6CBA9E886566}"/>
              </a:ext>
            </a:extLst>
          </p:cNvPr>
          <p:cNvSpPr>
            <a:spLocks noGrp="1"/>
          </p:cNvSpPr>
          <p:nvPr>
            <p:ph type="body" sz="quarter" idx="13" hasCustomPrompt="1"/>
          </p:nvPr>
        </p:nvSpPr>
        <p:spPr>
          <a:xfrm>
            <a:off x="617695" y="1891811"/>
            <a:ext cx="5396399"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17" name="Text Placeholder 19">
            <a:extLst>
              <a:ext uri="{FF2B5EF4-FFF2-40B4-BE49-F238E27FC236}">
                <a16:creationId xmlns:a16="http://schemas.microsoft.com/office/drawing/2014/main" id="{B56B6083-7026-174C-B503-D170BCFEBB87}"/>
              </a:ext>
            </a:extLst>
          </p:cNvPr>
          <p:cNvSpPr>
            <a:spLocks noGrp="1"/>
          </p:cNvSpPr>
          <p:nvPr>
            <p:ph type="body" sz="quarter" idx="24" hasCustomPrompt="1"/>
          </p:nvPr>
        </p:nvSpPr>
        <p:spPr>
          <a:xfrm>
            <a:off x="6171002" y="1891811"/>
            <a:ext cx="5396399" cy="300087"/>
          </a:xfrm>
          <a:prstGeom prst="rect">
            <a:avLst/>
          </a:prstGeom>
        </p:spPr>
        <p:txBody>
          <a:bodyPr anchor="ctr">
            <a:noAutofit/>
          </a:bodyPr>
          <a:lstStyle>
            <a:lvl1pPr marL="0" indent="0">
              <a:lnSpc>
                <a:spcPct val="100000"/>
              </a:lnSpc>
              <a:buNone/>
              <a:defRPr lang="de-DE" sz="2400" b="0" i="0" kern="1200" noProof="0" dirty="0">
                <a:solidFill>
                  <a:srgbClr val="00A9E0"/>
                </a:solidFill>
                <a:latin typeface="Gibson Light" panose="02000000000000000000" pitchFamily="2" charset="77"/>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marL="0" lvl="0" indent="0" algn="l" defTabSz="914400" rtl="0" eaLnBrk="1" latinLnBrk="0" hangingPunct="1">
              <a:lnSpc>
                <a:spcPct val="100000"/>
              </a:lnSpc>
              <a:spcBef>
                <a:spcPts val="1000"/>
              </a:spcBef>
              <a:buSzPct val="70000"/>
              <a:buFont typeface="Symbol" pitchFamily="2" charset="2"/>
              <a:buNone/>
            </a:pPr>
            <a:r>
              <a:rPr lang="de-DE" noProof="0" dirty="0"/>
              <a:t>Header</a:t>
            </a:r>
          </a:p>
        </p:txBody>
      </p:sp>
      <p:sp>
        <p:nvSpPr>
          <p:cNvPr id="20" name="Content Placeholder 2">
            <a:extLst>
              <a:ext uri="{FF2B5EF4-FFF2-40B4-BE49-F238E27FC236}">
                <a16:creationId xmlns:a16="http://schemas.microsoft.com/office/drawing/2014/main" id="{EE94C3F0-B99F-1A4E-A9C4-82B81C247511}"/>
              </a:ext>
            </a:extLst>
          </p:cNvPr>
          <p:cNvSpPr>
            <a:spLocks noGrp="1"/>
          </p:cNvSpPr>
          <p:nvPr>
            <p:ph idx="25" hasCustomPrompt="1"/>
          </p:nvPr>
        </p:nvSpPr>
        <p:spPr>
          <a:xfrm>
            <a:off x="617521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pic>
        <p:nvPicPr>
          <p:cNvPr id="12" name="Picture 11">
            <a:extLst>
              <a:ext uri="{FF2B5EF4-FFF2-40B4-BE49-F238E27FC236}">
                <a16:creationId xmlns:a16="http://schemas.microsoft.com/office/drawing/2014/main" id="{355852E9-1D54-3643-98A6-4A5EEAB9CB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A1A23FC2-4DD7-A246-84AE-D32545DF9FAA}"/>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906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5F1611E6-5CAE-4418-A639-570A1F89B7E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71629871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gme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766560"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2" name="Picture 11">
            <a:extLst>
              <a:ext uri="{FF2B5EF4-FFF2-40B4-BE49-F238E27FC236}">
                <a16:creationId xmlns:a16="http://schemas.microsoft.com/office/drawing/2014/main" id="{97F0B16B-6940-4D4E-87CC-957BA3AF71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6FA24ACB-9FEC-C040-AE86-2088F4C69E6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2A50742-0908-FA4F-BE66-A7E6541225F2}"/>
              </a:ext>
            </a:extLst>
          </p:cNvPr>
          <p:cNvSpPr/>
          <p:nvPr userDrawn="1"/>
        </p:nvSpPr>
        <p:spPr>
          <a:xfrm>
            <a:off x="464559" y="2173876"/>
            <a:ext cx="3326296" cy="3326296"/>
          </a:xfrm>
          <a:prstGeom prst="ellipse">
            <a:avLst/>
          </a:prstGeom>
          <a:noFill/>
          <a:ln w="3175">
            <a:solidFill>
              <a:srgbClr val="9BCA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598459EB-BBB6-FD46-AC11-814F09B077A1}"/>
              </a:ext>
            </a:extLst>
          </p:cNvPr>
          <p:cNvSpPr/>
          <p:nvPr userDrawn="1"/>
        </p:nvSpPr>
        <p:spPr>
          <a:xfrm>
            <a:off x="3664225" y="1920374"/>
            <a:ext cx="3849757" cy="3849757"/>
          </a:xfrm>
          <a:prstGeom prst="ellipse">
            <a:avLst/>
          </a:prstGeom>
          <a:noFill/>
          <a:ln w="31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15333D2B-42FA-F74E-9DB0-1A27C9825872}"/>
              </a:ext>
            </a:extLst>
          </p:cNvPr>
          <p:cNvSpPr/>
          <p:nvPr userDrawn="1"/>
        </p:nvSpPr>
        <p:spPr>
          <a:xfrm>
            <a:off x="7384255" y="1654710"/>
            <a:ext cx="4190265" cy="4190265"/>
          </a:xfrm>
          <a:prstGeom prst="ellipse">
            <a:avLst/>
          </a:prstGeom>
          <a:noFill/>
          <a:ln w="3175">
            <a:solidFill>
              <a:srgbClr val="E953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Content Placeholder 2">
            <a:extLst>
              <a:ext uri="{FF2B5EF4-FFF2-40B4-BE49-F238E27FC236}">
                <a16:creationId xmlns:a16="http://schemas.microsoft.com/office/drawing/2014/main" id="{D27D7FEE-5204-F34A-A24D-E883DEE0FBC2}"/>
              </a:ext>
            </a:extLst>
          </p:cNvPr>
          <p:cNvSpPr>
            <a:spLocks noGrp="1"/>
          </p:cNvSpPr>
          <p:nvPr>
            <p:ph idx="1" hasCustomPrompt="1"/>
          </p:nvPr>
        </p:nvSpPr>
        <p:spPr>
          <a:xfrm>
            <a:off x="788089" y="3222114"/>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19" name="Text Placeholder 19">
            <a:extLst>
              <a:ext uri="{FF2B5EF4-FFF2-40B4-BE49-F238E27FC236}">
                <a16:creationId xmlns:a16="http://schemas.microsoft.com/office/drawing/2014/main" id="{A28C434C-B9D0-CA4D-8461-152433CBF9BD}"/>
              </a:ext>
            </a:extLst>
          </p:cNvPr>
          <p:cNvSpPr>
            <a:spLocks noGrp="1"/>
          </p:cNvSpPr>
          <p:nvPr>
            <p:ph type="body" sz="quarter" idx="26" hasCustomPrompt="1"/>
          </p:nvPr>
        </p:nvSpPr>
        <p:spPr>
          <a:xfrm>
            <a:off x="788089" y="2843280"/>
            <a:ext cx="2902639" cy="346250"/>
          </a:xfrm>
          <a:prstGeom prst="rect">
            <a:avLst/>
          </a:prstGeom>
        </p:spPr>
        <p:txBody>
          <a:bodyPr anchor="b">
            <a:noAutofit/>
          </a:bodyPr>
          <a:lstStyle>
            <a:lvl1pPr marL="0" indent="0">
              <a:lnSpc>
                <a:spcPct val="100000"/>
              </a:lnSpc>
              <a:buNone/>
              <a:defRPr sz="16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2" name="Content Placeholder 2">
            <a:extLst>
              <a:ext uri="{FF2B5EF4-FFF2-40B4-BE49-F238E27FC236}">
                <a16:creationId xmlns:a16="http://schemas.microsoft.com/office/drawing/2014/main" id="{8A3687C1-6CB9-0144-9284-7823CA7610FC}"/>
              </a:ext>
            </a:extLst>
          </p:cNvPr>
          <p:cNvSpPr>
            <a:spLocks noGrp="1"/>
          </p:cNvSpPr>
          <p:nvPr>
            <p:ph idx="28" hasCustomPrompt="1"/>
          </p:nvPr>
        </p:nvSpPr>
        <p:spPr>
          <a:xfrm>
            <a:off x="788090" y="3771399"/>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3" name="Content Placeholder 2">
            <a:extLst>
              <a:ext uri="{FF2B5EF4-FFF2-40B4-BE49-F238E27FC236}">
                <a16:creationId xmlns:a16="http://schemas.microsoft.com/office/drawing/2014/main" id="{CDD4E858-EA46-CD41-AD02-8CA459A94483}"/>
              </a:ext>
            </a:extLst>
          </p:cNvPr>
          <p:cNvSpPr>
            <a:spLocks noGrp="1"/>
          </p:cNvSpPr>
          <p:nvPr>
            <p:ph idx="29" hasCustomPrompt="1"/>
          </p:nvPr>
        </p:nvSpPr>
        <p:spPr>
          <a:xfrm>
            <a:off x="4136235" y="3222114"/>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4" name="Text Placeholder 19">
            <a:extLst>
              <a:ext uri="{FF2B5EF4-FFF2-40B4-BE49-F238E27FC236}">
                <a16:creationId xmlns:a16="http://schemas.microsoft.com/office/drawing/2014/main" id="{9E532C44-8BA7-9644-B17E-006380AB7344}"/>
              </a:ext>
            </a:extLst>
          </p:cNvPr>
          <p:cNvSpPr>
            <a:spLocks noGrp="1"/>
          </p:cNvSpPr>
          <p:nvPr>
            <p:ph type="body" sz="quarter" idx="30" hasCustomPrompt="1"/>
          </p:nvPr>
        </p:nvSpPr>
        <p:spPr>
          <a:xfrm>
            <a:off x="4136235" y="2843280"/>
            <a:ext cx="2902639" cy="346250"/>
          </a:xfrm>
          <a:prstGeom prst="rect">
            <a:avLst/>
          </a:prstGeom>
        </p:spPr>
        <p:txBody>
          <a:bodyPr anchor="b">
            <a:noAutofit/>
          </a:bodyPr>
          <a:lstStyle>
            <a:lvl1pPr marL="0" indent="0">
              <a:lnSpc>
                <a:spcPct val="100000"/>
              </a:lnSpc>
              <a:buNone/>
              <a:defRPr sz="1600" b="0" i="0">
                <a:solidFill>
                  <a:srgbClr val="005EB8"/>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5" name="Content Placeholder 2">
            <a:extLst>
              <a:ext uri="{FF2B5EF4-FFF2-40B4-BE49-F238E27FC236}">
                <a16:creationId xmlns:a16="http://schemas.microsoft.com/office/drawing/2014/main" id="{139BB5DA-BDBA-C043-BF31-41277EEC8D13}"/>
              </a:ext>
            </a:extLst>
          </p:cNvPr>
          <p:cNvSpPr>
            <a:spLocks noGrp="1"/>
          </p:cNvSpPr>
          <p:nvPr>
            <p:ph idx="31" hasCustomPrompt="1"/>
          </p:nvPr>
        </p:nvSpPr>
        <p:spPr>
          <a:xfrm>
            <a:off x="4136236" y="3771399"/>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6" name="Content Placeholder 2">
            <a:extLst>
              <a:ext uri="{FF2B5EF4-FFF2-40B4-BE49-F238E27FC236}">
                <a16:creationId xmlns:a16="http://schemas.microsoft.com/office/drawing/2014/main" id="{F0D78425-4632-7740-AAF5-BE1E15EC8369}"/>
              </a:ext>
            </a:extLst>
          </p:cNvPr>
          <p:cNvSpPr>
            <a:spLocks noGrp="1"/>
          </p:cNvSpPr>
          <p:nvPr>
            <p:ph idx="32" hasCustomPrompt="1"/>
          </p:nvPr>
        </p:nvSpPr>
        <p:spPr>
          <a:xfrm>
            <a:off x="8017355" y="3222114"/>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7" name="Text Placeholder 19">
            <a:extLst>
              <a:ext uri="{FF2B5EF4-FFF2-40B4-BE49-F238E27FC236}">
                <a16:creationId xmlns:a16="http://schemas.microsoft.com/office/drawing/2014/main" id="{2C1E24F1-8C16-B645-BED4-7A2062660DA3}"/>
              </a:ext>
            </a:extLst>
          </p:cNvPr>
          <p:cNvSpPr>
            <a:spLocks noGrp="1"/>
          </p:cNvSpPr>
          <p:nvPr>
            <p:ph type="body" sz="quarter" idx="33" hasCustomPrompt="1"/>
          </p:nvPr>
        </p:nvSpPr>
        <p:spPr>
          <a:xfrm>
            <a:off x="8017355" y="2843280"/>
            <a:ext cx="2902639" cy="346250"/>
          </a:xfrm>
          <a:prstGeom prst="rect">
            <a:avLst/>
          </a:prstGeom>
        </p:spPr>
        <p:txBody>
          <a:bodyPr anchor="b">
            <a:noAutofit/>
          </a:bodyPr>
          <a:lstStyle>
            <a:lvl1pPr marL="0" indent="0">
              <a:lnSpc>
                <a:spcPct val="100000"/>
              </a:lnSpc>
              <a:buNone/>
              <a:defRPr sz="1600" b="0" i="0">
                <a:solidFill>
                  <a:srgbClr val="E95326"/>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8" name="Content Placeholder 2">
            <a:extLst>
              <a:ext uri="{FF2B5EF4-FFF2-40B4-BE49-F238E27FC236}">
                <a16:creationId xmlns:a16="http://schemas.microsoft.com/office/drawing/2014/main" id="{0C68379D-7CDF-4F4B-803D-A913D34847C9}"/>
              </a:ext>
            </a:extLst>
          </p:cNvPr>
          <p:cNvSpPr>
            <a:spLocks noGrp="1"/>
          </p:cNvSpPr>
          <p:nvPr>
            <p:ph idx="34" hasCustomPrompt="1"/>
          </p:nvPr>
        </p:nvSpPr>
        <p:spPr>
          <a:xfrm>
            <a:off x="8017356" y="3771399"/>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Tree>
    <p:extLst>
      <p:ext uri="{BB962C8B-B14F-4D97-AF65-F5344CB8AC3E}">
        <p14:creationId xmlns:p14="http://schemas.microsoft.com/office/powerpoint/2010/main" val="343240422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Segme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2" name="Picture 11">
            <a:extLst>
              <a:ext uri="{FF2B5EF4-FFF2-40B4-BE49-F238E27FC236}">
                <a16:creationId xmlns:a16="http://schemas.microsoft.com/office/drawing/2014/main" id="{97F0B16B-6940-4D4E-87CC-957BA3AF71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6FA24ACB-9FEC-C040-AE86-2088F4C69E6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2A50742-0908-FA4F-BE66-A7E6541225F2}"/>
              </a:ext>
            </a:extLst>
          </p:cNvPr>
          <p:cNvSpPr/>
          <p:nvPr userDrawn="1"/>
        </p:nvSpPr>
        <p:spPr>
          <a:xfrm>
            <a:off x="464559" y="1980420"/>
            <a:ext cx="3326296" cy="3326296"/>
          </a:xfrm>
          <a:prstGeom prst="ellipse">
            <a:avLst/>
          </a:prstGeom>
          <a:noFill/>
          <a:ln w="3175">
            <a:solidFill>
              <a:srgbClr val="9BCA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598459EB-BBB6-FD46-AC11-814F09B077A1}"/>
              </a:ext>
            </a:extLst>
          </p:cNvPr>
          <p:cNvSpPr/>
          <p:nvPr userDrawn="1"/>
        </p:nvSpPr>
        <p:spPr>
          <a:xfrm>
            <a:off x="3664225" y="1726918"/>
            <a:ext cx="3849757" cy="3849757"/>
          </a:xfrm>
          <a:prstGeom prst="ellipse">
            <a:avLst/>
          </a:prstGeom>
          <a:noFill/>
          <a:ln w="31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15333D2B-42FA-F74E-9DB0-1A27C9825872}"/>
              </a:ext>
            </a:extLst>
          </p:cNvPr>
          <p:cNvSpPr/>
          <p:nvPr userDrawn="1"/>
        </p:nvSpPr>
        <p:spPr>
          <a:xfrm>
            <a:off x="7384255" y="1461254"/>
            <a:ext cx="4190265" cy="4190265"/>
          </a:xfrm>
          <a:prstGeom prst="ellipse">
            <a:avLst/>
          </a:prstGeom>
          <a:noFill/>
          <a:ln w="3175">
            <a:solidFill>
              <a:srgbClr val="E953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Content Placeholder 2">
            <a:extLst>
              <a:ext uri="{FF2B5EF4-FFF2-40B4-BE49-F238E27FC236}">
                <a16:creationId xmlns:a16="http://schemas.microsoft.com/office/drawing/2014/main" id="{D27D7FEE-5204-F34A-A24D-E883DEE0FBC2}"/>
              </a:ext>
            </a:extLst>
          </p:cNvPr>
          <p:cNvSpPr>
            <a:spLocks noGrp="1"/>
          </p:cNvSpPr>
          <p:nvPr>
            <p:ph idx="1" hasCustomPrompt="1"/>
          </p:nvPr>
        </p:nvSpPr>
        <p:spPr>
          <a:xfrm>
            <a:off x="788089" y="3028658"/>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19" name="Text Placeholder 19">
            <a:extLst>
              <a:ext uri="{FF2B5EF4-FFF2-40B4-BE49-F238E27FC236}">
                <a16:creationId xmlns:a16="http://schemas.microsoft.com/office/drawing/2014/main" id="{A28C434C-B9D0-CA4D-8461-152433CBF9BD}"/>
              </a:ext>
            </a:extLst>
          </p:cNvPr>
          <p:cNvSpPr>
            <a:spLocks noGrp="1"/>
          </p:cNvSpPr>
          <p:nvPr>
            <p:ph type="body" sz="quarter" idx="26" hasCustomPrompt="1"/>
          </p:nvPr>
        </p:nvSpPr>
        <p:spPr>
          <a:xfrm>
            <a:off x="788089" y="2649824"/>
            <a:ext cx="2902639" cy="346250"/>
          </a:xfrm>
          <a:prstGeom prst="rect">
            <a:avLst/>
          </a:prstGeom>
        </p:spPr>
        <p:txBody>
          <a:bodyPr anchor="b">
            <a:noAutofit/>
          </a:bodyPr>
          <a:lstStyle>
            <a:lvl1pPr marL="0" indent="0">
              <a:lnSpc>
                <a:spcPct val="100000"/>
              </a:lnSpc>
              <a:buNone/>
              <a:defRPr sz="16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2" name="Content Placeholder 2">
            <a:extLst>
              <a:ext uri="{FF2B5EF4-FFF2-40B4-BE49-F238E27FC236}">
                <a16:creationId xmlns:a16="http://schemas.microsoft.com/office/drawing/2014/main" id="{8A3687C1-6CB9-0144-9284-7823CA7610FC}"/>
              </a:ext>
            </a:extLst>
          </p:cNvPr>
          <p:cNvSpPr>
            <a:spLocks noGrp="1"/>
          </p:cNvSpPr>
          <p:nvPr>
            <p:ph idx="28" hasCustomPrompt="1"/>
          </p:nvPr>
        </p:nvSpPr>
        <p:spPr>
          <a:xfrm>
            <a:off x="788090" y="3577943"/>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3" name="Content Placeholder 2">
            <a:extLst>
              <a:ext uri="{FF2B5EF4-FFF2-40B4-BE49-F238E27FC236}">
                <a16:creationId xmlns:a16="http://schemas.microsoft.com/office/drawing/2014/main" id="{CDD4E858-EA46-CD41-AD02-8CA459A94483}"/>
              </a:ext>
            </a:extLst>
          </p:cNvPr>
          <p:cNvSpPr>
            <a:spLocks noGrp="1"/>
          </p:cNvSpPr>
          <p:nvPr>
            <p:ph idx="29" hasCustomPrompt="1"/>
          </p:nvPr>
        </p:nvSpPr>
        <p:spPr>
          <a:xfrm>
            <a:off x="4136235" y="3028658"/>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4" name="Text Placeholder 19">
            <a:extLst>
              <a:ext uri="{FF2B5EF4-FFF2-40B4-BE49-F238E27FC236}">
                <a16:creationId xmlns:a16="http://schemas.microsoft.com/office/drawing/2014/main" id="{9E532C44-8BA7-9644-B17E-006380AB7344}"/>
              </a:ext>
            </a:extLst>
          </p:cNvPr>
          <p:cNvSpPr>
            <a:spLocks noGrp="1"/>
          </p:cNvSpPr>
          <p:nvPr>
            <p:ph type="body" sz="quarter" idx="30" hasCustomPrompt="1"/>
          </p:nvPr>
        </p:nvSpPr>
        <p:spPr>
          <a:xfrm>
            <a:off x="4136235" y="2649824"/>
            <a:ext cx="2902639" cy="346250"/>
          </a:xfrm>
          <a:prstGeom prst="rect">
            <a:avLst/>
          </a:prstGeom>
        </p:spPr>
        <p:txBody>
          <a:bodyPr anchor="b">
            <a:noAutofit/>
          </a:bodyPr>
          <a:lstStyle>
            <a:lvl1pPr marL="0" indent="0">
              <a:lnSpc>
                <a:spcPct val="100000"/>
              </a:lnSpc>
              <a:buNone/>
              <a:defRPr sz="1600" b="0" i="0">
                <a:solidFill>
                  <a:srgbClr val="005EB8"/>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5" name="Content Placeholder 2">
            <a:extLst>
              <a:ext uri="{FF2B5EF4-FFF2-40B4-BE49-F238E27FC236}">
                <a16:creationId xmlns:a16="http://schemas.microsoft.com/office/drawing/2014/main" id="{139BB5DA-BDBA-C043-BF31-41277EEC8D13}"/>
              </a:ext>
            </a:extLst>
          </p:cNvPr>
          <p:cNvSpPr>
            <a:spLocks noGrp="1"/>
          </p:cNvSpPr>
          <p:nvPr>
            <p:ph idx="31" hasCustomPrompt="1"/>
          </p:nvPr>
        </p:nvSpPr>
        <p:spPr>
          <a:xfrm>
            <a:off x="4136236" y="3577943"/>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6" name="Content Placeholder 2">
            <a:extLst>
              <a:ext uri="{FF2B5EF4-FFF2-40B4-BE49-F238E27FC236}">
                <a16:creationId xmlns:a16="http://schemas.microsoft.com/office/drawing/2014/main" id="{F0D78425-4632-7740-AAF5-BE1E15EC8369}"/>
              </a:ext>
            </a:extLst>
          </p:cNvPr>
          <p:cNvSpPr>
            <a:spLocks noGrp="1"/>
          </p:cNvSpPr>
          <p:nvPr>
            <p:ph idx="32" hasCustomPrompt="1"/>
          </p:nvPr>
        </p:nvSpPr>
        <p:spPr>
          <a:xfrm>
            <a:off x="8017355" y="3028658"/>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7" name="Text Placeholder 19">
            <a:extLst>
              <a:ext uri="{FF2B5EF4-FFF2-40B4-BE49-F238E27FC236}">
                <a16:creationId xmlns:a16="http://schemas.microsoft.com/office/drawing/2014/main" id="{2C1E24F1-8C16-B645-BED4-7A2062660DA3}"/>
              </a:ext>
            </a:extLst>
          </p:cNvPr>
          <p:cNvSpPr>
            <a:spLocks noGrp="1"/>
          </p:cNvSpPr>
          <p:nvPr>
            <p:ph type="body" sz="quarter" idx="33" hasCustomPrompt="1"/>
          </p:nvPr>
        </p:nvSpPr>
        <p:spPr>
          <a:xfrm>
            <a:off x="8017355" y="2649824"/>
            <a:ext cx="2902639" cy="346250"/>
          </a:xfrm>
          <a:prstGeom prst="rect">
            <a:avLst/>
          </a:prstGeom>
        </p:spPr>
        <p:txBody>
          <a:bodyPr anchor="b">
            <a:noAutofit/>
          </a:bodyPr>
          <a:lstStyle>
            <a:lvl1pPr marL="0" indent="0">
              <a:lnSpc>
                <a:spcPct val="100000"/>
              </a:lnSpc>
              <a:buNone/>
              <a:defRPr sz="1600" b="0" i="0">
                <a:solidFill>
                  <a:srgbClr val="E95326"/>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8" name="Content Placeholder 2">
            <a:extLst>
              <a:ext uri="{FF2B5EF4-FFF2-40B4-BE49-F238E27FC236}">
                <a16:creationId xmlns:a16="http://schemas.microsoft.com/office/drawing/2014/main" id="{0C68379D-7CDF-4F4B-803D-A913D34847C9}"/>
              </a:ext>
            </a:extLst>
          </p:cNvPr>
          <p:cNvSpPr>
            <a:spLocks noGrp="1"/>
          </p:cNvSpPr>
          <p:nvPr>
            <p:ph idx="34" hasCustomPrompt="1"/>
          </p:nvPr>
        </p:nvSpPr>
        <p:spPr>
          <a:xfrm>
            <a:off x="8017356" y="3577943"/>
            <a:ext cx="2585536"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9" name="Title 1">
            <a:extLst>
              <a:ext uri="{FF2B5EF4-FFF2-40B4-BE49-F238E27FC236}">
                <a16:creationId xmlns:a16="http://schemas.microsoft.com/office/drawing/2014/main" id="{CDCB461C-10BE-0F4D-9973-3854813A4282}"/>
              </a:ext>
            </a:extLst>
          </p:cNvPr>
          <p:cNvSpPr>
            <a:spLocks noGrp="1"/>
          </p:cNvSpPr>
          <p:nvPr>
            <p:ph type="title"/>
          </p:nvPr>
        </p:nvSpPr>
        <p:spPr>
          <a:xfrm>
            <a:off x="617693" y="454283"/>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Tree>
    <p:extLst>
      <p:ext uri="{BB962C8B-B14F-4D97-AF65-F5344CB8AC3E}">
        <p14:creationId xmlns:p14="http://schemas.microsoft.com/office/powerpoint/2010/main" val="316966483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766560"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2" name="Picture 11">
            <a:extLst>
              <a:ext uri="{FF2B5EF4-FFF2-40B4-BE49-F238E27FC236}">
                <a16:creationId xmlns:a16="http://schemas.microsoft.com/office/drawing/2014/main" id="{97F0B16B-6940-4D4E-87CC-957BA3AF71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6FA24ACB-9FEC-C040-AE86-2088F4C69E6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D27D7FEE-5204-F34A-A24D-E883DEE0FBC2}"/>
              </a:ext>
            </a:extLst>
          </p:cNvPr>
          <p:cNvSpPr>
            <a:spLocks noGrp="1"/>
          </p:cNvSpPr>
          <p:nvPr>
            <p:ph idx="1" hasCustomPrompt="1"/>
          </p:nvPr>
        </p:nvSpPr>
        <p:spPr>
          <a:xfrm>
            <a:off x="736488" y="3794687"/>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19" name="Text Placeholder 19">
            <a:extLst>
              <a:ext uri="{FF2B5EF4-FFF2-40B4-BE49-F238E27FC236}">
                <a16:creationId xmlns:a16="http://schemas.microsoft.com/office/drawing/2014/main" id="{A28C434C-B9D0-CA4D-8461-152433CBF9BD}"/>
              </a:ext>
            </a:extLst>
          </p:cNvPr>
          <p:cNvSpPr>
            <a:spLocks noGrp="1"/>
          </p:cNvSpPr>
          <p:nvPr>
            <p:ph type="body" sz="quarter" idx="26" hasCustomPrompt="1"/>
          </p:nvPr>
        </p:nvSpPr>
        <p:spPr>
          <a:xfrm>
            <a:off x="736488" y="3415853"/>
            <a:ext cx="2902639" cy="346250"/>
          </a:xfrm>
          <a:prstGeom prst="rect">
            <a:avLst/>
          </a:prstGeom>
        </p:spPr>
        <p:txBody>
          <a:bodyPr anchor="b">
            <a:noAutofit/>
          </a:bodyPr>
          <a:lstStyle>
            <a:lvl1pPr marL="0" indent="0">
              <a:lnSpc>
                <a:spcPct val="100000"/>
              </a:lnSpc>
              <a:buNone/>
              <a:defRPr sz="16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2" name="Content Placeholder 2">
            <a:extLst>
              <a:ext uri="{FF2B5EF4-FFF2-40B4-BE49-F238E27FC236}">
                <a16:creationId xmlns:a16="http://schemas.microsoft.com/office/drawing/2014/main" id="{8A3687C1-6CB9-0144-9284-7823CA7610FC}"/>
              </a:ext>
            </a:extLst>
          </p:cNvPr>
          <p:cNvSpPr>
            <a:spLocks noGrp="1"/>
          </p:cNvSpPr>
          <p:nvPr>
            <p:ph idx="28" hasCustomPrompt="1"/>
          </p:nvPr>
        </p:nvSpPr>
        <p:spPr>
          <a:xfrm>
            <a:off x="736489" y="4343972"/>
            <a:ext cx="2902638" cy="1147052"/>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3" name="Content Placeholder 2">
            <a:extLst>
              <a:ext uri="{FF2B5EF4-FFF2-40B4-BE49-F238E27FC236}">
                <a16:creationId xmlns:a16="http://schemas.microsoft.com/office/drawing/2014/main" id="{CDD4E858-EA46-CD41-AD02-8CA459A94483}"/>
              </a:ext>
            </a:extLst>
          </p:cNvPr>
          <p:cNvSpPr>
            <a:spLocks noGrp="1"/>
          </p:cNvSpPr>
          <p:nvPr>
            <p:ph idx="29" hasCustomPrompt="1"/>
          </p:nvPr>
        </p:nvSpPr>
        <p:spPr>
          <a:xfrm>
            <a:off x="4113515" y="3093082"/>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4" name="Text Placeholder 19">
            <a:extLst>
              <a:ext uri="{FF2B5EF4-FFF2-40B4-BE49-F238E27FC236}">
                <a16:creationId xmlns:a16="http://schemas.microsoft.com/office/drawing/2014/main" id="{9E532C44-8BA7-9644-B17E-006380AB7344}"/>
              </a:ext>
            </a:extLst>
          </p:cNvPr>
          <p:cNvSpPr>
            <a:spLocks noGrp="1"/>
          </p:cNvSpPr>
          <p:nvPr>
            <p:ph type="body" sz="quarter" idx="30" hasCustomPrompt="1"/>
          </p:nvPr>
        </p:nvSpPr>
        <p:spPr>
          <a:xfrm>
            <a:off x="4113515" y="2714248"/>
            <a:ext cx="2902639" cy="346250"/>
          </a:xfrm>
          <a:prstGeom prst="rect">
            <a:avLst/>
          </a:prstGeom>
        </p:spPr>
        <p:txBody>
          <a:bodyPr anchor="b">
            <a:noAutofit/>
          </a:bodyPr>
          <a:lstStyle>
            <a:lvl1pPr marL="0" indent="0">
              <a:lnSpc>
                <a:spcPct val="100000"/>
              </a:lnSpc>
              <a:buNone/>
              <a:defRPr sz="1600" b="0" i="0">
                <a:solidFill>
                  <a:srgbClr val="005EB8"/>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5" name="Content Placeholder 2">
            <a:extLst>
              <a:ext uri="{FF2B5EF4-FFF2-40B4-BE49-F238E27FC236}">
                <a16:creationId xmlns:a16="http://schemas.microsoft.com/office/drawing/2014/main" id="{139BB5DA-BDBA-C043-BF31-41277EEC8D13}"/>
              </a:ext>
            </a:extLst>
          </p:cNvPr>
          <p:cNvSpPr>
            <a:spLocks noGrp="1"/>
          </p:cNvSpPr>
          <p:nvPr>
            <p:ph idx="31" hasCustomPrompt="1"/>
          </p:nvPr>
        </p:nvSpPr>
        <p:spPr>
          <a:xfrm>
            <a:off x="4113516" y="3642366"/>
            <a:ext cx="2902638" cy="1848649"/>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6" name="Content Placeholder 2">
            <a:extLst>
              <a:ext uri="{FF2B5EF4-FFF2-40B4-BE49-F238E27FC236}">
                <a16:creationId xmlns:a16="http://schemas.microsoft.com/office/drawing/2014/main" id="{F0D78425-4632-7740-AAF5-BE1E15EC8369}"/>
              </a:ext>
            </a:extLst>
          </p:cNvPr>
          <p:cNvSpPr>
            <a:spLocks noGrp="1"/>
          </p:cNvSpPr>
          <p:nvPr>
            <p:ph idx="32" hasCustomPrompt="1"/>
          </p:nvPr>
        </p:nvSpPr>
        <p:spPr>
          <a:xfrm>
            <a:off x="7489802" y="2410592"/>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7" name="Text Placeholder 19">
            <a:extLst>
              <a:ext uri="{FF2B5EF4-FFF2-40B4-BE49-F238E27FC236}">
                <a16:creationId xmlns:a16="http://schemas.microsoft.com/office/drawing/2014/main" id="{2C1E24F1-8C16-B645-BED4-7A2062660DA3}"/>
              </a:ext>
            </a:extLst>
          </p:cNvPr>
          <p:cNvSpPr>
            <a:spLocks noGrp="1"/>
          </p:cNvSpPr>
          <p:nvPr>
            <p:ph type="body" sz="quarter" idx="33" hasCustomPrompt="1"/>
          </p:nvPr>
        </p:nvSpPr>
        <p:spPr>
          <a:xfrm>
            <a:off x="7489802" y="2031758"/>
            <a:ext cx="2902639" cy="346250"/>
          </a:xfrm>
          <a:prstGeom prst="rect">
            <a:avLst/>
          </a:prstGeom>
        </p:spPr>
        <p:txBody>
          <a:bodyPr anchor="b">
            <a:noAutofit/>
          </a:bodyPr>
          <a:lstStyle>
            <a:lvl1pPr marL="0" indent="0">
              <a:lnSpc>
                <a:spcPct val="100000"/>
              </a:lnSpc>
              <a:buNone/>
              <a:defRPr sz="1600" b="0" i="0">
                <a:solidFill>
                  <a:srgbClr val="E95326"/>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8" name="Content Placeholder 2">
            <a:extLst>
              <a:ext uri="{FF2B5EF4-FFF2-40B4-BE49-F238E27FC236}">
                <a16:creationId xmlns:a16="http://schemas.microsoft.com/office/drawing/2014/main" id="{0C68379D-7CDF-4F4B-803D-A913D34847C9}"/>
              </a:ext>
            </a:extLst>
          </p:cNvPr>
          <p:cNvSpPr>
            <a:spLocks noGrp="1"/>
          </p:cNvSpPr>
          <p:nvPr>
            <p:ph idx="34" hasCustomPrompt="1"/>
          </p:nvPr>
        </p:nvSpPr>
        <p:spPr>
          <a:xfrm>
            <a:off x="7489803" y="2959876"/>
            <a:ext cx="2910092" cy="2531133"/>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cxnSp>
        <p:nvCxnSpPr>
          <p:cNvPr id="29" name="Straight Connector 28">
            <a:extLst>
              <a:ext uri="{FF2B5EF4-FFF2-40B4-BE49-F238E27FC236}">
                <a16:creationId xmlns:a16="http://schemas.microsoft.com/office/drawing/2014/main" id="{0B3D778D-3508-4A4B-B75B-463C23BFC9B4}"/>
              </a:ext>
            </a:extLst>
          </p:cNvPr>
          <p:cNvCxnSpPr>
            <a:cxnSpLocks/>
          </p:cNvCxnSpPr>
          <p:nvPr userDrawn="1"/>
        </p:nvCxnSpPr>
        <p:spPr>
          <a:xfrm>
            <a:off x="660400" y="3755533"/>
            <a:ext cx="2980800"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E39494F-006C-FC4C-89D9-E7051D6487CD}"/>
              </a:ext>
            </a:extLst>
          </p:cNvPr>
          <p:cNvCxnSpPr>
            <a:cxnSpLocks/>
          </p:cNvCxnSpPr>
          <p:nvPr userDrawn="1"/>
        </p:nvCxnSpPr>
        <p:spPr>
          <a:xfrm>
            <a:off x="4038889" y="3061677"/>
            <a:ext cx="2980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04E853-3F03-3040-80C4-BAD2414536C5}"/>
              </a:ext>
            </a:extLst>
          </p:cNvPr>
          <p:cNvCxnSpPr>
            <a:cxnSpLocks/>
          </p:cNvCxnSpPr>
          <p:nvPr userDrawn="1"/>
        </p:nvCxnSpPr>
        <p:spPr>
          <a:xfrm>
            <a:off x="7417132" y="2367821"/>
            <a:ext cx="2980800" cy="0"/>
          </a:xfrm>
          <a:prstGeom prst="line">
            <a:avLst/>
          </a:prstGeom>
          <a:ln>
            <a:solidFill>
              <a:srgbClr val="E9532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BE4D115-98FD-7C42-BC6A-62B6C4734938}"/>
              </a:ext>
            </a:extLst>
          </p:cNvPr>
          <p:cNvCxnSpPr/>
          <p:nvPr userDrawn="1"/>
        </p:nvCxnSpPr>
        <p:spPr>
          <a:xfrm flipV="1">
            <a:off x="3639127" y="3061677"/>
            <a:ext cx="399762" cy="693856"/>
          </a:xfrm>
          <a:prstGeom prst="line">
            <a:avLst/>
          </a:prstGeom>
          <a:ln>
            <a:gradFill>
              <a:gsLst>
                <a:gs pos="0">
                  <a:srgbClr val="9BCAEC"/>
                </a:gs>
                <a:gs pos="100000">
                  <a:srgbClr val="005EB8"/>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A0A400F-8D6B-9746-95CE-E271E9C4496E}"/>
              </a:ext>
            </a:extLst>
          </p:cNvPr>
          <p:cNvCxnSpPr/>
          <p:nvPr userDrawn="1"/>
        </p:nvCxnSpPr>
        <p:spPr>
          <a:xfrm flipV="1">
            <a:off x="7019511" y="2367821"/>
            <a:ext cx="399762" cy="693856"/>
          </a:xfrm>
          <a:prstGeom prst="line">
            <a:avLst/>
          </a:prstGeom>
          <a:ln>
            <a:gradFill>
              <a:gsLst>
                <a:gs pos="0">
                  <a:srgbClr val="005EB8"/>
                </a:gs>
                <a:gs pos="99000">
                  <a:srgbClr val="E95326"/>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076140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2" name="Picture 11">
            <a:extLst>
              <a:ext uri="{FF2B5EF4-FFF2-40B4-BE49-F238E27FC236}">
                <a16:creationId xmlns:a16="http://schemas.microsoft.com/office/drawing/2014/main" id="{97F0B16B-6940-4D4E-87CC-957BA3AF71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3" name="Straight Connector 12">
            <a:extLst>
              <a:ext uri="{FF2B5EF4-FFF2-40B4-BE49-F238E27FC236}">
                <a16:creationId xmlns:a16="http://schemas.microsoft.com/office/drawing/2014/main" id="{6FA24ACB-9FEC-C040-AE86-2088F4C69E6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D27D7FEE-5204-F34A-A24D-E883DEE0FBC2}"/>
              </a:ext>
            </a:extLst>
          </p:cNvPr>
          <p:cNvSpPr>
            <a:spLocks noGrp="1"/>
          </p:cNvSpPr>
          <p:nvPr>
            <p:ph idx="1" hasCustomPrompt="1"/>
          </p:nvPr>
        </p:nvSpPr>
        <p:spPr>
          <a:xfrm>
            <a:off x="736488" y="3654740"/>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19" name="Text Placeholder 19">
            <a:extLst>
              <a:ext uri="{FF2B5EF4-FFF2-40B4-BE49-F238E27FC236}">
                <a16:creationId xmlns:a16="http://schemas.microsoft.com/office/drawing/2014/main" id="{A28C434C-B9D0-CA4D-8461-152433CBF9BD}"/>
              </a:ext>
            </a:extLst>
          </p:cNvPr>
          <p:cNvSpPr>
            <a:spLocks noGrp="1"/>
          </p:cNvSpPr>
          <p:nvPr>
            <p:ph type="body" sz="quarter" idx="26" hasCustomPrompt="1"/>
          </p:nvPr>
        </p:nvSpPr>
        <p:spPr>
          <a:xfrm>
            <a:off x="736488" y="3275906"/>
            <a:ext cx="2902639" cy="346250"/>
          </a:xfrm>
          <a:prstGeom prst="rect">
            <a:avLst/>
          </a:prstGeom>
        </p:spPr>
        <p:txBody>
          <a:bodyPr anchor="b">
            <a:noAutofit/>
          </a:bodyPr>
          <a:lstStyle>
            <a:lvl1pPr marL="0" indent="0">
              <a:lnSpc>
                <a:spcPct val="100000"/>
              </a:lnSpc>
              <a:buNone/>
              <a:defRPr sz="16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2" name="Content Placeholder 2">
            <a:extLst>
              <a:ext uri="{FF2B5EF4-FFF2-40B4-BE49-F238E27FC236}">
                <a16:creationId xmlns:a16="http://schemas.microsoft.com/office/drawing/2014/main" id="{8A3687C1-6CB9-0144-9284-7823CA7610FC}"/>
              </a:ext>
            </a:extLst>
          </p:cNvPr>
          <p:cNvSpPr>
            <a:spLocks noGrp="1"/>
          </p:cNvSpPr>
          <p:nvPr>
            <p:ph idx="28" hasCustomPrompt="1"/>
          </p:nvPr>
        </p:nvSpPr>
        <p:spPr>
          <a:xfrm>
            <a:off x="736489" y="4204024"/>
            <a:ext cx="2902638" cy="1286999"/>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3" name="Content Placeholder 2">
            <a:extLst>
              <a:ext uri="{FF2B5EF4-FFF2-40B4-BE49-F238E27FC236}">
                <a16:creationId xmlns:a16="http://schemas.microsoft.com/office/drawing/2014/main" id="{CDD4E858-EA46-CD41-AD02-8CA459A94483}"/>
              </a:ext>
            </a:extLst>
          </p:cNvPr>
          <p:cNvSpPr>
            <a:spLocks noGrp="1"/>
          </p:cNvSpPr>
          <p:nvPr>
            <p:ph idx="29" hasCustomPrompt="1"/>
          </p:nvPr>
        </p:nvSpPr>
        <p:spPr>
          <a:xfrm>
            <a:off x="4113515" y="2953135"/>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4" name="Text Placeholder 19">
            <a:extLst>
              <a:ext uri="{FF2B5EF4-FFF2-40B4-BE49-F238E27FC236}">
                <a16:creationId xmlns:a16="http://schemas.microsoft.com/office/drawing/2014/main" id="{9E532C44-8BA7-9644-B17E-006380AB7344}"/>
              </a:ext>
            </a:extLst>
          </p:cNvPr>
          <p:cNvSpPr>
            <a:spLocks noGrp="1"/>
          </p:cNvSpPr>
          <p:nvPr>
            <p:ph type="body" sz="quarter" idx="30" hasCustomPrompt="1"/>
          </p:nvPr>
        </p:nvSpPr>
        <p:spPr>
          <a:xfrm>
            <a:off x="4113515" y="2574301"/>
            <a:ext cx="2902639" cy="346250"/>
          </a:xfrm>
          <a:prstGeom prst="rect">
            <a:avLst/>
          </a:prstGeom>
        </p:spPr>
        <p:txBody>
          <a:bodyPr anchor="b">
            <a:noAutofit/>
          </a:bodyPr>
          <a:lstStyle>
            <a:lvl1pPr marL="0" indent="0">
              <a:lnSpc>
                <a:spcPct val="100000"/>
              </a:lnSpc>
              <a:buNone/>
              <a:defRPr sz="1600" b="0" i="0">
                <a:solidFill>
                  <a:srgbClr val="005EB8"/>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5" name="Content Placeholder 2">
            <a:extLst>
              <a:ext uri="{FF2B5EF4-FFF2-40B4-BE49-F238E27FC236}">
                <a16:creationId xmlns:a16="http://schemas.microsoft.com/office/drawing/2014/main" id="{139BB5DA-BDBA-C043-BF31-41277EEC8D13}"/>
              </a:ext>
            </a:extLst>
          </p:cNvPr>
          <p:cNvSpPr>
            <a:spLocks noGrp="1"/>
          </p:cNvSpPr>
          <p:nvPr>
            <p:ph idx="31" hasCustomPrompt="1"/>
          </p:nvPr>
        </p:nvSpPr>
        <p:spPr>
          <a:xfrm>
            <a:off x="4113516" y="3502419"/>
            <a:ext cx="2902638" cy="1988600"/>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sp>
        <p:nvSpPr>
          <p:cNvPr id="26" name="Content Placeholder 2">
            <a:extLst>
              <a:ext uri="{FF2B5EF4-FFF2-40B4-BE49-F238E27FC236}">
                <a16:creationId xmlns:a16="http://schemas.microsoft.com/office/drawing/2014/main" id="{F0D78425-4632-7740-AAF5-BE1E15EC8369}"/>
              </a:ext>
            </a:extLst>
          </p:cNvPr>
          <p:cNvSpPr>
            <a:spLocks noGrp="1"/>
          </p:cNvSpPr>
          <p:nvPr>
            <p:ph idx="32" hasCustomPrompt="1"/>
          </p:nvPr>
        </p:nvSpPr>
        <p:spPr>
          <a:xfrm>
            <a:off x="7489802" y="2270645"/>
            <a:ext cx="2902639" cy="464016"/>
          </a:xfrm>
          <a:prstGeom prst="rect">
            <a:avLst/>
          </a:prstGeom>
        </p:spPr>
        <p:txBody>
          <a:bodyPr>
            <a:normAutofit/>
          </a:bodyPr>
          <a:lstStyle>
            <a:lvl1pPr marL="0" indent="0">
              <a:buSzPct val="70000"/>
              <a:buFont typeface="Symbol" pitchFamily="2" charset="2"/>
              <a:buNone/>
              <a:defRPr sz="12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Try and use 1 line pointers, it is a sum-up!</a:t>
            </a:r>
          </a:p>
        </p:txBody>
      </p:sp>
      <p:sp>
        <p:nvSpPr>
          <p:cNvPr id="27" name="Text Placeholder 19">
            <a:extLst>
              <a:ext uri="{FF2B5EF4-FFF2-40B4-BE49-F238E27FC236}">
                <a16:creationId xmlns:a16="http://schemas.microsoft.com/office/drawing/2014/main" id="{2C1E24F1-8C16-B645-BED4-7A2062660DA3}"/>
              </a:ext>
            </a:extLst>
          </p:cNvPr>
          <p:cNvSpPr>
            <a:spLocks noGrp="1"/>
          </p:cNvSpPr>
          <p:nvPr>
            <p:ph type="body" sz="quarter" idx="33" hasCustomPrompt="1"/>
          </p:nvPr>
        </p:nvSpPr>
        <p:spPr>
          <a:xfrm>
            <a:off x="7489802" y="1891811"/>
            <a:ext cx="2902639" cy="346250"/>
          </a:xfrm>
          <a:prstGeom prst="rect">
            <a:avLst/>
          </a:prstGeom>
        </p:spPr>
        <p:txBody>
          <a:bodyPr anchor="b">
            <a:noAutofit/>
          </a:bodyPr>
          <a:lstStyle>
            <a:lvl1pPr marL="0" indent="0">
              <a:lnSpc>
                <a:spcPct val="100000"/>
              </a:lnSpc>
              <a:buNone/>
              <a:defRPr sz="1600" b="0" i="0">
                <a:solidFill>
                  <a:srgbClr val="E95326"/>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8" name="Content Placeholder 2">
            <a:extLst>
              <a:ext uri="{FF2B5EF4-FFF2-40B4-BE49-F238E27FC236}">
                <a16:creationId xmlns:a16="http://schemas.microsoft.com/office/drawing/2014/main" id="{0C68379D-7CDF-4F4B-803D-A913D34847C9}"/>
              </a:ext>
            </a:extLst>
          </p:cNvPr>
          <p:cNvSpPr>
            <a:spLocks noGrp="1"/>
          </p:cNvSpPr>
          <p:nvPr>
            <p:ph idx="34" hasCustomPrompt="1"/>
          </p:nvPr>
        </p:nvSpPr>
        <p:spPr>
          <a:xfrm>
            <a:off x="7489803" y="2819929"/>
            <a:ext cx="2910092" cy="2671085"/>
          </a:xfrm>
          <a:prstGeom prst="rect">
            <a:avLst/>
          </a:prstGeom>
        </p:spPr>
        <p:txBody>
          <a:bodyPr>
            <a:normAutofit/>
          </a:bodyPr>
          <a:lstStyle>
            <a:lvl1pPr marL="171450" indent="-171450">
              <a:buSzPct val="70000"/>
              <a:buFont typeface="Symbol" pitchFamily="2" charset="2"/>
              <a:buChar char="-"/>
              <a:defRPr sz="10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Text stays this size only, as numbers are fixed. </a:t>
            </a:r>
          </a:p>
          <a:p>
            <a:pPr lvl="0"/>
            <a:r>
              <a:rPr lang="en-US" dirty="0"/>
              <a:t>Do not change text size. </a:t>
            </a:r>
          </a:p>
          <a:p>
            <a:pPr lvl="0"/>
            <a:r>
              <a:rPr lang="en-US" dirty="0"/>
              <a:t>This is where you can feel free to make points</a:t>
            </a:r>
          </a:p>
          <a:p>
            <a:pPr lvl="0"/>
            <a:endParaRPr lang="en-US" dirty="0"/>
          </a:p>
        </p:txBody>
      </p:sp>
      <p:cxnSp>
        <p:nvCxnSpPr>
          <p:cNvPr id="29" name="Straight Connector 28">
            <a:extLst>
              <a:ext uri="{FF2B5EF4-FFF2-40B4-BE49-F238E27FC236}">
                <a16:creationId xmlns:a16="http://schemas.microsoft.com/office/drawing/2014/main" id="{0B3D778D-3508-4A4B-B75B-463C23BFC9B4}"/>
              </a:ext>
            </a:extLst>
          </p:cNvPr>
          <p:cNvCxnSpPr>
            <a:cxnSpLocks/>
          </p:cNvCxnSpPr>
          <p:nvPr userDrawn="1"/>
        </p:nvCxnSpPr>
        <p:spPr>
          <a:xfrm>
            <a:off x="660400" y="3615586"/>
            <a:ext cx="2980800"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E39494F-006C-FC4C-89D9-E7051D6487CD}"/>
              </a:ext>
            </a:extLst>
          </p:cNvPr>
          <p:cNvCxnSpPr>
            <a:cxnSpLocks/>
          </p:cNvCxnSpPr>
          <p:nvPr userDrawn="1"/>
        </p:nvCxnSpPr>
        <p:spPr>
          <a:xfrm>
            <a:off x="4038889" y="2921730"/>
            <a:ext cx="29806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04E853-3F03-3040-80C4-BAD2414536C5}"/>
              </a:ext>
            </a:extLst>
          </p:cNvPr>
          <p:cNvCxnSpPr>
            <a:cxnSpLocks/>
          </p:cNvCxnSpPr>
          <p:nvPr userDrawn="1"/>
        </p:nvCxnSpPr>
        <p:spPr>
          <a:xfrm>
            <a:off x="7417132" y="2227874"/>
            <a:ext cx="2980800" cy="0"/>
          </a:xfrm>
          <a:prstGeom prst="line">
            <a:avLst/>
          </a:prstGeom>
          <a:ln>
            <a:solidFill>
              <a:srgbClr val="E9532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BE4D115-98FD-7C42-BC6A-62B6C4734938}"/>
              </a:ext>
            </a:extLst>
          </p:cNvPr>
          <p:cNvCxnSpPr/>
          <p:nvPr userDrawn="1"/>
        </p:nvCxnSpPr>
        <p:spPr>
          <a:xfrm flipV="1">
            <a:off x="3639127" y="2921730"/>
            <a:ext cx="399762" cy="693856"/>
          </a:xfrm>
          <a:prstGeom prst="line">
            <a:avLst/>
          </a:prstGeom>
          <a:ln>
            <a:gradFill>
              <a:gsLst>
                <a:gs pos="0">
                  <a:srgbClr val="9BCAEC"/>
                </a:gs>
                <a:gs pos="100000">
                  <a:srgbClr val="005EB8"/>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A0A400F-8D6B-9746-95CE-E271E9C4496E}"/>
              </a:ext>
            </a:extLst>
          </p:cNvPr>
          <p:cNvCxnSpPr/>
          <p:nvPr userDrawn="1"/>
        </p:nvCxnSpPr>
        <p:spPr>
          <a:xfrm flipV="1">
            <a:off x="7019511" y="2227874"/>
            <a:ext cx="399762" cy="693856"/>
          </a:xfrm>
          <a:prstGeom prst="line">
            <a:avLst/>
          </a:prstGeom>
          <a:ln>
            <a:gradFill>
              <a:gsLst>
                <a:gs pos="0">
                  <a:srgbClr val="005EB8"/>
                </a:gs>
                <a:gs pos="99000">
                  <a:srgbClr val="E95326"/>
                </a:gs>
              </a:gsLst>
              <a:lin ang="5400000" scaled="1"/>
            </a:gradFill>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97B975E3-C34A-9341-A732-23CADF75989F}"/>
              </a:ext>
            </a:extLst>
          </p:cNvPr>
          <p:cNvSpPr>
            <a:spLocks noGrp="1"/>
          </p:cNvSpPr>
          <p:nvPr>
            <p:ph type="title"/>
          </p:nvPr>
        </p:nvSpPr>
        <p:spPr>
          <a:xfrm>
            <a:off x="617693" y="454283"/>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Tree>
    <p:extLst>
      <p:ext uri="{BB962C8B-B14F-4D97-AF65-F5344CB8AC3E}">
        <p14:creationId xmlns:p14="http://schemas.microsoft.com/office/powerpoint/2010/main" val="48421465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isting: 2Points+TOP7 poin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2532518"/>
            <a:ext cx="5039368" cy="3414860"/>
          </a:xfrm>
          <a:prstGeom prst="rect">
            <a:avLst/>
          </a:prstGeom>
        </p:spPr>
        <p:txBody>
          <a:bodyPr>
            <a:normAutofit/>
          </a:bodyPr>
          <a:lstStyle>
            <a:lvl1pPr marL="0" indent="0">
              <a:lnSpc>
                <a:spcPts val="2950"/>
              </a:lnSpc>
              <a:buSzPct val="70000"/>
              <a:buFont typeface="Symbol" pitchFamily="2" charset="2"/>
              <a:buNone/>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a:t>
            </a:r>
          </a:p>
          <a:p>
            <a:pPr lvl="0"/>
            <a:r>
              <a:rPr lang="en-US" dirty="0"/>
              <a:t>whole presentation</a:t>
            </a:r>
          </a:p>
          <a:p>
            <a:pPr lvl="0"/>
            <a:r>
              <a:rPr lang="en-US" dirty="0"/>
              <a:t>Whatever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2615181"/>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2584931"/>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3123181"/>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3092931"/>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631181"/>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3600931"/>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4139181"/>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4108931"/>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647181"/>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4616931"/>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515997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512972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66797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63772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sp>
        <p:nvSpPr>
          <p:cNvPr id="23" name="Text Placeholder 19">
            <a:extLst>
              <a:ext uri="{FF2B5EF4-FFF2-40B4-BE49-F238E27FC236}">
                <a16:creationId xmlns:a16="http://schemas.microsoft.com/office/drawing/2014/main" id="{FE69FC98-D4C3-BD46-B673-C22A9EC85AF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4" name="Title 1">
            <a:extLst>
              <a:ext uri="{FF2B5EF4-FFF2-40B4-BE49-F238E27FC236}">
                <a16:creationId xmlns:a16="http://schemas.microsoft.com/office/drawing/2014/main" id="{A6ABBDEF-6803-AB48-BF91-FC9B1FA34474}"/>
              </a:ext>
            </a:extLst>
          </p:cNvPr>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1" name="Content Placeholder 3">
            <a:extLst>
              <a:ext uri="{FF2B5EF4-FFF2-40B4-BE49-F238E27FC236}">
                <a16:creationId xmlns:a16="http://schemas.microsoft.com/office/drawing/2014/main" id="{7E6737C2-F7C3-E449-894B-68C55E676386}"/>
              </a:ext>
            </a:extLst>
          </p:cNvPr>
          <p:cNvSpPr>
            <a:spLocks noGrp="1"/>
          </p:cNvSpPr>
          <p:nvPr>
            <p:ph sz="half" idx="2" hasCustomPrompt="1"/>
          </p:nvPr>
        </p:nvSpPr>
        <p:spPr>
          <a:xfrm>
            <a:off x="6172200" y="2537034"/>
            <a:ext cx="5395912" cy="3304966"/>
          </a:xfrm>
          <a:prstGeom prst="rect">
            <a:avLst/>
          </a:prstGeom>
        </p:spPr>
        <p:txBody>
          <a:bodyPr/>
          <a:lstStyle>
            <a:lvl1pPr marL="228600" indent="-228600">
              <a:defRPr lang="en-US" sz="1800" b="0" i="0" kern="1200" dirty="0">
                <a:solidFill>
                  <a:srgbClr val="787875"/>
                </a:solidFill>
                <a:latin typeface="Gibson Light" panose="02000000000000000000" pitchFamily="2" charset="77"/>
                <a:ea typeface="+mn-ea"/>
                <a:cs typeface="+mn-cs"/>
              </a:defRPr>
            </a:lvl1pPr>
            <a:lvl2pPr marL="685800" indent="-228600">
              <a:defRPr lang="en-US" sz="1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dirty="0"/>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dirty="0"/>
              <a:t>Second level</a:t>
            </a:r>
          </a:p>
        </p:txBody>
      </p:sp>
      <p:sp>
        <p:nvSpPr>
          <p:cNvPr id="32" name="Text Placeholder 19">
            <a:extLst>
              <a:ext uri="{FF2B5EF4-FFF2-40B4-BE49-F238E27FC236}">
                <a16:creationId xmlns:a16="http://schemas.microsoft.com/office/drawing/2014/main" id="{046F43EA-CE4F-EF4F-BD2D-C8324ECEC5A4}"/>
              </a:ext>
            </a:extLst>
          </p:cNvPr>
          <p:cNvSpPr>
            <a:spLocks noGrp="1"/>
          </p:cNvSpPr>
          <p:nvPr>
            <p:ph type="body" sz="quarter" idx="26" hasCustomPrompt="1"/>
          </p:nvPr>
        </p:nvSpPr>
        <p:spPr>
          <a:xfrm>
            <a:off x="617695"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3" name="Text Placeholder 19">
            <a:extLst>
              <a:ext uri="{FF2B5EF4-FFF2-40B4-BE49-F238E27FC236}">
                <a16:creationId xmlns:a16="http://schemas.microsoft.com/office/drawing/2014/main" id="{4947792F-0DDD-C94E-AC96-42A6AA381FB4}"/>
              </a:ext>
            </a:extLst>
          </p:cNvPr>
          <p:cNvSpPr>
            <a:spLocks noGrp="1"/>
          </p:cNvSpPr>
          <p:nvPr>
            <p:ph type="body" sz="quarter" idx="27" hasCustomPrompt="1"/>
          </p:nvPr>
        </p:nvSpPr>
        <p:spPr>
          <a:xfrm>
            <a:off x="6172920"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29" name="Picture 28">
            <a:extLst>
              <a:ext uri="{FF2B5EF4-FFF2-40B4-BE49-F238E27FC236}">
                <a16:creationId xmlns:a16="http://schemas.microsoft.com/office/drawing/2014/main" id="{2E52530E-9C9E-F549-AE0A-3D223EEBB9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30" name="Straight Connector 29">
            <a:extLst>
              <a:ext uri="{FF2B5EF4-FFF2-40B4-BE49-F238E27FC236}">
                <a16:creationId xmlns:a16="http://schemas.microsoft.com/office/drawing/2014/main" id="{0E2711A6-77C8-AD4D-BBC3-FAB053629782}"/>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11266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Listing: 2Points+TOP7 poin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2287196"/>
            <a:ext cx="5039368" cy="3554804"/>
          </a:xfrm>
          <a:prstGeom prst="rect">
            <a:avLst/>
          </a:prstGeom>
        </p:spPr>
        <p:txBody>
          <a:bodyPr>
            <a:normAutofit/>
          </a:bodyPr>
          <a:lstStyle>
            <a:lvl1pPr marL="0" indent="0">
              <a:lnSpc>
                <a:spcPts val="2950"/>
              </a:lnSpc>
              <a:buSzPct val="70000"/>
              <a:buFont typeface="Symbol" pitchFamily="2" charset="2"/>
              <a:buNone/>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a:t>
            </a:r>
          </a:p>
          <a:p>
            <a:pPr lvl="0"/>
            <a:r>
              <a:rPr lang="en-US" dirty="0"/>
              <a:t>whole presentation</a:t>
            </a:r>
          </a:p>
          <a:p>
            <a:pPr lvl="0"/>
            <a:r>
              <a:rPr lang="en-US" dirty="0"/>
              <a:t>Whatever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2369859"/>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2339609"/>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2877859"/>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2847609"/>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385859"/>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3355609"/>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3893859"/>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3863609"/>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401859"/>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4371609"/>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4914656"/>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4884406"/>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422656"/>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392406"/>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sp>
        <p:nvSpPr>
          <p:cNvPr id="31" name="Content Placeholder 3">
            <a:extLst>
              <a:ext uri="{FF2B5EF4-FFF2-40B4-BE49-F238E27FC236}">
                <a16:creationId xmlns:a16="http://schemas.microsoft.com/office/drawing/2014/main" id="{7E6737C2-F7C3-E449-894B-68C55E676386}"/>
              </a:ext>
            </a:extLst>
          </p:cNvPr>
          <p:cNvSpPr>
            <a:spLocks noGrp="1"/>
          </p:cNvSpPr>
          <p:nvPr>
            <p:ph sz="half" idx="2" hasCustomPrompt="1"/>
          </p:nvPr>
        </p:nvSpPr>
        <p:spPr>
          <a:xfrm>
            <a:off x="6172200" y="2291712"/>
            <a:ext cx="5395912" cy="3550288"/>
          </a:xfrm>
          <a:prstGeom prst="rect">
            <a:avLst/>
          </a:prstGeom>
        </p:spPr>
        <p:txBody>
          <a:bodyPr/>
          <a:lstStyle>
            <a:lvl1pPr marL="228600" indent="-228600">
              <a:defRPr lang="en-US" sz="1800" b="0" i="0" kern="1200" dirty="0">
                <a:solidFill>
                  <a:srgbClr val="787875"/>
                </a:solidFill>
                <a:latin typeface="Gibson Light" panose="02000000000000000000" pitchFamily="2" charset="77"/>
                <a:ea typeface="+mn-ea"/>
                <a:cs typeface="+mn-cs"/>
              </a:defRPr>
            </a:lvl1pPr>
            <a:lvl2pPr marL="685800" indent="-228600">
              <a:defRPr lang="en-US" sz="1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dirty="0"/>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dirty="0"/>
              <a:t>Second level</a:t>
            </a:r>
          </a:p>
        </p:txBody>
      </p:sp>
      <p:sp>
        <p:nvSpPr>
          <p:cNvPr id="33" name="Text Placeholder 19">
            <a:extLst>
              <a:ext uri="{FF2B5EF4-FFF2-40B4-BE49-F238E27FC236}">
                <a16:creationId xmlns:a16="http://schemas.microsoft.com/office/drawing/2014/main" id="{4947792F-0DDD-C94E-AC96-42A6AA381FB4}"/>
              </a:ext>
            </a:extLst>
          </p:cNvPr>
          <p:cNvSpPr>
            <a:spLocks noGrp="1"/>
          </p:cNvSpPr>
          <p:nvPr>
            <p:ph type="body" sz="quarter" idx="27" hasCustomPrompt="1"/>
          </p:nvPr>
        </p:nvSpPr>
        <p:spPr>
          <a:xfrm>
            <a:off x="6172920" y="1891811"/>
            <a:ext cx="5396399" cy="300087"/>
          </a:xfrm>
          <a:prstGeom prst="rect">
            <a:avLst/>
          </a:prstGeom>
        </p:spPr>
        <p:txBody>
          <a:bodyPr anchor="ctr">
            <a:noAutofit/>
          </a:bodyPr>
          <a:lstStyle>
            <a:lvl1pPr marL="0" indent="0">
              <a:lnSpc>
                <a:spcPct val="100000"/>
              </a:lnSpc>
              <a:buNone/>
              <a:defRPr lang="de-DE" sz="2400" b="0" i="0" kern="1200" noProof="0" dirty="0">
                <a:solidFill>
                  <a:srgbClr val="00A9E0"/>
                </a:solidFill>
                <a:latin typeface="Gibson Light" panose="02000000000000000000" pitchFamily="2" charset="77"/>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0" name="Title 1">
            <a:extLst>
              <a:ext uri="{FF2B5EF4-FFF2-40B4-BE49-F238E27FC236}">
                <a16:creationId xmlns:a16="http://schemas.microsoft.com/office/drawing/2014/main" id="{E1AF765D-9683-DF4C-8D75-51FFC6D6F866}"/>
              </a:ext>
            </a:extLst>
          </p:cNvPr>
          <p:cNvSpPr>
            <a:spLocks noGrp="1"/>
          </p:cNvSpPr>
          <p:nvPr>
            <p:ph type="title"/>
          </p:nvPr>
        </p:nvSpPr>
        <p:spPr>
          <a:xfrm>
            <a:off x="617693" y="454283"/>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34" name="Text Placeholder 19">
            <a:extLst>
              <a:ext uri="{FF2B5EF4-FFF2-40B4-BE49-F238E27FC236}">
                <a16:creationId xmlns:a16="http://schemas.microsoft.com/office/drawing/2014/main" id="{C0847ECB-A6E3-044C-BAAB-8A570D816B90}"/>
              </a:ext>
            </a:extLst>
          </p:cNvPr>
          <p:cNvSpPr>
            <a:spLocks noGrp="1"/>
          </p:cNvSpPr>
          <p:nvPr>
            <p:ph type="body" sz="quarter" idx="13" hasCustomPrompt="1"/>
          </p:nvPr>
        </p:nvSpPr>
        <p:spPr>
          <a:xfrm>
            <a:off x="617695" y="1891811"/>
            <a:ext cx="5396399"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29" name="Picture 28">
            <a:extLst>
              <a:ext uri="{FF2B5EF4-FFF2-40B4-BE49-F238E27FC236}">
                <a16:creationId xmlns:a16="http://schemas.microsoft.com/office/drawing/2014/main" id="{4A76AD7C-B9BB-774F-9ADD-439E6B21C5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32" name="Straight Connector 31">
            <a:extLst>
              <a:ext uri="{FF2B5EF4-FFF2-40B4-BE49-F238E27FC236}">
                <a16:creationId xmlns:a16="http://schemas.microsoft.com/office/drawing/2014/main" id="{5FE5345A-3F4D-9549-8E28-98ED38F9CFA5}"/>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8033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2911"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2915"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8" name="Content Placeholder 2">
            <a:extLst>
              <a:ext uri="{FF2B5EF4-FFF2-40B4-BE49-F238E27FC236}">
                <a16:creationId xmlns:a16="http://schemas.microsoft.com/office/drawing/2014/main" id="{CDF71F77-03EB-1346-B49B-10A51BB83ACB}"/>
              </a:ext>
            </a:extLst>
          </p:cNvPr>
          <p:cNvSpPr>
            <a:spLocks noGrp="1"/>
          </p:cNvSpPr>
          <p:nvPr>
            <p:ph idx="1" hasCustomPrompt="1"/>
          </p:nvPr>
        </p:nvSpPr>
        <p:spPr>
          <a:xfrm>
            <a:off x="620710"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p:txBody>
      </p:sp>
      <p:sp>
        <p:nvSpPr>
          <p:cNvPr id="32" name="Content Placeholder 2">
            <a:extLst>
              <a:ext uri="{FF2B5EF4-FFF2-40B4-BE49-F238E27FC236}">
                <a16:creationId xmlns:a16="http://schemas.microsoft.com/office/drawing/2014/main" id="{21866DAB-E4AF-B043-B044-1E29C1D8D9A3}"/>
              </a:ext>
            </a:extLst>
          </p:cNvPr>
          <p:cNvSpPr>
            <a:spLocks noGrp="1"/>
          </p:cNvSpPr>
          <p:nvPr>
            <p:ph idx="37" hasCustomPrompt="1"/>
          </p:nvPr>
        </p:nvSpPr>
        <p:spPr>
          <a:xfrm>
            <a:off x="3480642"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p:txBody>
      </p:sp>
      <p:sp>
        <p:nvSpPr>
          <p:cNvPr id="33" name="Content Placeholder 2">
            <a:extLst>
              <a:ext uri="{FF2B5EF4-FFF2-40B4-BE49-F238E27FC236}">
                <a16:creationId xmlns:a16="http://schemas.microsoft.com/office/drawing/2014/main" id="{C90DAF5A-AE06-C647-9A81-A94C85251578}"/>
              </a:ext>
            </a:extLst>
          </p:cNvPr>
          <p:cNvSpPr>
            <a:spLocks noGrp="1"/>
          </p:cNvSpPr>
          <p:nvPr>
            <p:ph idx="38" hasCustomPrompt="1"/>
          </p:nvPr>
        </p:nvSpPr>
        <p:spPr>
          <a:xfrm>
            <a:off x="6369757"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p:txBody>
      </p:sp>
      <p:sp>
        <p:nvSpPr>
          <p:cNvPr id="34" name="Content Placeholder 2">
            <a:extLst>
              <a:ext uri="{FF2B5EF4-FFF2-40B4-BE49-F238E27FC236}">
                <a16:creationId xmlns:a16="http://schemas.microsoft.com/office/drawing/2014/main" id="{4ACA85C4-4370-2A42-80F6-914559227EFF}"/>
              </a:ext>
            </a:extLst>
          </p:cNvPr>
          <p:cNvSpPr>
            <a:spLocks noGrp="1"/>
          </p:cNvSpPr>
          <p:nvPr>
            <p:ph idx="39" hasCustomPrompt="1"/>
          </p:nvPr>
        </p:nvSpPr>
        <p:spPr>
          <a:xfrm>
            <a:off x="9229689"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p:txBody>
      </p:sp>
      <p:sp>
        <p:nvSpPr>
          <p:cNvPr id="35" name="Text Placeholder 19">
            <a:extLst>
              <a:ext uri="{FF2B5EF4-FFF2-40B4-BE49-F238E27FC236}">
                <a16:creationId xmlns:a16="http://schemas.microsoft.com/office/drawing/2014/main" id="{A89994AA-F55D-DF4A-B551-3108D79E1326}"/>
              </a:ext>
            </a:extLst>
          </p:cNvPr>
          <p:cNvSpPr>
            <a:spLocks noGrp="1"/>
          </p:cNvSpPr>
          <p:nvPr>
            <p:ph type="body" sz="quarter" idx="26" hasCustomPrompt="1"/>
          </p:nvPr>
        </p:nvSpPr>
        <p:spPr>
          <a:xfrm>
            <a:off x="617695"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6" name="Text Placeholder 19">
            <a:extLst>
              <a:ext uri="{FF2B5EF4-FFF2-40B4-BE49-F238E27FC236}">
                <a16:creationId xmlns:a16="http://schemas.microsoft.com/office/drawing/2014/main" id="{EE6829B0-CEA0-2A4F-A28E-D9E38408055B}"/>
              </a:ext>
            </a:extLst>
          </p:cNvPr>
          <p:cNvSpPr>
            <a:spLocks noGrp="1"/>
          </p:cNvSpPr>
          <p:nvPr>
            <p:ph type="body" sz="quarter" idx="40" hasCustomPrompt="1"/>
          </p:nvPr>
        </p:nvSpPr>
        <p:spPr>
          <a:xfrm>
            <a:off x="3478882"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7" name="Text Placeholder 19">
            <a:extLst>
              <a:ext uri="{FF2B5EF4-FFF2-40B4-BE49-F238E27FC236}">
                <a16:creationId xmlns:a16="http://schemas.microsoft.com/office/drawing/2014/main" id="{7FFCA151-D20D-CD49-A6DA-8FC7439479FC}"/>
              </a:ext>
            </a:extLst>
          </p:cNvPr>
          <p:cNvSpPr>
            <a:spLocks noGrp="1"/>
          </p:cNvSpPr>
          <p:nvPr>
            <p:ph type="body" sz="quarter" idx="41" hasCustomPrompt="1"/>
          </p:nvPr>
        </p:nvSpPr>
        <p:spPr>
          <a:xfrm>
            <a:off x="6369566"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8" name="Text Placeholder 19">
            <a:extLst>
              <a:ext uri="{FF2B5EF4-FFF2-40B4-BE49-F238E27FC236}">
                <a16:creationId xmlns:a16="http://schemas.microsoft.com/office/drawing/2014/main" id="{7CC0F432-FB69-754B-9B28-B2768DE6562B}"/>
              </a:ext>
            </a:extLst>
          </p:cNvPr>
          <p:cNvSpPr>
            <a:spLocks noGrp="1"/>
          </p:cNvSpPr>
          <p:nvPr>
            <p:ph type="body" sz="quarter" idx="42" hasCustomPrompt="1"/>
          </p:nvPr>
        </p:nvSpPr>
        <p:spPr>
          <a:xfrm>
            <a:off x="9230753"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17" name="Picture 16">
            <a:extLst>
              <a:ext uri="{FF2B5EF4-FFF2-40B4-BE49-F238E27FC236}">
                <a16:creationId xmlns:a16="http://schemas.microsoft.com/office/drawing/2014/main" id="{8FA595AB-647D-DA43-8864-389F24C325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8" name="Straight Connector 17">
            <a:extLst>
              <a:ext uri="{FF2B5EF4-FFF2-40B4-BE49-F238E27FC236}">
                <a16:creationId xmlns:a16="http://schemas.microsoft.com/office/drawing/2014/main" id="{83E50996-7664-AB4D-B69D-107B17D103CB}"/>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48687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7" name="Content Placeholder 2">
            <a:extLst>
              <a:ext uri="{FF2B5EF4-FFF2-40B4-BE49-F238E27FC236}">
                <a16:creationId xmlns:a16="http://schemas.microsoft.com/office/drawing/2014/main" id="{9819941D-7B0D-924D-B7F6-45A6F921F9A8}"/>
              </a:ext>
            </a:extLst>
          </p:cNvPr>
          <p:cNvSpPr>
            <a:spLocks noGrp="1"/>
          </p:cNvSpPr>
          <p:nvPr>
            <p:ph idx="1" hasCustomPrompt="1"/>
          </p:nvPr>
        </p:nvSpPr>
        <p:spPr>
          <a:xfrm>
            <a:off x="61769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sp>
        <p:nvSpPr>
          <p:cNvPr id="18" name="Title 1">
            <a:extLst>
              <a:ext uri="{FF2B5EF4-FFF2-40B4-BE49-F238E27FC236}">
                <a16:creationId xmlns:a16="http://schemas.microsoft.com/office/drawing/2014/main" id="{92983D14-024B-E64E-9A32-D7ECA3EA1E02}"/>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19" name="Text Placeholder 19">
            <a:extLst>
              <a:ext uri="{FF2B5EF4-FFF2-40B4-BE49-F238E27FC236}">
                <a16:creationId xmlns:a16="http://schemas.microsoft.com/office/drawing/2014/main" id="{0E09045A-7B47-4D45-AB1E-84643EB4333A}"/>
              </a:ext>
            </a:extLst>
          </p:cNvPr>
          <p:cNvSpPr>
            <a:spLocks noGrp="1"/>
          </p:cNvSpPr>
          <p:nvPr>
            <p:ph type="body" sz="quarter" idx="13" hasCustomPrompt="1"/>
          </p:nvPr>
        </p:nvSpPr>
        <p:spPr>
          <a:xfrm>
            <a:off x="61769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0" name="Content Placeholder 2">
            <a:extLst>
              <a:ext uri="{FF2B5EF4-FFF2-40B4-BE49-F238E27FC236}">
                <a16:creationId xmlns:a16="http://schemas.microsoft.com/office/drawing/2014/main" id="{35D9DF33-216F-0E47-8D95-B729C84EF681}"/>
              </a:ext>
            </a:extLst>
          </p:cNvPr>
          <p:cNvSpPr>
            <a:spLocks noGrp="1"/>
          </p:cNvSpPr>
          <p:nvPr>
            <p:ph idx="37" hasCustomPrompt="1"/>
          </p:nvPr>
        </p:nvSpPr>
        <p:spPr>
          <a:xfrm>
            <a:off x="348281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sp>
        <p:nvSpPr>
          <p:cNvPr id="21" name="Text Placeholder 19">
            <a:extLst>
              <a:ext uri="{FF2B5EF4-FFF2-40B4-BE49-F238E27FC236}">
                <a16:creationId xmlns:a16="http://schemas.microsoft.com/office/drawing/2014/main" id="{CB381CE9-ADB1-244D-938F-3BF56CDEE745}"/>
              </a:ext>
            </a:extLst>
          </p:cNvPr>
          <p:cNvSpPr>
            <a:spLocks noGrp="1"/>
          </p:cNvSpPr>
          <p:nvPr>
            <p:ph type="body" sz="quarter" idx="38" hasCustomPrompt="1"/>
          </p:nvPr>
        </p:nvSpPr>
        <p:spPr>
          <a:xfrm>
            <a:off x="348281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28" name="Content Placeholder 2">
            <a:extLst>
              <a:ext uri="{FF2B5EF4-FFF2-40B4-BE49-F238E27FC236}">
                <a16:creationId xmlns:a16="http://schemas.microsoft.com/office/drawing/2014/main" id="{08EA2A2A-2240-5F4C-B099-AA8FBE1A7E92}"/>
              </a:ext>
            </a:extLst>
          </p:cNvPr>
          <p:cNvSpPr>
            <a:spLocks noGrp="1"/>
          </p:cNvSpPr>
          <p:nvPr>
            <p:ph idx="39" hasCustomPrompt="1"/>
          </p:nvPr>
        </p:nvSpPr>
        <p:spPr>
          <a:xfrm>
            <a:off x="634793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sp>
        <p:nvSpPr>
          <p:cNvPr id="29" name="Text Placeholder 19">
            <a:extLst>
              <a:ext uri="{FF2B5EF4-FFF2-40B4-BE49-F238E27FC236}">
                <a16:creationId xmlns:a16="http://schemas.microsoft.com/office/drawing/2014/main" id="{D18FD1BE-5D33-9541-8D27-AD219FFD9515}"/>
              </a:ext>
            </a:extLst>
          </p:cNvPr>
          <p:cNvSpPr>
            <a:spLocks noGrp="1"/>
          </p:cNvSpPr>
          <p:nvPr>
            <p:ph type="body" sz="quarter" idx="40" hasCustomPrompt="1"/>
          </p:nvPr>
        </p:nvSpPr>
        <p:spPr>
          <a:xfrm>
            <a:off x="634793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0" name="Content Placeholder 2">
            <a:extLst>
              <a:ext uri="{FF2B5EF4-FFF2-40B4-BE49-F238E27FC236}">
                <a16:creationId xmlns:a16="http://schemas.microsoft.com/office/drawing/2014/main" id="{4A1963F5-68ED-A44A-B7DA-BC6E24CAE4D6}"/>
              </a:ext>
            </a:extLst>
          </p:cNvPr>
          <p:cNvSpPr>
            <a:spLocks noGrp="1"/>
          </p:cNvSpPr>
          <p:nvPr>
            <p:ph idx="41" hasCustomPrompt="1"/>
          </p:nvPr>
        </p:nvSpPr>
        <p:spPr>
          <a:xfrm>
            <a:off x="921305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Click to edit Master text styles</a:t>
            </a:r>
          </a:p>
          <a:p>
            <a:pPr lvl="1"/>
            <a:r>
              <a:rPr lang="en-US" dirty="0"/>
              <a:t>Second level</a:t>
            </a:r>
          </a:p>
          <a:p>
            <a:pPr lvl="2"/>
            <a:r>
              <a:rPr lang="en-US" dirty="0"/>
              <a:t>Third Level</a:t>
            </a:r>
          </a:p>
        </p:txBody>
      </p:sp>
      <p:sp>
        <p:nvSpPr>
          <p:cNvPr id="31" name="Text Placeholder 19">
            <a:extLst>
              <a:ext uri="{FF2B5EF4-FFF2-40B4-BE49-F238E27FC236}">
                <a16:creationId xmlns:a16="http://schemas.microsoft.com/office/drawing/2014/main" id="{2A8CD0F6-4EAE-8446-BC96-2278C63AA8D0}"/>
              </a:ext>
            </a:extLst>
          </p:cNvPr>
          <p:cNvSpPr>
            <a:spLocks noGrp="1"/>
          </p:cNvSpPr>
          <p:nvPr>
            <p:ph type="body" sz="quarter" idx="42" hasCustomPrompt="1"/>
          </p:nvPr>
        </p:nvSpPr>
        <p:spPr>
          <a:xfrm>
            <a:off x="921305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16" name="Picture 15">
            <a:extLst>
              <a:ext uri="{FF2B5EF4-FFF2-40B4-BE49-F238E27FC236}">
                <a16:creationId xmlns:a16="http://schemas.microsoft.com/office/drawing/2014/main" id="{7CC1344F-2623-4948-8758-327CA0C8BE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2" name="Straight Connector 21">
            <a:extLst>
              <a:ext uri="{FF2B5EF4-FFF2-40B4-BE49-F238E27FC236}">
                <a16:creationId xmlns:a16="http://schemas.microsoft.com/office/drawing/2014/main" id="{A485A8EF-D35B-8348-B5B9-F4A8F329B1E6}"/>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90515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Numbered 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2145365"/>
            <a:ext cx="293670" cy="461664"/>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1</a:t>
            </a:r>
            <a:endParaRPr lang="en-US" sz="2400" dirty="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2136739"/>
            <a:ext cx="338554" cy="461664"/>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2</a:t>
            </a:r>
            <a:endParaRPr lang="en-US" sz="2400" dirty="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2148712"/>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542311"/>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2145365"/>
            <a:ext cx="338554" cy="461665"/>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3</a:t>
            </a:r>
            <a:endParaRPr lang="en-US" sz="2400" dirty="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2140086"/>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2136739"/>
            <a:ext cx="338554" cy="461665"/>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4</a:t>
            </a:r>
            <a:endParaRPr lang="en-US" sz="2400" dirty="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C784D1CF-3DCC-5D42-A479-884075BAD915}"/>
              </a:ext>
            </a:extLst>
          </p:cNvPr>
          <p:cNvSpPr>
            <a:spLocks noGrp="1"/>
          </p:cNvSpPr>
          <p:nvPr>
            <p:ph idx="1" hasCustomPrompt="1"/>
          </p:nvPr>
        </p:nvSpPr>
        <p:spPr>
          <a:xfrm>
            <a:off x="6481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0" name="Content Placeholder 2">
            <a:extLst>
              <a:ext uri="{FF2B5EF4-FFF2-40B4-BE49-F238E27FC236}">
                <a16:creationId xmlns:a16="http://schemas.microsoft.com/office/drawing/2014/main" id="{945449B0-7F6A-EB42-92CC-F4D1FD639AE0}"/>
              </a:ext>
            </a:extLst>
          </p:cNvPr>
          <p:cNvSpPr>
            <a:spLocks noGrp="1"/>
          </p:cNvSpPr>
          <p:nvPr>
            <p:ph idx="33" hasCustomPrompt="1"/>
          </p:nvPr>
        </p:nvSpPr>
        <p:spPr>
          <a:xfrm>
            <a:off x="349949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1" name="Content Placeholder 2">
            <a:extLst>
              <a:ext uri="{FF2B5EF4-FFF2-40B4-BE49-F238E27FC236}">
                <a16:creationId xmlns:a16="http://schemas.microsoft.com/office/drawing/2014/main" id="{159D94B7-DC41-564E-A436-172B8D1360CF}"/>
              </a:ext>
            </a:extLst>
          </p:cNvPr>
          <p:cNvSpPr>
            <a:spLocks noGrp="1"/>
          </p:cNvSpPr>
          <p:nvPr>
            <p:ph idx="34" hasCustomPrompt="1"/>
          </p:nvPr>
        </p:nvSpPr>
        <p:spPr>
          <a:xfrm>
            <a:off x="633118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2" name="Content Placeholder 2">
            <a:extLst>
              <a:ext uri="{FF2B5EF4-FFF2-40B4-BE49-F238E27FC236}">
                <a16:creationId xmlns:a16="http://schemas.microsoft.com/office/drawing/2014/main" id="{1835E241-DF8C-2946-B874-086E5DC31CA5}"/>
              </a:ext>
            </a:extLst>
          </p:cNvPr>
          <p:cNvSpPr>
            <a:spLocks noGrp="1"/>
          </p:cNvSpPr>
          <p:nvPr>
            <p:ph idx="35" hasCustomPrompt="1"/>
          </p:nvPr>
        </p:nvSpPr>
        <p:spPr>
          <a:xfrm>
            <a:off x="91825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3" name="Text Placeholder 19">
            <a:extLst>
              <a:ext uri="{FF2B5EF4-FFF2-40B4-BE49-F238E27FC236}">
                <a16:creationId xmlns:a16="http://schemas.microsoft.com/office/drawing/2014/main" id="{609176E0-FA74-9A4A-9F72-44DD42E13A08}"/>
              </a:ext>
            </a:extLst>
          </p:cNvPr>
          <p:cNvSpPr>
            <a:spLocks noGrp="1"/>
          </p:cNvSpPr>
          <p:nvPr>
            <p:ph type="body" sz="quarter" idx="26" hasCustomPrompt="1"/>
          </p:nvPr>
        </p:nvSpPr>
        <p:spPr>
          <a:xfrm>
            <a:off x="649100"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4" name="Text Placeholder 19">
            <a:extLst>
              <a:ext uri="{FF2B5EF4-FFF2-40B4-BE49-F238E27FC236}">
                <a16:creationId xmlns:a16="http://schemas.microsoft.com/office/drawing/2014/main" id="{D1624948-A3AD-B145-AEB1-98655E3A895D}"/>
              </a:ext>
            </a:extLst>
          </p:cNvPr>
          <p:cNvSpPr>
            <a:spLocks noGrp="1"/>
          </p:cNvSpPr>
          <p:nvPr>
            <p:ph type="body" sz="quarter" idx="41" hasCustomPrompt="1"/>
          </p:nvPr>
        </p:nvSpPr>
        <p:spPr>
          <a:xfrm>
            <a:off x="3495667"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5" name="Text Placeholder 19">
            <a:extLst>
              <a:ext uri="{FF2B5EF4-FFF2-40B4-BE49-F238E27FC236}">
                <a16:creationId xmlns:a16="http://schemas.microsoft.com/office/drawing/2014/main" id="{23C7B9BE-3267-4C4A-A2A0-C6678AB826EC}"/>
              </a:ext>
            </a:extLst>
          </p:cNvPr>
          <p:cNvSpPr>
            <a:spLocks noGrp="1"/>
          </p:cNvSpPr>
          <p:nvPr>
            <p:ph type="body" sz="quarter" idx="42" hasCustomPrompt="1"/>
          </p:nvPr>
        </p:nvSpPr>
        <p:spPr>
          <a:xfrm>
            <a:off x="6342234"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6" name="Text Placeholder 19">
            <a:extLst>
              <a:ext uri="{FF2B5EF4-FFF2-40B4-BE49-F238E27FC236}">
                <a16:creationId xmlns:a16="http://schemas.microsoft.com/office/drawing/2014/main" id="{8A5576B1-0E3D-3D42-A825-78FA27D4A270}"/>
              </a:ext>
            </a:extLst>
          </p:cNvPr>
          <p:cNvSpPr>
            <a:spLocks noGrp="1"/>
          </p:cNvSpPr>
          <p:nvPr>
            <p:ph type="body" sz="quarter" idx="43" hasCustomPrompt="1"/>
          </p:nvPr>
        </p:nvSpPr>
        <p:spPr>
          <a:xfrm>
            <a:off x="9188801"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38" name="Picture 37">
            <a:extLst>
              <a:ext uri="{FF2B5EF4-FFF2-40B4-BE49-F238E27FC236}">
                <a16:creationId xmlns:a16="http://schemas.microsoft.com/office/drawing/2014/main" id="{928A7F60-7B22-F744-895F-EDB82336C1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39" name="Straight Connector 38">
            <a:extLst>
              <a:ext uri="{FF2B5EF4-FFF2-40B4-BE49-F238E27FC236}">
                <a16:creationId xmlns:a16="http://schemas.microsoft.com/office/drawing/2014/main" id="{010E5552-9B77-744C-BC38-C288E6D76A30}"/>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56270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Numbered Listing: 4Points">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696F0FF-6D84-834C-8F42-D56926E368AD}"/>
              </a:ext>
            </a:extLst>
          </p:cNvPr>
          <p:cNvSpPr>
            <a:spLocks noGrp="1"/>
          </p:cNvSpPr>
          <p:nvPr>
            <p:ph idx="1" hasCustomPrompt="1"/>
          </p:nvPr>
        </p:nvSpPr>
        <p:spPr>
          <a:xfrm>
            <a:off x="648142"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a:p>
            <a:pPr lvl="2"/>
            <a:r>
              <a:rPr lang="en-US" dirty="0"/>
              <a:t>Third Level</a:t>
            </a:r>
          </a:p>
        </p:txBody>
      </p:sp>
      <p:sp>
        <p:nvSpPr>
          <p:cNvPr id="40" name="Text Placeholder 19">
            <a:extLst>
              <a:ext uri="{FF2B5EF4-FFF2-40B4-BE49-F238E27FC236}">
                <a16:creationId xmlns:a16="http://schemas.microsoft.com/office/drawing/2014/main" id="{8DC38367-9887-F543-A0A1-B066F0454454}"/>
              </a:ext>
            </a:extLst>
          </p:cNvPr>
          <p:cNvSpPr>
            <a:spLocks noGrp="1"/>
          </p:cNvSpPr>
          <p:nvPr>
            <p:ph type="body" sz="quarter" idx="34" hasCustomPrompt="1"/>
          </p:nvPr>
        </p:nvSpPr>
        <p:spPr>
          <a:xfrm>
            <a:off x="648143"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1892523"/>
            <a:ext cx="293670" cy="461664"/>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1</a:t>
            </a:r>
            <a:endParaRPr lang="en-US" sz="2400" dirty="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1883897"/>
            <a:ext cx="338554" cy="461664"/>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2</a:t>
            </a:r>
            <a:endParaRPr lang="en-US" sz="2400" dirty="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1895870"/>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289469"/>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1892523"/>
            <a:ext cx="338554" cy="461665"/>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3</a:t>
            </a:r>
            <a:endParaRPr lang="en-US" sz="2400" dirty="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1887244"/>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1883897"/>
            <a:ext cx="338554" cy="461665"/>
          </a:xfrm>
          <a:prstGeom prst="rect">
            <a:avLst/>
          </a:prstGeom>
          <a:noFill/>
        </p:spPr>
        <p:txBody>
          <a:bodyPr wrap="none" rtlCol="0">
            <a:spAutoFit/>
          </a:bodyPr>
          <a:lstStyle/>
          <a:p>
            <a:r>
              <a:rPr lang="en-US" sz="2400" spc="-150" dirty="0">
                <a:solidFill>
                  <a:schemeClr val="bg1"/>
                </a:solidFill>
                <a:latin typeface="Gibson Light" charset="0"/>
                <a:ea typeface="Gibson Light" charset="0"/>
                <a:cs typeface="Gibson Light" charset="0"/>
              </a:rPr>
              <a:t>4</a:t>
            </a:r>
            <a:endParaRPr lang="en-US" sz="2400" dirty="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70502F7D-BCA4-DF4A-B6F1-8EB9F03647A9}"/>
              </a:ext>
            </a:extLst>
          </p:cNvPr>
          <p:cNvSpPr>
            <a:spLocks noGrp="1"/>
          </p:cNvSpPr>
          <p:nvPr>
            <p:ph idx="35" hasCustomPrompt="1"/>
          </p:nvPr>
        </p:nvSpPr>
        <p:spPr>
          <a:xfrm>
            <a:off x="3489064"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a:p>
            <a:pPr lvl="2"/>
            <a:r>
              <a:rPr lang="en-US" dirty="0"/>
              <a:t>Third Level</a:t>
            </a:r>
          </a:p>
        </p:txBody>
      </p:sp>
      <p:sp>
        <p:nvSpPr>
          <p:cNvPr id="49" name="Text Placeholder 19">
            <a:extLst>
              <a:ext uri="{FF2B5EF4-FFF2-40B4-BE49-F238E27FC236}">
                <a16:creationId xmlns:a16="http://schemas.microsoft.com/office/drawing/2014/main" id="{E82954F1-73C2-E44C-B795-DA3EBA4B1E6D}"/>
              </a:ext>
            </a:extLst>
          </p:cNvPr>
          <p:cNvSpPr>
            <a:spLocks noGrp="1"/>
          </p:cNvSpPr>
          <p:nvPr>
            <p:ph type="body" sz="quarter" idx="36" hasCustomPrompt="1"/>
          </p:nvPr>
        </p:nvSpPr>
        <p:spPr>
          <a:xfrm>
            <a:off x="3489065"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0" name="Content Placeholder 2">
            <a:extLst>
              <a:ext uri="{FF2B5EF4-FFF2-40B4-BE49-F238E27FC236}">
                <a16:creationId xmlns:a16="http://schemas.microsoft.com/office/drawing/2014/main" id="{7B134228-FAB6-D44B-BA04-9233836EBCC0}"/>
              </a:ext>
            </a:extLst>
          </p:cNvPr>
          <p:cNvSpPr>
            <a:spLocks noGrp="1"/>
          </p:cNvSpPr>
          <p:nvPr>
            <p:ph idx="37" hasCustomPrompt="1"/>
          </p:nvPr>
        </p:nvSpPr>
        <p:spPr>
          <a:xfrm>
            <a:off x="6336966"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a:p>
            <a:pPr lvl="2"/>
            <a:r>
              <a:rPr lang="en-US" dirty="0"/>
              <a:t>Third Level</a:t>
            </a:r>
          </a:p>
        </p:txBody>
      </p:sp>
      <p:sp>
        <p:nvSpPr>
          <p:cNvPr id="51" name="Text Placeholder 19">
            <a:extLst>
              <a:ext uri="{FF2B5EF4-FFF2-40B4-BE49-F238E27FC236}">
                <a16:creationId xmlns:a16="http://schemas.microsoft.com/office/drawing/2014/main" id="{6863A3B0-3023-7147-8329-3E4D3F2E8C4A}"/>
              </a:ext>
            </a:extLst>
          </p:cNvPr>
          <p:cNvSpPr>
            <a:spLocks noGrp="1"/>
          </p:cNvSpPr>
          <p:nvPr>
            <p:ph type="body" sz="quarter" idx="38" hasCustomPrompt="1"/>
          </p:nvPr>
        </p:nvSpPr>
        <p:spPr>
          <a:xfrm>
            <a:off x="6336967"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2" name="Content Placeholder 2">
            <a:extLst>
              <a:ext uri="{FF2B5EF4-FFF2-40B4-BE49-F238E27FC236}">
                <a16:creationId xmlns:a16="http://schemas.microsoft.com/office/drawing/2014/main" id="{2BB795D0-6C15-EB43-9C1F-13F7BFF1FCBC}"/>
              </a:ext>
            </a:extLst>
          </p:cNvPr>
          <p:cNvSpPr>
            <a:spLocks noGrp="1"/>
          </p:cNvSpPr>
          <p:nvPr>
            <p:ph idx="39" hasCustomPrompt="1"/>
          </p:nvPr>
        </p:nvSpPr>
        <p:spPr>
          <a:xfrm>
            <a:off x="9184869"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a:p>
            <a:pPr lvl="2"/>
            <a:r>
              <a:rPr lang="en-US" dirty="0"/>
              <a:t>Third Level</a:t>
            </a:r>
          </a:p>
        </p:txBody>
      </p:sp>
      <p:sp>
        <p:nvSpPr>
          <p:cNvPr id="53" name="Text Placeholder 19">
            <a:extLst>
              <a:ext uri="{FF2B5EF4-FFF2-40B4-BE49-F238E27FC236}">
                <a16:creationId xmlns:a16="http://schemas.microsoft.com/office/drawing/2014/main" id="{9EAD9ADD-5928-914D-A66B-1E1C48132204}"/>
              </a:ext>
            </a:extLst>
          </p:cNvPr>
          <p:cNvSpPr>
            <a:spLocks noGrp="1"/>
          </p:cNvSpPr>
          <p:nvPr>
            <p:ph type="body" sz="quarter" idx="40" hasCustomPrompt="1"/>
          </p:nvPr>
        </p:nvSpPr>
        <p:spPr>
          <a:xfrm>
            <a:off x="9184870"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4" name="Title 1">
            <a:extLst>
              <a:ext uri="{FF2B5EF4-FFF2-40B4-BE49-F238E27FC236}">
                <a16:creationId xmlns:a16="http://schemas.microsoft.com/office/drawing/2014/main" id="{D8C69FA7-2287-A24F-B458-9527A8478ED8}"/>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pic>
        <p:nvPicPr>
          <p:cNvPr id="39" name="Picture 38">
            <a:extLst>
              <a:ext uri="{FF2B5EF4-FFF2-40B4-BE49-F238E27FC236}">
                <a16:creationId xmlns:a16="http://schemas.microsoft.com/office/drawing/2014/main" id="{5A3383A8-1C0B-0F40-BADD-631F59071EC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42" name="Straight Connector 41">
            <a:extLst>
              <a:ext uri="{FF2B5EF4-FFF2-40B4-BE49-F238E27FC236}">
                <a16:creationId xmlns:a16="http://schemas.microsoft.com/office/drawing/2014/main" id="{7A168250-9A4C-1F4E-8FC9-4C5C641AFBDE}"/>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57120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36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solidFill>
                <a:schemeClr val="bg1"/>
              </a:solidFill>
              <a:latin typeface="Calibri Light" panose="020F0302020204030204" pitchFamily="34" charset="0"/>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bg1"/>
                </a:solidFill>
                <a:latin typeface="Calibri Light" panose="020F0302020204030204" pitchFamily="34" charset="0"/>
                <a:cs typeface="72 Black" panose="020B0A04030603020204" pitchFamily="34" charset="0"/>
              </a:defRPr>
            </a:lvl1pPr>
          </a:lstStyle>
          <a:p>
            <a:r>
              <a:rPr lang="en-GB" noProof="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18" name="Freeform 5">
            <a:extLst>
              <a:ext uri="{FF2B5EF4-FFF2-40B4-BE49-F238E27FC236}">
                <a16:creationId xmlns:a16="http://schemas.microsoft.com/office/drawing/2014/main" id="{87CD2232-1DA9-4A1D-9AE6-3DC16992A0B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65969793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con/Imagery Listing: 4Points">
    <p:spTree>
      <p:nvGrpSpPr>
        <p:cNvPr id="1" name=""/>
        <p:cNvGrpSpPr/>
        <p:nvPr/>
      </p:nvGrpSpPr>
      <p:grpSpPr>
        <a:xfrm>
          <a:off x="0" y="0"/>
          <a:ext cx="0" cy="0"/>
          <a:chOff x="0" y="0"/>
          <a:chExt cx="0" cy="0"/>
        </a:xfrm>
      </p:grpSpPr>
      <p:sp>
        <p:nvSpPr>
          <p:cNvPr id="66" name="Picture Placeholder 93">
            <a:extLst>
              <a:ext uri="{FF2B5EF4-FFF2-40B4-BE49-F238E27FC236}">
                <a16:creationId xmlns:a16="http://schemas.microsoft.com/office/drawing/2014/main" id="{E1558217-4734-4D4F-83FA-77A7D2F8A663}"/>
              </a:ext>
            </a:extLst>
          </p:cNvPr>
          <p:cNvSpPr>
            <a:spLocks noGrp="1" noChangeAspect="1"/>
          </p:cNvSpPr>
          <p:nvPr>
            <p:ph type="pic" sz="quarter" idx="4294967295"/>
          </p:nvPr>
        </p:nvSpPr>
        <p:spPr>
          <a:xfrm>
            <a:off x="3922076" y="2134515"/>
            <a:ext cx="1490997" cy="1494032"/>
          </a:xfrm>
          <a:prstGeom prst="ellipse">
            <a:avLst/>
          </a:prstGeom>
          <a:solidFill>
            <a:srgbClr val="9BCAEC"/>
          </a:solidFill>
        </p:spPr>
      </p:sp>
      <p:sp>
        <p:nvSpPr>
          <p:cNvPr id="65" name="Picture Placeholder 93" title="Add Icon/Image">
            <a:extLst>
              <a:ext uri="{FF2B5EF4-FFF2-40B4-BE49-F238E27FC236}">
                <a16:creationId xmlns:a16="http://schemas.microsoft.com/office/drawing/2014/main" id="{C8B27250-75E6-9243-9915-85D4522FEE68}"/>
              </a:ext>
            </a:extLst>
          </p:cNvPr>
          <p:cNvSpPr>
            <a:spLocks noGrp="1" noChangeAspect="1"/>
          </p:cNvSpPr>
          <p:nvPr>
            <p:ph type="pic" sz="quarter" idx="4294967295"/>
          </p:nvPr>
        </p:nvSpPr>
        <p:spPr>
          <a:xfrm>
            <a:off x="1003948" y="2134515"/>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54" name="Content Placeholder 2">
            <a:extLst>
              <a:ext uri="{FF2B5EF4-FFF2-40B4-BE49-F238E27FC236}">
                <a16:creationId xmlns:a16="http://schemas.microsoft.com/office/drawing/2014/main" id="{AF906C51-C6DC-3F40-87B9-5DEB9C122516}"/>
              </a:ext>
            </a:extLst>
          </p:cNvPr>
          <p:cNvSpPr>
            <a:spLocks noGrp="1"/>
          </p:cNvSpPr>
          <p:nvPr>
            <p:ph idx="1" hasCustomPrompt="1"/>
          </p:nvPr>
        </p:nvSpPr>
        <p:spPr>
          <a:xfrm>
            <a:off x="648142"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6" name="Content Placeholder 2">
            <a:extLst>
              <a:ext uri="{FF2B5EF4-FFF2-40B4-BE49-F238E27FC236}">
                <a16:creationId xmlns:a16="http://schemas.microsoft.com/office/drawing/2014/main" id="{214F2940-0470-FC4F-93C4-B02EBF6B2397}"/>
              </a:ext>
            </a:extLst>
          </p:cNvPr>
          <p:cNvSpPr>
            <a:spLocks noGrp="1"/>
          </p:cNvSpPr>
          <p:nvPr>
            <p:ph idx="36" hasCustomPrompt="1"/>
          </p:nvPr>
        </p:nvSpPr>
        <p:spPr>
          <a:xfrm>
            <a:off x="3497477"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58" name="Content Placeholder 2">
            <a:extLst>
              <a:ext uri="{FF2B5EF4-FFF2-40B4-BE49-F238E27FC236}">
                <a16:creationId xmlns:a16="http://schemas.microsoft.com/office/drawing/2014/main" id="{D8AD99B1-B447-0346-BED0-F41094538201}"/>
              </a:ext>
            </a:extLst>
          </p:cNvPr>
          <p:cNvSpPr>
            <a:spLocks noGrp="1"/>
          </p:cNvSpPr>
          <p:nvPr>
            <p:ph idx="38" hasCustomPrompt="1"/>
          </p:nvPr>
        </p:nvSpPr>
        <p:spPr>
          <a:xfrm>
            <a:off x="6338649"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60" name="Content Placeholder 2">
            <a:extLst>
              <a:ext uri="{FF2B5EF4-FFF2-40B4-BE49-F238E27FC236}">
                <a16:creationId xmlns:a16="http://schemas.microsoft.com/office/drawing/2014/main" id="{3008B580-40C3-BC45-A408-E688E157CA0F}"/>
              </a:ext>
            </a:extLst>
          </p:cNvPr>
          <p:cNvSpPr>
            <a:spLocks noGrp="1"/>
          </p:cNvSpPr>
          <p:nvPr>
            <p:ph idx="40" hasCustomPrompt="1"/>
          </p:nvPr>
        </p:nvSpPr>
        <p:spPr>
          <a:xfrm>
            <a:off x="9187984"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61" name="Text Placeholder 19">
            <a:extLst>
              <a:ext uri="{FF2B5EF4-FFF2-40B4-BE49-F238E27FC236}">
                <a16:creationId xmlns:a16="http://schemas.microsoft.com/office/drawing/2014/main" id="{CDA7A999-5851-8742-A7A9-C3476D639699}"/>
              </a:ext>
            </a:extLst>
          </p:cNvPr>
          <p:cNvSpPr>
            <a:spLocks noGrp="1"/>
          </p:cNvSpPr>
          <p:nvPr>
            <p:ph type="body" sz="quarter" idx="26" hasCustomPrompt="1"/>
          </p:nvPr>
        </p:nvSpPr>
        <p:spPr>
          <a:xfrm>
            <a:off x="649100"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62" name="Text Placeholder 19">
            <a:extLst>
              <a:ext uri="{FF2B5EF4-FFF2-40B4-BE49-F238E27FC236}">
                <a16:creationId xmlns:a16="http://schemas.microsoft.com/office/drawing/2014/main" id="{DEABDEED-C306-5644-87C1-75DB5665031A}"/>
              </a:ext>
            </a:extLst>
          </p:cNvPr>
          <p:cNvSpPr>
            <a:spLocks noGrp="1"/>
          </p:cNvSpPr>
          <p:nvPr>
            <p:ph type="body" sz="quarter" idx="41" hasCustomPrompt="1"/>
          </p:nvPr>
        </p:nvSpPr>
        <p:spPr>
          <a:xfrm>
            <a:off x="3495667"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63" name="Text Placeholder 19">
            <a:extLst>
              <a:ext uri="{FF2B5EF4-FFF2-40B4-BE49-F238E27FC236}">
                <a16:creationId xmlns:a16="http://schemas.microsoft.com/office/drawing/2014/main" id="{E857B253-9278-5A41-B709-168AF868566E}"/>
              </a:ext>
            </a:extLst>
          </p:cNvPr>
          <p:cNvSpPr>
            <a:spLocks noGrp="1"/>
          </p:cNvSpPr>
          <p:nvPr>
            <p:ph type="body" sz="quarter" idx="42" hasCustomPrompt="1"/>
          </p:nvPr>
        </p:nvSpPr>
        <p:spPr>
          <a:xfrm>
            <a:off x="6342234"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64" name="Text Placeholder 19">
            <a:extLst>
              <a:ext uri="{FF2B5EF4-FFF2-40B4-BE49-F238E27FC236}">
                <a16:creationId xmlns:a16="http://schemas.microsoft.com/office/drawing/2014/main" id="{907C3038-298B-0B42-AA2F-7B33BF529724}"/>
              </a:ext>
            </a:extLst>
          </p:cNvPr>
          <p:cNvSpPr>
            <a:spLocks noGrp="1"/>
          </p:cNvSpPr>
          <p:nvPr>
            <p:ph type="body" sz="quarter" idx="43" hasCustomPrompt="1"/>
          </p:nvPr>
        </p:nvSpPr>
        <p:spPr>
          <a:xfrm>
            <a:off x="9188801"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67" name="Picture Placeholder 93">
            <a:extLst>
              <a:ext uri="{FF2B5EF4-FFF2-40B4-BE49-F238E27FC236}">
                <a16:creationId xmlns:a16="http://schemas.microsoft.com/office/drawing/2014/main" id="{E792C213-9B27-1148-BC62-B45CA676A5B2}"/>
              </a:ext>
            </a:extLst>
          </p:cNvPr>
          <p:cNvSpPr>
            <a:spLocks noGrp="1" noChangeAspect="1"/>
          </p:cNvSpPr>
          <p:nvPr>
            <p:ph type="pic" sz="quarter" idx="4294967295"/>
          </p:nvPr>
        </p:nvSpPr>
        <p:spPr>
          <a:xfrm>
            <a:off x="9631112" y="2134515"/>
            <a:ext cx="1490997" cy="1494032"/>
          </a:xfrm>
          <a:prstGeom prst="ellipse">
            <a:avLst/>
          </a:prstGeom>
          <a:solidFill>
            <a:srgbClr val="9BCAEC"/>
          </a:solidFill>
        </p:spPr>
      </p:sp>
      <p:sp>
        <p:nvSpPr>
          <p:cNvPr id="68" name="Picture Placeholder 93">
            <a:extLst>
              <a:ext uri="{FF2B5EF4-FFF2-40B4-BE49-F238E27FC236}">
                <a16:creationId xmlns:a16="http://schemas.microsoft.com/office/drawing/2014/main" id="{971F4B52-1AC2-1A46-BFB9-EFBE55019CFB}"/>
              </a:ext>
            </a:extLst>
          </p:cNvPr>
          <p:cNvSpPr>
            <a:spLocks noGrp="1" noChangeAspect="1"/>
          </p:cNvSpPr>
          <p:nvPr>
            <p:ph type="pic" sz="quarter" idx="4294967295"/>
          </p:nvPr>
        </p:nvSpPr>
        <p:spPr>
          <a:xfrm>
            <a:off x="6776594" y="2134515"/>
            <a:ext cx="1490997" cy="1494032"/>
          </a:xfrm>
          <a:prstGeom prst="ellipse">
            <a:avLst/>
          </a:prstGeom>
          <a:solidFill>
            <a:srgbClr val="9BCAEC"/>
          </a:solidFill>
        </p:spPr>
      </p:sp>
      <p:pic>
        <p:nvPicPr>
          <p:cNvPr id="21" name="Picture 20">
            <a:extLst>
              <a:ext uri="{FF2B5EF4-FFF2-40B4-BE49-F238E27FC236}">
                <a16:creationId xmlns:a16="http://schemas.microsoft.com/office/drawing/2014/main" id="{C2CAA37D-6C05-3949-AC8A-9A9FD9B361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2" name="Straight Connector 21">
            <a:extLst>
              <a:ext uri="{FF2B5EF4-FFF2-40B4-BE49-F238E27FC236}">
                <a16:creationId xmlns:a16="http://schemas.microsoft.com/office/drawing/2014/main" id="{A48CC045-3ACD-5849-B843-5923286C4AE6}"/>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36124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Icon/Imagery Listing: 4Points">
    <p:spTree>
      <p:nvGrpSpPr>
        <p:cNvPr id="1" name=""/>
        <p:cNvGrpSpPr/>
        <p:nvPr/>
      </p:nvGrpSpPr>
      <p:grpSpPr>
        <a:xfrm>
          <a:off x="0" y="0"/>
          <a:ext cx="0" cy="0"/>
          <a:chOff x="0" y="0"/>
          <a:chExt cx="0" cy="0"/>
        </a:xfrm>
      </p:grpSpPr>
      <p:sp>
        <p:nvSpPr>
          <p:cNvPr id="27" name="Picture Placeholder 93">
            <a:extLst>
              <a:ext uri="{FF2B5EF4-FFF2-40B4-BE49-F238E27FC236}">
                <a16:creationId xmlns:a16="http://schemas.microsoft.com/office/drawing/2014/main" id="{088304DB-1861-404E-82CA-739F8435799F}"/>
              </a:ext>
            </a:extLst>
          </p:cNvPr>
          <p:cNvSpPr>
            <a:spLocks noGrp="1" noChangeAspect="1"/>
          </p:cNvSpPr>
          <p:nvPr>
            <p:ph type="pic" sz="quarter" idx="4294967295"/>
          </p:nvPr>
        </p:nvSpPr>
        <p:spPr>
          <a:xfrm>
            <a:off x="3922076" y="1880036"/>
            <a:ext cx="1490997" cy="1494032"/>
          </a:xfrm>
          <a:prstGeom prst="ellipse">
            <a:avLst/>
          </a:prstGeom>
          <a:solidFill>
            <a:srgbClr val="9BCAEC"/>
          </a:solidFill>
        </p:spPr>
      </p:sp>
      <p:sp>
        <p:nvSpPr>
          <p:cNvPr id="28" name="Picture Placeholder 93">
            <a:extLst>
              <a:ext uri="{FF2B5EF4-FFF2-40B4-BE49-F238E27FC236}">
                <a16:creationId xmlns:a16="http://schemas.microsoft.com/office/drawing/2014/main" id="{6263F53F-2A95-F545-B511-19169FB75975}"/>
              </a:ext>
            </a:extLst>
          </p:cNvPr>
          <p:cNvSpPr>
            <a:spLocks noGrp="1" noChangeAspect="1"/>
          </p:cNvSpPr>
          <p:nvPr>
            <p:ph type="pic" sz="quarter" idx="4294967295"/>
          </p:nvPr>
        </p:nvSpPr>
        <p:spPr>
          <a:xfrm>
            <a:off x="1003948" y="1880036"/>
            <a:ext cx="1490997" cy="1494032"/>
          </a:xfrm>
          <a:prstGeom prst="ellipse">
            <a:avLst/>
          </a:prstGeom>
          <a:solidFill>
            <a:srgbClr val="9BCAEC"/>
          </a:solidFill>
        </p:spPr>
      </p:sp>
      <p:sp>
        <p:nvSpPr>
          <p:cNvPr id="29" name="Picture Placeholder 93">
            <a:extLst>
              <a:ext uri="{FF2B5EF4-FFF2-40B4-BE49-F238E27FC236}">
                <a16:creationId xmlns:a16="http://schemas.microsoft.com/office/drawing/2014/main" id="{1666506C-C311-7A4B-8EBA-B7A74E13F914}"/>
              </a:ext>
            </a:extLst>
          </p:cNvPr>
          <p:cNvSpPr>
            <a:spLocks noGrp="1" noChangeAspect="1"/>
          </p:cNvSpPr>
          <p:nvPr>
            <p:ph type="pic" sz="quarter" idx="4294967295"/>
          </p:nvPr>
        </p:nvSpPr>
        <p:spPr>
          <a:xfrm>
            <a:off x="9631112" y="1880036"/>
            <a:ext cx="1490997" cy="1494032"/>
          </a:xfrm>
          <a:prstGeom prst="ellipse">
            <a:avLst/>
          </a:prstGeom>
          <a:solidFill>
            <a:srgbClr val="9BCAEC"/>
          </a:solidFill>
        </p:spPr>
      </p:sp>
      <p:sp>
        <p:nvSpPr>
          <p:cNvPr id="30" name="Picture Placeholder 93">
            <a:extLst>
              <a:ext uri="{FF2B5EF4-FFF2-40B4-BE49-F238E27FC236}">
                <a16:creationId xmlns:a16="http://schemas.microsoft.com/office/drawing/2014/main" id="{9DD4F94E-D814-ED47-B5D6-287197D169D3}"/>
              </a:ext>
            </a:extLst>
          </p:cNvPr>
          <p:cNvSpPr>
            <a:spLocks noGrp="1" noChangeAspect="1"/>
          </p:cNvSpPr>
          <p:nvPr>
            <p:ph type="pic" sz="quarter" idx="4294967295"/>
          </p:nvPr>
        </p:nvSpPr>
        <p:spPr>
          <a:xfrm>
            <a:off x="6776594" y="1880036"/>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6" name="Title 1">
            <a:extLst>
              <a:ext uri="{FF2B5EF4-FFF2-40B4-BE49-F238E27FC236}">
                <a16:creationId xmlns:a16="http://schemas.microsoft.com/office/drawing/2014/main" id="{866DB16C-3E98-2C4A-81BD-C5610057A08A}"/>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31" name="Content Placeholder 2">
            <a:extLst>
              <a:ext uri="{FF2B5EF4-FFF2-40B4-BE49-F238E27FC236}">
                <a16:creationId xmlns:a16="http://schemas.microsoft.com/office/drawing/2014/main" id="{BCADDA8D-FC6F-3B42-B632-B8DAC21DD735}"/>
              </a:ext>
            </a:extLst>
          </p:cNvPr>
          <p:cNvSpPr>
            <a:spLocks noGrp="1"/>
          </p:cNvSpPr>
          <p:nvPr>
            <p:ph idx="1" hasCustomPrompt="1"/>
          </p:nvPr>
        </p:nvSpPr>
        <p:spPr>
          <a:xfrm>
            <a:off x="648142"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32" name="Content Placeholder 2">
            <a:extLst>
              <a:ext uri="{FF2B5EF4-FFF2-40B4-BE49-F238E27FC236}">
                <a16:creationId xmlns:a16="http://schemas.microsoft.com/office/drawing/2014/main" id="{DEB7050D-6639-7A44-B787-8EAC96041B53}"/>
              </a:ext>
            </a:extLst>
          </p:cNvPr>
          <p:cNvSpPr>
            <a:spLocks noGrp="1"/>
          </p:cNvSpPr>
          <p:nvPr>
            <p:ph idx="36" hasCustomPrompt="1"/>
          </p:nvPr>
        </p:nvSpPr>
        <p:spPr>
          <a:xfrm>
            <a:off x="3497477"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33" name="Content Placeholder 2">
            <a:extLst>
              <a:ext uri="{FF2B5EF4-FFF2-40B4-BE49-F238E27FC236}">
                <a16:creationId xmlns:a16="http://schemas.microsoft.com/office/drawing/2014/main" id="{3411E307-6FA1-F148-9FEB-C53BB07FF815}"/>
              </a:ext>
            </a:extLst>
          </p:cNvPr>
          <p:cNvSpPr>
            <a:spLocks noGrp="1"/>
          </p:cNvSpPr>
          <p:nvPr>
            <p:ph idx="38" hasCustomPrompt="1"/>
          </p:nvPr>
        </p:nvSpPr>
        <p:spPr>
          <a:xfrm>
            <a:off x="6338649"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34" name="Content Placeholder 2">
            <a:extLst>
              <a:ext uri="{FF2B5EF4-FFF2-40B4-BE49-F238E27FC236}">
                <a16:creationId xmlns:a16="http://schemas.microsoft.com/office/drawing/2014/main" id="{65B63584-0AE9-D545-83CC-5AC06C5AE327}"/>
              </a:ext>
            </a:extLst>
          </p:cNvPr>
          <p:cNvSpPr>
            <a:spLocks noGrp="1"/>
          </p:cNvSpPr>
          <p:nvPr>
            <p:ph idx="40" hasCustomPrompt="1"/>
          </p:nvPr>
        </p:nvSpPr>
        <p:spPr>
          <a:xfrm>
            <a:off x="9187984"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Master text styles</a:t>
            </a:r>
          </a:p>
          <a:p>
            <a:pPr lvl="1"/>
            <a:r>
              <a:rPr lang="en-US" dirty="0"/>
              <a:t>Second level</a:t>
            </a:r>
          </a:p>
        </p:txBody>
      </p:sp>
      <p:sp>
        <p:nvSpPr>
          <p:cNvPr id="35" name="Text Placeholder 19">
            <a:extLst>
              <a:ext uri="{FF2B5EF4-FFF2-40B4-BE49-F238E27FC236}">
                <a16:creationId xmlns:a16="http://schemas.microsoft.com/office/drawing/2014/main" id="{C94D6155-B139-474A-A582-37AE9793FB09}"/>
              </a:ext>
            </a:extLst>
          </p:cNvPr>
          <p:cNvSpPr>
            <a:spLocks noGrp="1"/>
          </p:cNvSpPr>
          <p:nvPr>
            <p:ph type="body" sz="quarter" idx="26" hasCustomPrompt="1"/>
          </p:nvPr>
        </p:nvSpPr>
        <p:spPr>
          <a:xfrm>
            <a:off x="649100"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6" name="Text Placeholder 19">
            <a:extLst>
              <a:ext uri="{FF2B5EF4-FFF2-40B4-BE49-F238E27FC236}">
                <a16:creationId xmlns:a16="http://schemas.microsoft.com/office/drawing/2014/main" id="{2E1F09EB-E83E-F748-99C8-81CFF53D8F88}"/>
              </a:ext>
            </a:extLst>
          </p:cNvPr>
          <p:cNvSpPr>
            <a:spLocks noGrp="1"/>
          </p:cNvSpPr>
          <p:nvPr>
            <p:ph type="body" sz="quarter" idx="41" hasCustomPrompt="1"/>
          </p:nvPr>
        </p:nvSpPr>
        <p:spPr>
          <a:xfrm>
            <a:off x="3495667"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37" name="Text Placeholder 19">
            <a:extLst>
              <a:ext uri="{FF2B5EF4-FFF2-40B4-BE49-F238E27FC236}">
                <a16:creationId xmlns:a16="http://schemas.microsoft.com/office/drawing/2014/main" id="{48D96706-6D4D-A94C-9B0F-138374B02D6C}"/>
              </a:ext>
            </a:extLst>
          </p:cNvPr>
          <p:cNvSpPr>
            <a:spLocks noGrp="1"/>
          </p:cNvSpPr>
          <p:nvPr>
            <p:ph type="body" sz="quarter" idx="42" hasCustomPrompt="1"/>
          </p:nvPr>
        </p:nvSpPr>
        <p:spPr>
          <a:xfrm>
            <a:off x="6342234"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sp>
        <p:nvSpPr>
          <p:cNvPr id="53" name="Text Placeholder 19">
            <a:extLst>
              <a:ext uri="{FF2B5EF4-FFF2-40B4-BE49-F238E27FC236}">
                <a16:creationId xmlns:a16="http://schemas.microsoft.com/office/drawing/2014/main" id="{78CEDEFE-B08B-8043-82D1-02A9A908458A}"/>
              </a:ext>
            </a:extLst>
          </p:cNvPr>
          <p:cNvSpPr>
            <a:spLocks noGrp="1"/>
          </p:cNvSpPr>
          <p:nvPr>
            <p:ph type="body" sz="quarter" idx="43" hasCustomPrompt="1"/>
          </p:nvPr>
        </p:nvSpPr>
        <p:spPr>
          <a:xfrm>
            <a:off x="9188801"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Header</a:t>
            </a:r>
          </a:p>
        </p:txBody>
      </p:sp>
      <p:pic>
        <p:nvPicPr>
          <p:cNvPr id="20" name="Picture 19">
            <a:extLst>
              <a:ext uri="{FF2B5EF4-FFF2-40B4-BE49-F238E27FC236}">
                <a16:creationId xmlns:a16="http://schemas.microsoft.com/office/drawing/2014/main" id="{7901B305-B741-2644-B4C7-DB2267093B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1" name="Straight Connector 20">
            <a:extLst>
              <a:ext uri="{FF2B5EF4-FFF2-40B4-BE49-F238E27FC236}">
                <a16:creationId xmlns:a16="http://schemas.microsoft.com/office/drawing/2014/main" id="{D2DEEA56-80E4-BA44-B6B1-6E3363268D01}"/>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71146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Sub, 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3" name="Content Placeholder 2"/>
          <p:cNvSpPr>
            <a:spLocks noGrp="1"/>
          </p:cNvSpPr>
          <p:nvPr>
            <p:ph idx="1" hasCustomPrompt="1"/>
          </p:nvPr>
        </p:nvSpPr>
        <p:spPr>
          <a:xfrm>
            <a:off x="617694"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13" name="Picture 12">
            <a:extLst>
              <a:ext uri="{FF2B5EF4-FFF2-40B4-BE49-F238E27FC236}">
                <a16:creationId xmlns:a16="http://schemas.microsoft.com/office/drawing/2014/main" id="{AE4675CB-89CB-9F4F-A4DF-9F66C19AA9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5" name="Straight Connector 14">
            <a:extLst>
              <a:ext uri="{FF2B5EF4-FFF2-40B4-BE49-F238E27FC236}">
                <a16:creationId xmlns:a16="http://schemas.microsoft.com/office/drawing/2014/main" id="{0EBDA68D-5EAF-1548-8231-B54582635034}"/>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039708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3" name="Content Placeholder 2">
            <a:extLst>
              <a:ext uri="{FF2B5EF4-FFF2-40B4-BE49-F238E27FC236}">
                <a16:creationId xmlns:a16="http://schemas.microsoft.com/office/drawing/2014/main" id="{179E887B-5F60-4B41-BADB-DC479D13F9ED}"/>
              </a:ext>
            </a:extLst>
          </p:cNvPr>
          <p:cNvSpPr>
            <a:spLocks noGrp="1"/>
          </p:cNvSpPr>
          <p:nvPr>
            <p:ph idx="22" hasCustomPrompt="1"/>
          </p:nvPr>
        </p:nvSpPr>
        <p:spPr>
          <a:xfrm>
            <a:off x="617693"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15" name="Title 1">
            <a:extLst>
              <a:ext uri="{FF2B5EF4-FFF2-40B4-BE49-F238E27FC236}">
                <a16:creationId xmlns:a16="http://schemas.microsoft.com/office/drawing/2014/main" id="{0FAC615D-FBA5-2C4A-A177-4A1754D01052}"/>
              </a:ext>
            </a:extLst>
          </p:cNvPr>
          <p:cNvSpPr>
            <a:spLocks noGrp="1"/>
          </p:cNvSpPr>
          <p:nvPr>
            <p:ph type="title" hasCustomPrompt="1"/>
          </p:nvPr>
        </p:nvSpPr>
        <p:spPr>
          <a:xfrm>
            <a:off x="617693"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10" name="Picture 9">
            <a:extLst>
              <a:ext uri="{FF2B5EF4-FFF2-40B4-BE49-F238E27FC236}">
                <a16:creationId xmlns:a16="http://schemas.microsoft.com/office/drawing/2014/main" id="{7CBA68A2-03E4-4843-ADCD-A6D1BC2F180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4" name="Straight Connector 13">
            <a:extLst>
              <a:ext uri="{FF2B5EF4-FFF2-40B4-BE49-F238E27FC236}">
                <a16:creationId xmlns:a16="http://schemas.microsoft.com/office/drawing/2014/main" id="{97AA94C6-A4F6-3C44-B070-4BC142C5CAAF}"/>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62180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13" name="Picture 12">
            <a:extLst>
              <a:ext uri="{FF2B5EF4-FFF2-40B4-BE49-F238E27FC236}">
                <a16:creationId xmlns:a16="http://schemas.microsoft.com/office/drawing/2014/main" id="{ECEA317E-8D18-F647-A063-AF6F33857E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5" name="Straight Connector 14">
            <a:extLst>
              <a:ext uri="{FF2B5EF4-FFF2-40B4-BE49-F238E27FC236}">
                <a16:creationId xmlns:a16="http://schemas.microsoft.com/office/drawing/2014/main" id="{8ED7D1C6-1B97-A54C-B122-6F8A5605BFE2}"/>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39456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 name="Title 1"/>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3" name="Content Placeholder 2">
            <a:extLst>
              <a:ext uri="{FF2B5EF4-FFF2-40B4-BE49-F238E27FC236}">
                <a16:creationId xmlns:a16="http://schemas.microsoft.com/office/drawing/2014/main" id="{46BC3ACF-93AA-6443-BFB5-777AF4794F42}"/>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pic>
        <p:nvPicPr>
          <p:cNvPr id="10" name="Picture 9">
            <a:extLst>
              <a:ext uri="{FF2B5EF4-FFF2-40B4-BE49-F238E27FC236}">
                <a16:creationId xmlns:a16="http://schemas.microsoft.com/office/drawing/2014/main" id="{2978289E-7996-F24D-A047-361817D68BB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4" name="Straight Connector 13">
            <a:extLst>
              <a:ext uri="{FF2B5EF4-FFF2-40B4-BE49-F238E27FC236}">
                <a16:creationId xmlns:a16="http://schemas.microsoft.com/office/drawing/2014/main" id="{EE346602-2BF2-8641-BEAD-6C349BD71351}"/>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22281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pic>
        <p:nvPicPr>
          <p:cNvPr id="13" name="Picture 12">
            <a:extLst>
              <a:ext uri="{FF2B5EF4-FFF2-40B4-BE49-F238E27FC236}">
                <a16:creationId xmlns:a16="http://schemas.microsoft.com/office/drawing/2014/main" id="{6D998894-A911-B142-BCD0-BC79884FE7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5" name="Straight Connector 14">
            <a:extLst>
              <a:ext uri="{FF2B5EF4-FFF2-40B4-BE49-F238E27FC236}">
                <a16:creationId xmlns:a16="http://schemas.microsoft.com/office/drawing/2014/main" id="{6A48D38F-6201-0542-95EF-A91399DD9254}"/>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79715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3" name="Title 1">
            <a:extLst>
              <a:ext uri="{FF2B5EF4-FFF2-40B4-BE49-F238E27FC236}">
                <a16:creationId xmlns:a16="http://schemas.microsoft.com/office/drawing/2014/main" id="{FE94CB47-5B0E-6F48-ADD5-FAC44662AA1D}"/>
              </a:ext>
            </a:extLst>
          </p:cNvPr>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15" name="Content Placeholder 2">
            <a:extLst>
              <a:ext uri="{FF2B5EF4-FFF2-40B4-BE49-F238E27FC236}">
                <a16:creationId xmlns:a16="http://schemas.microsoft.com/office/drawing/2014/main" id="{ABAD9182-868A-2546-BB2F-FC5B549DD02A}"/>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pic>
        <p:nvPicPr>
          <p:cNvPr id="10" name="Picture 9">
            <a:extLst>
              <a:ext uri="{FF2B5EF4-FFF2-40B4-BE49-F238E27FC236}">
                <a16:creationId xmlns:a16="http://schemas.microsoft.com/office/drawing/2014/main" id="{8AB7276B-7A72-8147-A1A6-2A7C131D9C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4" name="Straight Connector 13">
            <a:extLst>
              <a:ext uri="{FF2B5EF4-FFF2-40B4-BE49-F238E27FC236}">
                <a16:creationId xmlns:a16="http://schemas.microsoft.com/office/drawing/2014/main" id="{215EEF56-DC39-9D44-B447-C764DB865589}"/>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684926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2" y="2154358"/>
            <a:ext cx="6548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pic>
        <p:nvPicPr>
          <p:cNvPr id="15" name="Picture 14">
            <a:extLst>
              <a:ext uri="{FF2B5EF4-FFF2-40B4-BE49-F238E27FC236}">
                <a16:creationId xmlns:a16="http://schemas.microsoft.com/office/drawing/2014/main" id="{28E0805C-840F-7C4C-B125-ED9AAA0509A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6" name="Straight Connector 15">
            <a:extLst>
              <a:ext uri="{FF2B5EF4-FFF2-40B4-BE49-F238E27FC236}">
                <a16:creationId xmlns:a16="http://schemas.microsoft.com/office/drawing/2014/main" id="{A7EB175C-53E2-6543-AABB-7F5401D887F5}"/>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05561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Sub, Text and 2xphoto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p:nvPr>
        </p:nvSpPr>
        <p:spPr>
          <a:xfrm>
            <a:off x="7652022" y="3155914"/>
            <a:ext cx="3916090" cy="197355"/>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Formatvorlagen des Textmasters bearbeiten</a:t>
            </a:r>
          </a:p>
        </p:txBody>
      </p:sp>
      <p:sp>
        <p:nvSpPr>
          <p:cNvPr id="18" name="Text Placeholder 4">
            <a:extLst>
              <a:ext uri="{FF2B5EF4-FFF2-40B4-BE49-F238E27FC236}">
                <a16:creationId xmlns:a16="http://schemas.microsoft.com/office/drawing/2014/main" id="{A94EB854-FCA1-934F-B623-B808F98515CD}"/>
              </a:ext>
            </a:extLst>
          </p:cNvPr>
          <p:cNvSpPr>
            <a:spLocks noGrp="1"/>
          </p:cNvSpPr>
          <p:nvPr>
            <p:ph type="body" sz="quarter" idx="17"/>
          </p:nvPr>
        </p:nvSpPr>
        <p:spPr>
          <a:xfrm>
            <a:off x="7657103" y="5680449"/>
            <a:ext cx="3911010" cy="201873"/>
          </a:xfrm>
          <a:prstGeom prst="rect">
            <a:avLst/>
          </a:prstGeom>
        </p:spPr>
        <p:txBody>
          <a:bodyPr>
            <a:noAutofit/>
          </a:bodyPr>
          <a:lstStyle>
            <a:lvl1pPr marL="0" indent="0">
              <a:buNone/>
              <a:defRPr sz="900" b="0" i="0">
                <a:solidFill>
                  <a:srgbClr val="787875"/>
                </a:solidFill>
                <a:latin typeface="Gibson Light"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Formatvorlagen des Textmasters bearbeiten</a:t>
            </a:r>
          </a:p>
        </p:txBody>
      </p:sp>
      <p:sp>
        <p:nvSpPr>
          <p:cNvPr id="20" name="Picture Placeholder 30">
            <a:extLst>
              <a:ext uri="{FF2B5EF4-FFF2-40B4-BE49-F238E27FC236}">
                <a16:creationId xmlns:a16="http://schemas.microsoft.com/office/drawing/2014/main" id="{93B04537-5338-E046-AD81-B71578BCB459}"/>
              </a:ext>
            </a:extLst>
          </p:cNvPr>
          <p:cNvSpPr>
            <a:spLocks noGrp="1"/>
          </p:cNvSpPr>
          <p:nvPr>
            <p:ph type="pic" sz="quarter" idx="22"/>
          </p:nvPr>
        </p:nvSpPr>
        <p:spPr>
          <a:xfrm>
            <a:off x="7747907" y="3612550"/>
            <a:ext cx="3820206" cy="2031084"/>
          </a:xfrm>
          <a:prstGeom prst="rect">
            <a:avLst/>
          </a:prstGeom>
          <a:solidFill>
            <a:srgbClr val="E5E5E5"/>
          </a:solidFill>
        </p:spPr>
      </p:sp>
      <p:sp>
        <p:nvSpPr>
          <p:cNvPr id="23" name="Picture Placeholder 34">
            <a:extLst>
              <a:ext uri="{FF2B5EF4-FFF2-40B4-BE49-F238E27FC236}">
                <a16:creationId xmlns:a16="http://schemas.microsoft.com/office/drawing/2014/main" id="{29FB2037-B078-E843-B17D-B076F155ACFB}"/>
              </a:ext>
            </a:extLst>
          </p:cNvPr>
          <p:cNvSpPr>
            <a:spLocks noGrp="1"/>
          </p:cNvSpPr>
          <p:nvPr>
            <p:ph type="pic" sz="quarter" idx="25"/>
          </p:nvPr>
        </p:nvSpPr>
        <p:spPr>
          <a:xfrm>
            <a:off x="7747907" y="1089025"/>
            <a:ext cx="3820206" cy="2031084"/>
          </a:xfrm>
          <a:prstGeom prst="rect">
            <a:avLst/>
          </a:prstGeom>
          <a:solidFill>
            <a:srgbClr val="E5E5E5"/>
          </a:solidFill>
        </p:spPr>
      </p:sp>
      <p:sp>
        <p:nvSpPr>
          <p:cNvPr id="15" name="Content Placeholder 2">
            <a:extLst>
              <a:ext uri="{FF2B5EF4-FFF2-40B4-BE49-F238E27FC236}">
                <a16:creationId xmlns:a16="http://schemas.microsoft.com/office/drawing/2014/main" id="{57560E50-0346-CF4E-A099-E0A994E75385}"/>
              </a:ext>
            </a:extLst>
          </p:cNvPr>
          <p:cNvSpPr>
            <a:spLocks noGrp="1"/>
          </p:cNvSpPr>
          <p:nvPr>
            <p:ph idx="26" hasCustomPrompt="1"/>
          </p:nvPr>
        </p:nvSpPr>
        <p:spPr>
          <a:xfrm>
            <a:off x="617693" y="1908061"/>
            <a:ext cx="654839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16" name="Title 1">
            <a:extLst>
              <a:ext uri="{FF2B5EF4-FFF2-40B4-BE49-F238E27FC236}">
                <a16:creationId xmlns:a16="http://schemas.microsoft.com/office/drawing/2014/main" id="{CCD04EB8-DC64-6E43-BC6B-ED620D418F5A}"/>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13" name="Picture 12">
            <a:extLst>
              <a:ext uri="{FF2B5EF4-FFF2-40B4-BE49-F238E27FC236}">
                <a16:creationId xmlns:a16="http://schemas.microsoft.com/office/drawing/2014/main" id="{9A154CFB-BA91-EF40-8697-30E90FC4CC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4" name="Straight Connector 13">
            <a:extLst>
              <a:ext uri="{FF2B5EF4-FFF2-40B4-BE49-F238E27FC236}">
                <a16:creationId xmlns:a16="http://schemas.microsoft.com/office/drawing/2014/main" id="{A82EC8DD-BB29-C54B-9778-C400E81CD97B}"/>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713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830997"/>
          </a:xfrm>
          <a:prstGeom prst="rect">
            <a:avLst/>
          </a:prstGeom>
          <a:noFill/>
        </p:spPr>
        <p:txBody>
          <a:bodyPr wrap="square" rtlCol="0">
            <a:spAutoFit/>
          </a:bodyPr>
          <a:lstStyle/>
          <a:p>
            <a:r>
              <a:rPr lang="en-US" sz="4800" b="0" i="0">
                <a:latin typeface="Calibri Light" panose="020F0302020204030204" pitchFamily="34" charset="0"/>
              </a:rPr>
              <a:t>Agenda</a:t>
            </a:r>
            <a:endParaRPr lang="es-ES" sz="4000" b="0" i="0">
              <a:latin typeface="Calibri Light" panose="020F0302020204030204" pitchFamily="34" charset="0"/>
            </a:endParaRPr>
          </a:p>
        </p:txBody>
      </p:sp>
    </p:spTree>
    <p:extLst>
      <p:ext uri="{BB962C8B-B14F-4D97-AF65-F5344CB8AC3E}">
        <p14:creationId xmlns:p14="http://schemas.microsoft.com/office/powerpoint/2010/main" val="1292112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8000"/>
          </a:xfrm>
          <a:prstGeom prst="rect">
            <a:avLst/>
          </a:prstGeom>
          <a:solidFill>
            <a:schemeClr val="accent3"/>
          </a:solidFill>
        </p:spPr>
        <p:txBody>
          <a:bodyPr anchor="ctr">
            <a:normAutofit/>
          </a:bodyPr>
          <a:lstStyle>
            <a:lvl1pPr marL="0" indent="0" algn="l">
              <a:buNone/>
              <a:defRPr sz="1800" b="0" i="0" baseline="0">
                <a:latin typeface="Calibri Light" panose="020F0302020204030204" pitchFamily="34" charset="0"/>
              </a:defRPr>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609144" y="2458245"/>
            <a:ext cx="4902559" cy="1727779"/>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59488892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2" y="2154358"/>
            <a:ext cx="60879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7" name="Text Placeholder 4">
            <a:extLst>
              <a:ext uri="{FF2B5EF4-FFF2-40B4-BE49-F238E27FC236}">
                <a16:creationId xmlns:a16="http://schemas.microsoft.com/office/drawing/2014/main" id="{ADA2BCBF-E018-DF4C-94B5-26DD4F374B47}"/>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1</a:t>
            </a:r>
          </a:p>
        </p:txBody>
      </p:sp>
      <p:sp>
        <p:nvSpPr>
          <p:cNvPr id="28" name="Footer Placeholder 4">
            <a:extLst>
              <a:ext uri="{FF2B5EF4-FFF2-40B4-BE49-F238E27FC236}">
                <a16:creationId xmlns:a16="http://schemas.microsoft.com/office/drawing/2014/main" id="{5D3068BC-5471-B44F-9FA2-0957E0FE976D}"/>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9" name="Text Placeholder 4">
            <a:extLst>
              <a:ext uri="{FF2B5EF4-FFF2-40B4-BE49-F238E27FC236}">
                <a16:creationId xmlns:a16="http://schemas.microsoft.com/office/drawing/2014/main" id="{A10C9537-B16D-394F-83FB-740A6A55232D}"/>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2</a:t>
            </a:r>
          </a:p>
        </p:txBody>
      </p:sp>
      <p:pic>
        <p:nvPicPr>
          <p:cNvPr id="20" name="Picture 19">
            <a:extLst>
              <a:ext uri="{FF2B5EF4-FFF2-40B4-BE49-F238E27FC236}">
                <a16:creationId xmlns:a16="http://schemas.microsoft.com/office/drawing/2014/main" id="{32F98536-6909-9440-8064-8FC1C21AA1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1" name="Straight Connector 20">
            <a:extLst>
              <a:ext uri="{FF2B5EF4-FFF2-40B4-BE49-F238E27FC236}">
                <a16:creationId xmlns:a16="http://schemas.microsoft.com/office/drawing/2014/main" id="{F04DEB39-8D2E-E345-B335-A91A6D09FED5}"/>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59340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ub, Text and 2xphotos no caption">
    <p:spTree>
      <p:nvGrpSpPr>
        <p:cNvPr id="1" name=""/>
        <p:cNvGrpSpPr/>
        <p:nvPr/>
      </p:nvGrpSpPr>
      <p:grpSpPr>
        <a:xfrm>
          <a:off x="0" y="0"/>
          <a:ext cx="0" cy="0"/>
          <a:chOff x="0" y="0"/>
          <a:chExt cx="0" cy="0"/>
        </a:xfrm>
      </p:grpSpPr>
      <p:sp>
        <p:nvSpPr>
          <p:cNvPr id="15" name="Picture Placeholder 30">
            <a:extLst>
              <a:ext uri="{FF2B5EF4-FFF2-40B4-BE49-F238E27FC236}">
                <a16:creationId xmlns:a16="http://schemas.microsoft.com/office/drawing/2014/main" id="{71AB9EFE-7B86-7D4F-910A-86012D29161F}"/>
              </a:ext>
            </a:extLst>
          </p:cNvPr>
          <p:cNvSpPr>
            <a:spLocks noGrp="1"/>
          </p:cNvSpPr>
          <p:nvPr>
            <p:ph type="pic" sz="quarter" idx="15"/>
          </p:nvPr>
        </p:nvSpPr>
        <p:spPr>
          <a:xfrm>
            <a:off x="7274378" y="3564802"/>
            <a:ext cx="4293735" cy="2282844"/>
          </a:xfrm>
          <a:prstGeom prst="rect">
            <a:avLst/>
          </a:prstGeom>
          <a:solidFill>
            <a:srgbClr val="E5E5E5"/>
          </a:solidFill>
        </p:spPr>
      </p:sp>
      <p:sp>
        <p:nvSpPr>
          <p:cNvPr id="16" name="Picture Placeholder 34">
            <a:extLst>
              <a:ext uri="{FF2B5EF4-FFF2-40B4-BE49-F238E27FC236}">
                <a16:creationId xmlns:a16="http://schemas.microsoft.com/office/drawing/2014/main" id="{19432E79-A233-6648-8851-446A9AF4C764}"/>
              </a:ext>
            </a:extLst>
          </p:cNvPr>
          <p:cNvSpPr>
            <a:spLocks noGrp="1"/>
          </p:cNvSpPr>
          <p:nvPr>
            <p:ph type="pic" sz="quarter" idx="20"/>
          </p:nvPr>
        </p:nvSpPr>
        <p:spPr>
          <a:xfrm>
            <a:off x="7274378" y="1089025"/>
            <a:ext cx="4293735" cy="2282844"/>
          </a:xfrm>
          <a:prstGeom prst="rect">
            <a:avLst/>
          </a:prstGeom>
          <a:solidFill>
            <a:srgbClr val="E5E5E5"/>
          </a:solidFill>
        </p:spPr>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8" name="Content Placeholder 2">
            <a:extLst>
              <a:ext uri="{FF2B5EF4-FFF2-40B4-BE49-F238E27FC236}">
                <a16:creationId xmlns:a16="http://schemas.microsoft.com/office/drawing/2014/main" id="{46F634A7-3DCC-7E40-AA8E-69EC11FC63D4}"/>
              </a:ext>
            </a:extLst>
          </p:cNvPr>
          <p:cNvSpPr>
            <a:spLocks noGrp="1"/>
          </p:cNvSpPr>
          <p:nvPr>
            <p:ph idx="26" hasCustomPrompt="1"/>
          </p:nvPr>
        </p:nvSpPr>
        <p:spPr>
          <a:xfrm>
            <a:off x="617693" y="1908061"/>
            <a:ext cx="6087907"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19" name="Title 1">
            <a:extLst>
              <a:ext uri="{FF2B5EF4-FFF2-40B4-BE49-F238E27FC236}">
                <a16:creationId xmlns:a16="http://schemas.microsoft.com/office/drawing/2014/main" id="{63454A8E-216F-4B48-861C-1037CD05B175}"/>
              </a:ext>
            </a:extLst>
          </p:cNvPr>
          <p:cNvSpPr>
            <a:spLocks noGrp="1"/>
          </p:cNvSpPr>
          <p:nvPr>
            <p:ph type="title" hasCustomPrompt="1"/>
          </p:nvPr>
        </p:nvSpPr>
        <p:spPr>
          <a:xfrm>
            <a:off x="617693" y="688454"/>
            <a:ext cx="6087907"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20" name="Footer Placeholder 4">
            <a:extLst>
              <a:ext uri="{FF2B5EF4-FFF2-40B4-BE49-F238E27FC236}">
                <a16:creationId xmlns:a16="http://schemas.microsoft.com/office/drawing/2014/main" id="{F54F3E25-37E2-0E47-AFEA-25A21A4F8B97}"/>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2" name="Text Placeholder 4">
            <a:extLst>
              <a:ext uri="{FF2B5EF4-FFF2-40B4-BE49-F238E27FC236}">
                <a16:creationId xmlns:a16="http://schemas.microsoft.com/office/drawing/2014/main" id="{0D6A3FED-15C7-C54B-A90A-0910317C391E}"/>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1</a:t>
            </a:r>
          </a:p>
        </p:txBody>
      </p:sp>
      <p:sp>
        <p:nvSpPr>
          <p:cNvPr id="23" name="Text Placeholder 4">
            <a:extLst>
              <a:ext uri="{FF2B5EF4-FFF2-40B4-BE49-F238E27FC236}">
                <a16:creationId xmlns:a16="http://schemas.microsoft.com/office/drawing/2014/main" id="{C5B9E6EB-8576-D741-8456-BBFFA4A78E8B}"/>
              </a:ext>
            </a:extLst>
          </p:cNvPr>
          <p:cNvSpPr>
            <a:spLocks noGrp="1"/>
          </p:cNvSpPr>
          <p:nvPr>
            <p:ph type="body" sz="quarter" idx="23"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2</a:t>
            </a:r>
          </a:p>
        </p:txBody>
      </p:sp>
      <p:pic>
        <p:nvPicPr>
          <p:cNvPr id="17" name="Picture 16">
            <a:extLst>
              <a:ext uri="{FF2B5EF4-FFF2-40B4-BE49-F238E27FC236}">
                <a16:creationId xmlns:a16="http://schemas.microsoft.com/office/drawing/2014/main" id="{4F686565-DE5C-A043-A1A3-FE45FBF08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1" name="Straight Connector 20">
            <a:extLst>
              <a:ext uri="{FF2B5EF4-FFF2-40B4-BE49-F238E27FC236}">
                <a16:creationId xmlns:a16="http://schemas.microsoft.com/office/drawing/2014/main" id="{DC0A4704-BF5D-2644-BDFA-EEA4266DC7FF}"/>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65507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246677"/>
            <a:ext cx="3060000" cy="177209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246677"/>
            <a:ext cx="3060000" cy="177209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246677"/>
            <a:ext cx="3060000" cy="177209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28" name="Text Placeholder 19">
            <a:extLst>
              <a:ext uri="{FF2B5EF4-FFF2-40B4-BE49-F238E27FC236}">
                <a16:creationId xmlns:a16="http://schemas.microsoft.com/office/drawing/2014/main" id="{7180DBA1-0635-2847-B6A9-41B3FCA43EEE}"/>
              </a:ext>
            </a:extLst>
          </p:cNvPr>
          <p:cNvSpPr>
            <a:spLocks noGrp="1"/>
          </p:cNvSpPr>
          <p:nvPr>
            <p:ph type="body" sz="quarter" idx="35" hasCustomPrompt="1"/>
          </p:nvPr>
        </p:nvSpPr>
        <p:spPr>
          <a:xfrm>
            <a:off x="621488"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30" name="Text Placeholder 19">
            <a:extLst>
              <a:ext uri="{FF2B5EF4-FFF2-40B4-BE49-F238E27FC236}">
                <a16:creationId xmlns:a16="http://schemas.microsoft.com/office/drawing/2014/main" id="{C6B30E14-B343-D142-89C3-959AEA7468E1}"/>
              </a:ext>
            </a:extLst>
          </p:cNvPr>
          <p:cNvSpPr>
            <a:spLocks noGrp="1"/>
          </p:cNvSpPr>
          <p:nvPr>
            <p:ph type="body" sz="quarter" idx="36" hasCustomPrompt="1"/>
          </p:nvPr>
        </p:nvSpPr>
        <p:spPr>
          <a:xfrm>
            <a:off x="4566682"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31" name="Text Placeholder 19">
            <a:extLst>
              <a:ext uri="{FF2B5EF4-FFF2-40B4-BE49-F238E27FC236}">
                <a16:creationId xmlns:a16="http://schemas.microsoft.com/office/drawing/2014/main" id="{AFC7A3A7-7479-E649-9071-C2A84931E87B}"/>
              </a:ext>
            </a:extLst>
          </p:cNvPr>
          <p:cNvSpPr>
            <a:spLocks noGrp="1"/>
          </p:cNvSpPr>
          <p:nvPr>
            <p:ph type="body" sz="quarter" idx="37" hasCustomPrompt="1"/>
          </p:nvPr>
        </p:nvSpPr>
        <p:spPr>
          <a:xfrm>
            <a:off x="8416011" y="4191456"/>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pic>
        <p:nvPicPr>
          <p:cNvPr id="19" name="Picture 18">
            <a:extLst>
              <a:ext uri="{FF2B5EF4-FFF2-40B4-BE49-F238E27FC236}">
                <a16:creationId xmlns:a16="http://schemas.microsoft.com/office/drawing/2014/main" id="{F74A1607-A937-2542-BF1A-2672491740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0" name="Straight Connector 19">
            <a:extLst>
              <a:ext uri="{FF2B5EF4-FFF2-40B4-BE49-F238E27FC236}">
                <a16:creationId xmlns:a16="http://schemas.microsoft.com/office/drawing/2014/main" id="{E98301E9-5E64-2547-92F5-CEAB8C505EE2}"/>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960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ub, 3xImages, Numb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246677"/>
            <a:ext cx="3060000" cy="177209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246677"/>
            <a:ext cx="3060000" cy="177209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246677"/>
            <a:ext cx="3060000" cy="177209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788359"/>
            <a:ext cx="3137789" cy="1053642"/>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19" name="Elipse 16">
            <a:extLst>
              <a:ext uri="{FF2B5EF4-FFF2-40B4-BE49-F238E27FC236}">
                <a16:creationId xmlns:a16="http://schemas.microsoft.com/office/drawing/2014/main" id="{7E6D8435-BE22-944F-91E3-FAF8D93F2CFB}"/>
              </a:ext>
            </a:extLst>
          </p:cNvPr>
          <p:cNvSpPr/>
          <p:nvPr userDrawn="1"/>
        </p:nvSpPr>
        <p:spPr>
          <a:xfrm>
            <a:off x="5944108" y="4394144"/>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20" name="Conector recto 17">
            <a:extLst>
              <a:ext uri="{FF2B5EF4-FFF2-40B4-BE49-F238E27FC236}">
                <a16:creationId xmlns:a16="http://schemas.microsoft.com/office/drawing/2014/main" id="{791899FC-3958-DC49-A302-E52EE76BCC2D}"/>
              </a:ext>
            </a:extLst>
          </p:cNvPr>
          <p:cNvCxnSpPr>
            <a:cxnSpLocks/>
          </p:cNvCxnSpPr>
          <p:nvPr userDrawn="1"/>
        </p:nvCxnSpPr>
        <p:spPr>
          <a:xfrm>
            <a:off x="6133393" y="4078450"/>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21" name="Elipse 16">
            <a:extLst>
              <a:ext uri="{FF2B5EF4-FFF2-40B4-BE49-F238E27FC236}">
                <a16:creationId xmlns:a16="http://schemas.microsoft.com/office/drawing/2014/main" id="{318FD295-2C4B-B54F-A783-775E127E2E78}"/>
              </a:ext>
            </a:extLst>
          </p:cNvPr>
          <p:cNvSpPr/>
          <p:nvPr userDrawn="1"/>
        </p:nvSpPr>
        <p:spPr>
          <a:xfrm>
            <a:off x="9793437" y="4394144"/>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23" name="Conector recto 17">
            <a:extLst>
              <a:ext uri="{FF2B5EF4-FFF2-40B4-BE49-F238E27FC236}">
                <a16:creationId xmlns:a16="http://schemas.microsoft.com/office/drawing/2014/main" id="{87284223-5C43-9343-B4FC-B91EF618C69F}"/>
              </a:ext>
            </a:extLst>
          </p:cNvPr>
          <p:cNvCxnSpPr>
            <a:cxnSpLocks/>
          </p:cNvCxnSpPr>
          <p:nvPr userDrawn="1"/>
        </p:nvCxnSpPr>
        <p:spPr>
          <a:xfrm>
            <a:off x="9982722" y="4078450"/>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25" name="Elipse 16">
            <a:extLst>
              <a:ext uri="{FF2B5EF4-FFF2-40B4-BE49-F238E27FC236}">
                <a16:creationId xmlns:a16="http://schemas.microsoft.com/office/drawing/2014/main" id="{3ADD46F9-3EB1-234D-94ED-18C11069E64B}"/>
              </a:ext>
            </a:extLst>
          </p:cNvPr>
          <p:cNvSpPr/>
          <p:nvPr userDrawn="1"/>
        </p:nvSpPr>
        <p:spPr>
          <a:xfrm>
            <a:off x="2011025" y="4394144"/>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26" name="Conector recto 17">
            <a:extLst>
              <a:ext uri="{FF2B5EF4-FFF2-40B4-BE49-F238E27FC236}">
                <a16:creationId xmlns:a16="http://schemas.microsoft.com/office/drawing/2014/main" id="{DBB5B7D9-4EC7-064F-9CDB-D132B733B717}"/>
              </a:ext>
            </a:extLst>
          </p:cNvPr>
          <p:cNvCxnSpPr>
            <a:cxnSpLocks/>
          </p:cNvCxnSpPr>
          <p:nvPr userDrawn="1"/>
        </p:nvCxnSpPr>
        <p:spPr>
          <a:xfrm>
            <a:off x="2200311" y="4078450"/>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28" name="Text Placeholder 19">
            <a:extLst>
              <a:ext uri="{FF2B5EF4-FFF2-40B4-BE49-F238E27FC236}">
                <a16:creationId xmlns:a16="http://schemas.microsoft.com/office/drawing/2014/main" id="{7180DBA1-0635-2847-B6A9-41B3FCA43EEE}"/>
              </a:ext>
            </a:extLst>
          </p:cNvPr>
          <p:cNvSpPr>
            <a:spLocks noGrp="1"/>
          </p:cNvSpPr>
          <p:nvPr>
            <p:ph type="body" sz="quarter" idx="35" hasCustomPrompt="1"/>
          </p:nvPr>
        </p:nvSpPr>
        <p:spPr>
          <a:xfrm>
            <a:off x="621488" y="4191456"/>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1</a:t>
            </a:r>
          </a:p>
        </p:txBody>
      </p:sp>
      <p:sp>
        <p:nvSpPr>
          <p:cNvPr id="30" name="Text Placeholder 19">
            <a:extLst>
              <a:ext uri="{FF2B5EF4-FFF2-40B4-BE49-F238E27FC236}">
                <a16:creationId xmlns:a16="http://schemas.microsoft.com/office/drawing/2014/main" id="{C6B30E14-B343-D142-89C3-959AEA7468E1}"/>
              </a:ext>
            </a:extLst>
          </p:cNvPr>
          <p:cNvSpPr>
            <a:spLocks noGrp="1"/>
          </p:cNvSpPr>
          <p:nvPr>
            <p:ph type="body" sz="quarter" idx="36" hasCustomPrompt="1"/>
          </p:nvPr>
        </p:nvSpPr>
        <p:spPr>
          <a:xfrm>
            <a:off x="4566682" y="4191456"/>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2</a:t>
            </a:r>
          </a:p>
        </p:txBody>
      </p:sp>
      <p:sp>
        <p:nvSpPr>
          <p:cNvPr id="31" name="Text Placeholder 19">
            <a:extLst>
              <a:ext uri="{FF2B5EF4-FFF2-40B4-BE49-F238E27FC236}">
                <a16:creationId xmlns:a16="http://schemas.microsoft.com/office/drawing/2014/main" id="{AFC7A3A7-7479-E649-9071-C2A84931E87B}"/>
              </a:ext>
            </a:extLst>
          </p:cNvPr>
          <p:cNvSpPr>
            <a:spLocks noGrp="1"/>
          </p:cNvSpPr>
          <p:nvPr>
            <p:ph type="body" sz="quarter" idx="37" hasCustomPrompt="1"/>
          </p:nvPr>
        </p:nvSpPr>
        <p:spPr>
          <a:xfrm>
            <a:off x="8416011" y="4191456"/>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3</a:t>
            </a:r>
          </a:p>
        </p:txBody>
      </p:sp>
      <p:pic>
        <p:nvPicPr>
          <p:cNvPr id="27" name="Picture 26">
            <a:extLst>
              <a:ext uri="{FF2B5EF4-FFF2-40B4-BE49-F238E27FC236}">
                <a16:creationId xmlns:a16="http://schemas.microsoft.com/office/drawing/2014/main" id="{2FC23143-43D0-5445-B4A9-CB2A6B0636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9" name="Straight Connector 28">
            <a:extLst>
              <a:ext uri="{FF2B5EF4-FFF2-40B4-BE49-F238E27FC236}">
                <a16:creationId xmlns:a16="http://schemas.microsoft.com/office/drawing/2014/main" id="{3A3D7C95-F42E-C342-B2F6-2130918ED7AF}"/>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39197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Title, Sub, 3xImages, head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008575"/>
            <a:ext cx="3060000" cy="176103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008575"/>
            <a:ext cx="3060000" cy="176103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008575"/>
            <a:ext cx="3060000" cy="176103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4" name="Title 1">
            <a:extLst>
              <a:ext uri="{FF2B5EF4-FFF2-40B4-BE49-F238E27FC236}">
                <a16:creationId xmlns:a16="http://schemas.microsoft.com/office/drawing/2014/main" id="{17A93E60-A305-594B-BC78-B88B56C24FEE}"/>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45" name="Text Placeholder 19">
            <a:extLst>
              <a:ext uri="{FF2B5EF4-FFF2-40B4-BE49-F238E27FC236}">
                <a16:creationId xmlns:a16="http://schemas.microsoft.com/office/drawing/2014/main" id="{FFDD3FAA-25C4-DF40-B2AB-B5EA5792AEDA}"/>
              </a:ext>
            </a:extLst>
          </p:cNvPr>
          <p:cNvSpPr>
            <a:spLocks noGrp="1"/>
          </p:cNvSpPr>
          <p:nvPr>
            <p:ph type="body" sz="quarter" idx="35" hasCustomPrompt="1"/>
          </p:nvPr>
        </p:nvSpPr>
        <p:spPr>
          <a:xfrm>
            <a:off x="621488"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46" name="Text Placeholder 19">
            <a:extLst>
              <a:ext uri="{FF2B5EF4-FFF2-40B4-BE49-F238E27FC236}">
                <a16:creationId xmlns:a16="http://schemas.microsoft.com/office/drawing/2014/main" id="{D2C7FBBD-19E5-F44E-968A-62BA2952F3A7}"/>
              </a:ext>
            </a:extLst>
          </p:cNvPr>
          <p:cNvSpPr>
            <a:spLocks noGrp="1"/>
          </p:cNvSpPr>
          <p:nvPr>
            <p:ph type="body" sz="quarter" idx="36" hasCustomPrompt="1"/>
          </p:nvPr>
        </p:nvSpPr>
        <p:spPr>
          <a:xfrm>
            <a:off x="4566682"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47" name="Text Placeholder 19">
            <a:extLst>
              <a:ext uri="{FF2B5EF4-FFF2-40B4-BE49-F238E27FC236}">
                <a16:creationId xmlns:a16="http://schemas.microsoft.com/office/drawing/2014/main" id="{0724F50D-414E-0445-BC80-DF9678328A14}"/>
              </a:ext>
            </a:extLst>
          </p:cNvPr>
          <p:cNvSpPr>
            <a:spLocks noGrp="1"/>
          </p:cNvSpPr>
          <p:nvPr>
            <p:ph type="body" sz="quarter" idx="37" hasCustomPrompt="1"/>
          </p:nvPr>
        </p:nvSpPr>
        <p:spPr>
          <a:xfrm>
            <a:off x="8416011" y="3942295"/>
            <a:ext cx="3133422"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pic>
        <p:nvPicPr>
          <p:cNvPr id="17" name="Picture 16">
            <a:extLst>
              <a:ext uri="{FF2B5EF4-FFF2-40B4-BE49-F238E27FC236}">
                <a16:creationId xmlns:a16="http://schemas.microsoft.com/office/drawing/2014/main" id="{D5B2FB23-8CA0-674A-94F2-5D505536EC0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9" name="Straight Connector 18">
            <a:extLst>
              <a:ext uri="{FF2B5EF4-FFF2-40B4-BE49-F238E27FC236}">
                <a16:creationId xmlns:a16="http://schemas.microsoft.com/office/drawing/2014/main" id="{43CF3C31-41F9-EA4D-993D-CE1FFF394506}"/>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32963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Title, Sub, 3xImages, Numbers and Copy">
    <p:spTree>
      <p:nvGrpSpPr>
        <p:cNvPr id="1" name=""/>
        <p:cNvGrpSpPr/>
        <p:nvPr/>
      </p:nvGrpSpPr>
      <p:grpSpPr>
        <a:xfrm>
          <a:off x="0" y="0"/>
          <a:ext cx="0" cy="0"/>
          <a:chOff x="0" y="0"/>
          <a:chExt cx="0" cy="0"/>
        </a:xfrm>
      </p:grpSpPr>
      <p:sp>
        <p:nvSpPr>
          <p:cNvPr id="18" name="Picture Placeholder 93">
            <a:extLst>
              <a:ext uri="{FF2B5EF4-FFF2-40B4-BE49-F238E27FC236}">
                <a16:creationId xmlns:a16="http://schemas.microsoft.com/office/drawing/2014/main" id="{15A9D422-49B7-DD4A-A071-E646311051BD}"/>
              </a:ext>
            </a:extLst>
          </p:cNvPr>
          <p:cNvSpPr>
            <a:spLocks noGrp="1"/>
          </p:cNvSpPr>
          <p:nvPr>
            <p:ph type="pic" sz="quarter" idx="14"/>
          </p:nvPr>
        </p:nvSpPr>
        <p:spPr>
          <a:xfrm>
            <a:off x="695323" y="2008575"/>
            <a:ext cx="3060000" cy="1761035"/>
          </a:xfrm>
          <a:prstGeom prst="rect">
            <a:avLst/>
          </a:prstGeom>
          <a:solidFill>
            <a:srgbClr val="E5E5E5"/>
          </a:solidFill>
        </p:spPr>
      </p:sp>
      <p:sp>
        <p:nvSpPr>
          <p:cNvPr id="22" name="Picture Placeholder 96">
            <a:extLst>
              <a:ext uri="{FF2B5EF4-FFF2-40B4-BE49-F238E27FC236}">
                <a16:creationId xmlns:a16="http://schemas.microsoft.com/office/drawing/2014/main" id="{D86A3412-9123-DC49-994D-5364BAD01556}"/>
              </a:ext>
            </a:extLst>
          </p:cNvPr>
          <p:cNvSpPr>
            <a:spLocks noGrp="1"/>
          </p:cNvSpPr>
          <p:nvPr>
            <p:ph type="pic" sz="quarter" idx="25"/>
          </p:nvPr>
        </p:nvSpPr>
        <p:spPr>
          <a:xfrm>
            <a:off x="4638260" y="2008575"/>
            <a:ext cx="3060000" cy="1761035"/>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24" name="Picture Placeholder 99">
            <a:extLst>
              <a:ext uri="{FF2B5EF4-FFF2-40B4-BE49-F238E27FC236}">
                <a16:creationId xmlns:a16="http://schemas.microsoft.com/office/drawing/2014/main" id="{93A37D33-44B3-724F-A302-F930EBEEA9CF}"/>
              </a:ext>
            </a:extLst>
          </p:cNvPr>
          <p:cNvSpPr>
            <a:spLocks noGrp="1"/>
          </p:cNvSpPr>
          <p:nvPr>
            <p:ph type="pic" sz="quarter" idx="27"/>
          </p:nvPr>
        </p:nvSpPr>
        <p:spPr>
          <a:xfrm>
            <a:off x="8503729" y="2008575"/>
            <a:ext cx="3060000" cy="1761035"/>
          </a:xfrm>
          <a:prstGeom prst="rect">
            <a:avLst/>
          </a:prstGeom>
          <a:solidFill>
            <a:srgbClr val="E5E5E5"/>
          </a:solidFill>
        </p:spPr>
      </p:sp>
      <p:sp>
        <p:nvSpPr>
          <p:cNvPr id="38" name="Text Placeholder 95">
            <a:extLst>
              <a:ext uri="{FF2B5EF4-FFF2-40B4-BE49-F238E27FC236}">
                <a16:creationId xmlns:a16="http://schemas.microsoft.com/office/drawing/2014/main" id="{5883937D-B65C-0D4A-A466-D97B84EDC04F}"/>
              </a:ext>
            </a:extLst>
          </p:cNvPr>
          <p:cNvSpPr>
            <a:spLocks noGrp="1"/>
          </p:cNvSpPr>
          <p:nvPr>
            <p:ph type="body" sz="quarter" idx="32" hasCustomPrompt="1"/>
          </p:nvPr>
        </p:nvSpPr>
        <p:spPr>
          <a:xfrm>
            <a:off x="456047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121"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2" name="Text Placeholder 95">
            <a:extLst>
              <a:ext uri="{FF2B5EF4-FFF2-40B4-BE49-F238E27FC236}">
                <a16:creationId xmlns:a16="http://schemas.microsoft.com/office/drawing/2014/main" id="{32D12AA6-50A8-494A-B4AF-4E5B1532EE26}"/>
              </a:ext>
            </a:extLst>
          </p:cNvPr>
          <p:cNvSpPr>
            <a:spLocks noGrp="1"/>
          </p:cNvSpPr>
          <p:nvPr>
            <p:ph type="body" sz="quarter" idx="34" hasCustomPrompt="1"/>
          </p:nvPr>
        </p:nvSpPr>
        <p:spPr>
          <a:xfrm>
            <a:off x="8415668" y="4539196"/>
            <a:ext cx="3137789" cy="1302805"/>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4" name="Title 1">
            <a:extLst>
              <a:ext uri="{FF2B5EF4-FFF2-40B4-BE49-F238E27FC236}">
                <a16:creationId xmlns:a16="http://schemas.microsoft.com/office/drawing/2014/main" id="{17A93E60-A305-594B-BC78-B88B56C24FEE}"/>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17" name="Elipse 16">
            <a:extLst>
              <a:ext uri="{FF2B5EF4-FFF2-40B4-BE49-F238E27FC236}">
                <a16:creationId xmlns:a16="http://schemas.microsoft.com/office/drawing/2014/main" id="{97197499-7DE9-4C40-8E8D-E8D2A7A612EE}"/>
              </a:ext>
            </a:extLst>
          </p:cNvPr>
          <p:cNvSpPr/>
          <p:nvPr userDrawn="1"/>
        </p:nvSpPr>
        <p:spPr>
          <a:xfrm>
            <a:off x="5944108" y="4144765"/>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19" name="Conector recto 17">
            <a:extLst>
              <a:ext uri="{FF2B5EF4-FFF2-40B4-BE49-F238E27FC236}">
                <a16:creationId xmlns:a16="http://schemas.microsoft.com/office/drawing/2014/main" id="{9B9F252A-523D-9F45-BFC0-45D16124BD5F}"/>
              </a:ext>
            </a:extLst>
          </p:cNvPr>
          <p:cNvCxnSpPr>
            <a:cxnSpLocks/>
          </p:cNvCxnSpPr>
          <p:nvPr userDrawn="1"/>
        </p:nvCxnSpPr>
        <p:spPr>
          <a:xfrm>
            <a:off x="6133393" y="3829071"/>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20" name="Elipse 16">
            <a:extLst>
              <a:ext uri="{FF2B5EF4-FFF2-40B4-BE49-F238E27FC236}">
                <a16:creationId xmlns:a16="http://schemas.microsoft.com/office/drawing/2014/main" id="{B670608F-85A0-E949-8887-B168E041B2AF}"/>
              </a:ext>
            </a:extLst>
          </p:cNvPr>
          <p:cNvSpPr/>
          <p:nvPr userDrawn="1"/>
        </p:nvSpPr>
        <p:spPr>
          <a:xfrm>
            <a:off x="9793437" y="4144765"/>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21" name="Conector recto 17">
            <a:extLst>
              <a:ext uri="{FF2B5EF4-FFF2-40B4-BE49-F238E27FC236}">
                <a16:creationId xmlns:a16="http://schemas.microsoft.com/office/drawing/2014/main" id="{84925DEA-622E-FB47-B5B4-18EDD2641694}"/>
              </a:ext>
            </a:extLst>
          </p:cNvPr>
          <p:cNvCxnSpPr>
            <a:cxnSpLocks/>
          </p:cNvCxnSpPr>
          <p:nvPr userDrawn="1"/>
        </p:nvCxnSpPr>
        <p:spPr>
          <a:xfrm>
            <a:off x="9982722" y="3829071"/>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Elipse 16">
            <a:extLst>
              <a:ext uri="{FF2B5EF4-FFF2-40B4-BE49-F238E27FC236}">
                <a16:creationId xmlns:a16="http://schemas.microsoft.com/office/drawing/2014/main" id="{A71519C3-687D-E94B-A9F3-769F3A1E39C2}"/>
              </a:ext>
            </a:extLst>
          </p:cNvPr>
          <p:cNvSpPr/>
          <p:nvPr userDrawn="1"/>
        </p:nvSpPr>
        <p:spPr>
          <a:xfrm>
            <a:off x="2011025" y="4144765"/>
            <a:ext cx="378571" cy="378570"/>
          </a:xfrm>
          <a:prstGeom prst="ellipse">
            <a:avLst/>
          </a:prstGeom>
          <a:solidFill>
            <a:srgbClr val="9BCAE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25" name="Conector recto 17">
            <a:extLst>
              <a:ext uri="{FF2B5EF4-FFF2-40B4-BE49-F238E27FC236}">
                <a16:creationId xmlns:a16="http://schemas.microsoft.com/office/drawing/2014/main" id="{6678FD8E-EEC2-514D-8EEE-4F7271CFC781}"/>
              </a:ext>
            </a:extLst>
          </p:cNvPr>
          <p:cNvCxnSpPr>
            <a:cxnSpLocks/>
          </p:cNvCxnSpPr>
          <p:nvPr userDrawn="1"/>
        </p:nvCxnSpPr>
        <p:spPr>
          <a:xfrm>
            <a:off x="2200311" y="3829071"/>
            <a:ext cx="0" cy="360000"/>
          </a:xfrm>
          <a:prstGeom prst="line">
            <a:avLst/>
          </a:prstGeom>
          <a:ln w="3175">
            <a:solidFill>
              <a:srgbClr val="9BCAEC"/>
            </a:solidFill>
          </a:ln>
        </p:spPr>
        <p:style>
          <a:lnRef idx="1">
            <a:schemeClr val="accent1"/>
          </a:lnRef>
          <a:fillRef idx="0">
            <a:schemeClr val="accent1"/>
          </a:fillRef>
          <a:effectRef idx="0">
            <a:schemeClr val="accent1"/>
          </a:effectRef>
          <a:fontRef idx="minor">
            <a:schemeClr val="tx1"/>
          </a:fontRef>
        </p:style>
      </p:cxnSp>
      <p:sp>
        <p:nvSpPr>
          <p:cNvPr id="45" name="Text Placeholder 19">
            <a:extLst>
              <a:ext uri="{FF2B5EF4-FFF2-40B4-BE49-F238E27FC236}">
                <a16:creationId xmlns:a16="http://schemas.microsoft.com/office/drawing/2014/main" id="{FFDD3FAA-25C4-DF40-B2AB-B5EA5792AEDA}"/>
              </a:ext>
            </a:extLst>
          </p:cNvPr>
          <p:cNvSpPr>
            <a:spLocks noGrp="1"/>
          </p:cNvSpPr>
          <p:nvPr>
            <p:ph type="body" sz="quarter" idx="35" hasCustomPrompt="1"/>
          </p:nvPr>
        </p:nvSpPr>
        <p:spPr>
          <a:xfrm>
            <a:off x="621488" y="3942295"/>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1</a:t>
            </a:r>
          </a:p>
        </p:txBody>
      </p:sp>
      <p:sp>
        <p:nvSpPr>
          <p:cNvPr id="46" name="Text Placeholder 19">
            <a:extLst>
              <a:ext uri="{FF2B5EF4-FFF2-40B4-BE49-F238E27FC236}">
                <a16:creationId xmlns:a16="http://schemas.microsoft.com/office/drawing/2014/main" id="{D2C7FBBD-19E5-F44E-968A-62BA2952F3A7}"/>
              </a:ext>
            </a:extLst>
          </p:cNvPr>
          <p:cNvSpPr>
            <a:spLocks noGrp="1"/>
          </p:cNvSpPr>
          <p:nvPr>
            <p:ph type="body" sz="quarter" idx="36" hasCustomPrompt="1"/>
          </p:nvPr>
        </p:nvSpPr>
        <p:spPr>
          <a:xfrm>
            <a:off x="4566682" y="3942295"/>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2</a:t>
            </a:r>
          </a:p>
        </p:txBody>
      </p:sp>
      <p:sp>
        <p:nvSpPr>
          <p:cNvPr id="47" name="Text Placeholder 19">
            <a:extLst>
              <a:ext uri="{FF2B5EF4-FFF2-40B4-BE49-F238E27FC236}">
                <a16:creationId xmlns:a16="http://schemas.microsoft.com/office/drawing/2014/main" id="{0724F50D-414E-0445-BC80-DF9678328A14}"/>
              </a:ext>
            </a:extLst>
          </p:cNvPr>
          <p:cNvSpPr>
            <a:spLocks noGrp="1"/>
          </p:cNvSpPr>
          <p:nvPr>
            <p:ph type="body" sz="quarter" idx="37" hasCustomPrompt="1"/>
          </p:nvPr>
        </p:nvSpPr>
        <p:spPr>
          <a:xfrm>
            <a:off x="8416011" y="3942295"/>
            <a:ext cx="3133422" cy="581258"/>
          </a:xfrm>
          <a:prstGeom prst="rect">
            <a:avLst/>
          </a:prstGeom>
        </p:spPr>
        <p:txBody>
          <a:bodyPr anchor="b">
            <a:noAutofit/>
          </a:bodyPr>
          <a:lstStyle>
            <a:lvl1pPr marL="0" indent="0" algn="ctr">
              <a:lnSpc>
                <a:spcPct val="90000"/>
              </a:lnSpc>
              <a:buNone/>
              <a:defRPr sz="1800" b="0" i="0">
                <a:solidFill>
                  <a:schemeClr val="bg1"/>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3</a:t>
            </a:r>
          </a:p>
        </p:txBody>
      </p:sp>
      <p:pic>
        <p:nvPicPr>
          <p:cNvPr id="26" name="Picture 25">
            <a:extLst>
              <a:ext uri="{FF2B5EF4-FFF2-40B4-BE49-F238E27FC236}">
                <a16:creationId xmlns:a16="http://schemas.microsoft.com/office/drawing/2014/main" id="{880ACB70-9A51-8A42-89D2-A215F05BEE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7" name="Straight Connector 26">
            <a:extLst>
              <a:ext uri="{FF2B5EF4-FFF2-40B4-BE49-F238E27FC236}">
                <a16:creationId xmlns:a16="http://schemas.microsoft.com/office/drawing/2014/main" id="{0249831F-70F5-E84B-B9B6-A030B70479E3}"/>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04124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246677"/>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6087904"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4" y="594811"/>
            <a:ext cx="6087906"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246677"/>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246677"/>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246677"/>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541654"/>
            <a:ext cx="2357715" cy="1300346"/>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63" name="Text Placeholder 19">
            <a:extLst>
              <a:ext uri="{FF2B5EF4-FFF2-40B4-BE49-F238E27FC236}">
                <a16:creationId xmlns:a16="http://schemas.microsoft.com/office/drawing/2014/main" id="{672A930A-EB3C-C245-A0AB-6DB90D743564}"/>
              </a:ext>
            </a:extLst>
          </p:cNvPr>
          <p:cNvSpPr>
            <a:spLocks noGrp="1"/>
          </p:cNvSpPr>
          <p:nvPr>
            <p:ph type="body" sz="quarter" idx="48" hasCustomPrompt="1"/>
          </p:nvPr>
        </p:nvSpPr>
        <p:spPr>
          <a:xfrm>
            <a:off x="621134"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66" name="Text Placeholder 19">
            <a:extLst>
              <a:ext uri="{FF2B5EF4-FFF2-40B4-BE49-F238E27FC236}">
                <a16:creationId xmlns:a16="http://schemas.microsoft.com/office/drawing/2014/main" id="{79629EC7-D639-7A40-9381-8E51549EFAF7}"/>
              </a:ext>
            </a:extLst>
          </p:cNvPr>
          <p:cNvSpPr>
            <a:spLocks noGrp="1"/>
          </p:cNvSpPr>
          <p:nvPr>
            <p:ph type="body" sz="quarter" idx="49" hasCustomPrompt="1"/>
          </p:nvPr>
        </p:nvSpPr>
        <p:spPr>
          <a:xfrm>
            <a:off x="3472399"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67" name="Text Placeholder 19">
            <a:extLst>
              <a:ext uri="{FF2B5EF4-FFF2-40B4-BE49-F238E27FC236}">
                <a16:creationId xmlns:a16="http://schemas.microsoft.com/office/drawing/2014/main" id="{493F62FD-58C5-C548-B750-0DF90ED4909A}"/>
              </a:ext>
            </a:extLst>
          </p:cNvPr>
          <p:cNvSpPr>
            <a:spLocks noGrp="1"/>
          </p:cNvSpPr>
          <p:nvPr>
            <p:ph type="body" sz="quarter" idx="50" hasCustomPrompt="1"/>
          </p:nvPr>
        </p:nvSpPr>
        <p:spPr>
          <a:xfrm>
            <a:off x="6340290"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68" name="Text Placeholder 19">
            <a:extLst>
              <a:ext uri="{FF2B5EF4-FFF2-40B4-BE49-F238E27FC236}">
                <a16:creationId xmlns:a16="http://schemas.microsoft.com/office/drawing/2014/main" id="{67C77277-C24C-9143-A569-14A97F30452E}"/>
              </a:ext>
            </a:extLst>
          </p:cNvPr>
          <p:cNvSpPr>
            <a:spLocks noGrp="1"/>
          </p:cNvSpPr>
          <p:nvPr>
            <p:ph type="body" sz="quarter" idx="51" hasCustomPrompt="1"/>
          </p:nvPr>
        </p:nvSpPr>
        <p:spPr>
          <a:xfrm>
            <a:off x="9191555" y="3944751"/>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pic>
        <p:nvPicPr>
          <p:cNvPr id="21" name="Picture 20">
            <a:extLst>
              <a:ext uri="{FF2B5EF4-FFF2-40B4-BE49-F238E27FC236}">
                <a16:creationId xmlns:a16="http://schemas.microsoft.com/office/drawing/2014/main" id="{641A2B51-A431-0946-AD5B-D68CF6A3873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2" name="Straight Connector 21">
            <a:extLst>
              <a:ext uri="{FF2B5EF4-FFF2-40B4-BE49-F238E27FC236}">
                <a16:creationId xmlns:a16="http://schemas.microsoft.com/office/drawing/2014/main" id="{CDC77FF9-B574-7541-84DF-BC4B2213E3CB}"/>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763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ub, 4xImages, Title and Copy">
    <p:spTree>
      <p:nvGrpSpPr>
        <p:cNvPr id="1" name=""/>
        <p:cNvGrpSpPr/>
        <p:nvPr/>
      </p:nvGrpSpPr>
      <p:grpSpPr>
        <a:xfrm>
          <a:off x="0" y="0"/>
          <a:ext cx="0" cy="0"/>
          <a:chOff x="0" y="0"/>
          <a:chExt cx="0" cy="0"/>
        </a:xfrm>
      </p:grpSpPr>
      <p:sp>
        <p:nvSpPr>
          <p:cNvPr id="25" name="Picture Placeholder 93">
            <a:extLst>
              <a:ext uri="{FF2B5EF4-FFF2-40B4-BE49-F238E27FC236}">
                <a16:creationId xmlns:a16="http://schemas.microsoft.com/office/drawing/2014/main" id="{B2DE0CA8-E848-724C-8BB2-A37B36667613}"/>
              </a:ext>
            </a:extLst>
          </p:cNvPr>
          <p:cNvSpPr>
            <a:spLocks noGrp="1"/>
          </p:cNvSpPr>
          <p:nvPr>
            <p:ph type="pic" sz="quarter" idx="35"/>
          </p:nvPr>
        </p:nvSpPr>
        <p:spPr>
          <a:xfrm>
            <a:off x="695325" y="2008575"/>
            <a:ext cx="2279924" cy="1522934"/>
          </a:xfrm>
          <a:prstGeom prst="rect">
            <a:avLst/>
          </a:prstGeom>
          <a:solidFill>
            <a:srgbClr val="E5E5E5"/>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39" name="Text Placeholder 95">
            <a:extLst>
              <a:ext uri="{FF2B5EF4-FFF2-40B4-BE49-F238E27FC236}">
                <a16:creationId xmlns:a16="http://schemas.microsoft.com/office/drawing/2014/main" id="{4D646E99-66FC-3B4A-AA52-27DF571FD081}"/>
              </a:ext>
            </a:extLst>
          </p:cNvPr>
          <p:cNvSpPr>
            <a:spLocks noGrp="1"/>
          </p:cNvSpPr>
          <p:nvPr>
            <p:ph type="body" sz="quarter" idx="33" hasCustomPrompt="1"/>
          </p:nvPr>
        </p:nvSpPr>
        <p:spPr>
          <a:xfrm>
            <a:off x="6175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5" name="Picture Placeholder 93">
            <a:extLst>
              <a:ext uri="{FF2B5EF4-FFF2-40B4-BE49-F238E27FC236}">
                <a16:creationId xmlns:a16="http://schemas.microsoft.com/office/drawing/2014/main" id="{E6E1DA14-3D32-9542-8199-8E74049BFD8B}"/>
              </a:ext>
            </a:extLst>
          </p:cNvPr>
          <p:cNvSpPr>
            <a:spLocks noGrp="1"/>
          </p:cNvSpPr>
          <p:nvPr>
            <p:ph type="pic" sz="quarter" idx="36"/>
          </p:nvPr>
        </p:nvSpPr>
        <p:spPr>
          <a:xfrm>
            <a:off x="3551588" y="2008575"/>
            <a:ext cx="2279924" cy="1522934"/>
          </a:xfrm>
          <a:prstGeom prst="rect">
            <a:avLst/>
          </a:prstGeom>
          <a:solidFill>
            <a:srgbClr val="E5E5E5"/>
          </a:solidFill>
        </p:spPr>
      </p:sp>
      <p:sp>
        <p:nvSpPr>
          <p:cNvPr id="44" name="Text Placeholder 95">
            <a:extLst>
              <a:ext uri="{FF2B5EF4-FFF2-40B4-BE49-F238E27FC236}">
                <a16:creationId xmlns:a16="http://schemas.microsoft.com/office/drawing/2014/main" id="{B0A00DEA-125E-0F49-91D5-C3D44E84729F}"/>
              </a:ext>
            </a:extLst>
          </p:cNvPr>
          <p:cNvSpPr>
            <a:spLocks noGrp="1"/>
          </p:cNvSpPr>
          <p:nvPr>
            <p:ph type="body" sz="quarter" idx="39" hasCustomPrompt="1"/>
          </p:nvPr>
        </p:nvSpPr>
        <p:spPr>
          <a:xfrm>
            <a:off x="3473797"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45" name="Picture Placeholder 93">
            <a:extLst>
              <a:ext uri="{FF2B5EF4-FFF2-40B4-BE49-F238E27FC236}">
                <a16:creationId xmlns:a16="http://schemas.microsoft.com/office/drawing/2014/main" id="{7776C7D7-4A8C-5D4B-8F5C-C18C90A2A416}"/>
              </a:ext>
            </a:extLst>
          </p:cNvPr>
          <p:cNvSpPr>
            <a:spLocks noGrp="1"/>
          </p:cNvSpPr>
          <p:nvPr>
            <p:ph type="pic" sz="quarter" idx="40"/>
          </p:nvPr>
        </p:nvSpPr>
        <p:spPr>
          <a:xfrm>
            <a:off x="6418334" y="2008575"/>
            <a:ext cx="2279924" cy="1522934"/>
          </a:xfrm>
          <a:prstGeom prst="rect">
            <a:avLst/>
          </a:prstGeom>
          <a:solidFill>
            <a:srgbClr val="E5E5E5"/>
          </a:solidFill>
        </p:spPr>
      </p:sp>
      <p:sp>
        <p:nvSpPr>
          <p:cNvPr id="49" name="Text Placeholder 95">
            <a:extLst>
              <a:ext uri="{FF2B5EF4-FFF2-40B4-BE49-F238E27FC236}">
                <a16:creationId xmlns:a16="http://schemas.microsoft.com/office/drawing/2014/main" id="{B626A3B2-AD3B-2E47-BE15-3791CDF9B246}"/>
              </a:ext>
            </a:extLst>
          </p:cNvPr>
          <p:cNvSpPr>
            <a:spLocks noGrp="1"/>
          </p:cNvSpPr>
          <p:nvPr>
            <p:ph type="body" sz="quarter" idx="43" hasCustomPrompt="1"/>
          </p:nvPr>
        </p:nvSpPr>
        <p:spPr>
          <a:xfrm>
            <a:off x="6340543"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50" name="Picture Placeholder 93">
            <a:extLst>
              <a:ext uri="{FF2B5EF4-FFF2-40B4-BE49-F238E27FC236}">
                <a16:creationId xmlns:a16="http://schemas.microsoft.com/office/drawing/2014/main" id="{744169A8-74EC-824B-A301-0B0A48320392}"/>
              </a:ext>
            </a:extLst>
          </p:cNvPr>
          <p:cNvSpPr>
            <a:spLocks noGrp="1"/>
          </p:cNvSpPr>
          <p:nvPr>
            <p:ph type="pic" sz="quarter" idx="44"/>
          </p:nvPr>
        </p:nvSpPr>
        <p:spPr>
          <a:xfrm>
            <a:off x="9267825" y="2008575"/>
            <a:ext cx="2279924" cy="1522934"/>
          </a:xfrm>
          <a:prstGeom prst="rect">
            <a:avLst/>
          </a:prstGeom>
          <a:solidFill>
            <a:srgbClr val="E5E5E5"/>
          </a:solidFill>
        </p:spPr>
      </p:sp>
      <p:sp>
        <p:nvSpPr>
          <p:cNvPr id="54" name="Text Placeholder 95">
            <a:extLst>
              <a:ext uri="{FF2B5EF4-FFF2-40B4-BE49-F238E27FC236}">
                <a16:creationId xmlns:a16="http://schemas.microsoft.com/office/drawing/2014/main" id="{E7D37560-BE1B-B44F-8B13-F992021CED92}"/>
              </a:ext>
            </a:extLst>
          </p:cNvPr>
          <p:cNvSpPr>
            <a:spLocks noGrp="1"/>
          </p:cNvSpPr>
          <p:nvPr>
            <p:ph type="body" sz="quarter" idx="47" hasCustomPrompt="1"/>
          </p:nvPr>
        </p:nvSpPr>
        <p:spPr>
          <a:xfrm>
            <a:off x="9190034" y="4303552"/>
            <a:ext cx="2357715" cy="1538448"/>
          </a:xfrm>
          <a:prstGeom prst="rect">
            <a:avLst/>
          </a:prstGeom>
        </p:spPr>
        <p:txBody>
          <a:bodyPr>
            <a:noAutofit/>
          </a:bodyPr>
          <a:lstStyle>
            <a:lvl1pPr marL="0" indent="0">
              <a:buNone/>
              <a:defRPr sz="1400"/>
            </a:lvl1pPr>
          </a:lstStyle>
          <a:p>
            <a:pPr>
              <a:lnSpc>
                <a:spcPct val="100000"/>
              </a:lnSpc>
            </a:pPr>
            <a:r>
              <a:rPr lang="en-US" noProof="1">
                <a:solidFill>
                  <a:srgbClr val="787875"/>
                </a:solidFill>
                <a:latin typeface="Gibson Light" charset="0"/>
                <a:ea typeface="Gibson Light" charset="0"/>
                <a:cs typeface="Gibson Light" charset="0"/>
              </a:rPr>
              <a:t>Text in here</a:t>
            </a:r>
            <a:endParaRPr lang="en-GB" dirty="0"/>
          </a:p>
        </p:txBody>
      </p:sp>
      <p:sp>
        <p:nvSpPr>
          <p:cNvPr id="33" name="Title 1">
            <a:extLst>
              <a:ext uri="{FF2B5EF4-FFF2-40B4-BE49-F238E27FC236}">
                <a16:creationId xmlns:a16="http://schemas.microsoft.com/office/drawing/2014/main" id="{3FC78697-BE24-A54F-9641-6CE2D667E758}"/>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34" name="Text Placeholder 19">
            <a:extLst>
              <a:ext uri="{FF2B5EF4-FFF2-40B4-BE49-F238E27FC236}">
                <a16:creationId xmlns:a16="http://schemas.microsoft.com/office/drawing/2014/main" id="{D7718604-10F6-4741-89DF-0242972A3E64}"/>
              </a:ext>
            </a:extLst>
          </p:cNvPr>
          <p:cNvSpPr>
            <a:spLocks noGrp="1"/>
          </p:cNvSpPr>
          <p:nvPr>
            <p:ph type="body" sz="quarter" idx="48" hasCustomPrompt="1"/>
          </p:nvPr>
        </p:nvSpPr>
        <p:spPr>
          <a:xfrm>
            <a:off x="621134"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36" name="Text Placeholder 19">
            <a:extLst>
              <a:ext uri="{FF2B5EF4-FFF2-40B4-BE49-F238E27FC236}">
                <a16:creationId xmlns:a16="http://schemas.microsoft.com/office/drawing/2014/main" id="{360F033E-EC13-AF49-8120-C97B270F67AB}"/>
              </a:ext>
            </a:extLst>
          </p:cNvPr>
          <p:cNvSpPr>
            <a:spLocks noGrp="1"/>
          </p:cNvSpPr>
          <p:nvPr>
            <p:ph type="body" sz="quarter" idx="49" hasCustomPrompt="1"/>
          </p:nvPr>
        </p:nvSpPr>
        <p:spPr>
          <a:xfrm>
            <a:off x="3472399"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37" name="Text Placeholder 19">
            <a:extLst>
              <a:ext uri="{FF2B5EF4-FFF2-40B4-BE49-F238E27FC236}">
                <a16:creationId xmlns:a16="http://schemas.microsoft.com/office/drawing/2014/main" id="{C4690658-27FF-F44D-B3B8-197DC8583E51}"/>
              </a:ext>
            </a:extLst>
          </p:cNvPr>
          <p:cNvSpPr>
            <a:spLocks noGrp="1"/>
          </p:cNvSpPr>
          <p:nvPr>
            <p:ph type="body" sz="quarter" idx="50" hasCustomPrompt="1"/>
          </p:nvPr>
        </p:nvSpPr>
        <p:spPr>
          <a:xfrm>
            <a:off x="6340290"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sp>
        <p:nvSpPr>
          <p:cNvPr id="38" name="Text Placeholder 19">
            <a:extLst>
              <a:ext uri="{FF2B5EF4-FFF2-40B4-BE49-F238E27FC236}">
                <a16:creationId xmlns:a16="http://schemas.microsoft.com/office/drawing/2014/main" id="{3E738778-6FF2-274C-BCE6-096F5C0AFE6A}"/>
              </a:ext>
            </a:extLst>
          </p:cNvPr>
          <p:cNvSpPr>
            <a:spLocks noGrp="1"/>
          </p:cNvSpPr>
          <p:nvPr>
            <p:ph type="body" sz="quarter" idx="51" hasCustomPrompt="1"/>
          </p:nvPr>
        </p:nvSpPr>
        <p:spPr>
          <a:xfrm>
            <a:off x="9191555" y="3706649"/>
            <a:ext cx="2361180" cy="581258"/>
          </a:xfrm>
          <a:prstGeom prst="rect">
            <a:avLst/>
          </a:prstGeom>
        </p:spPr>
        <p:txBody>
          <a:bodyPr anchor="b">
            <a:noAutofit/>
          </a:bodyPr>
          <a:lstStyle>
            <a:lvl1pPr marL="0" indent="0">
              <a:lnSpc>
                <a:spcPct val="9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err="1"/>
              <a:t>Imagery</a:t>
            </a:r>
            <a:r>
              <a:rPr lang="de-DE" noProof="0" dirty="0"/>
              <a:t>/Point title </a:t>
            </a:r>
            <a:r>
              <a:rPr lang="de-DE" noProof="0" dirty="0" err="1"/>
              <a:t>or</a:t>
            </a:r>
            <a:r>
              <a:rPr lang="de-DE" noProof="0" dirty="0"/>
              <a:t> </a:t>
            </a:r>
            <a:r>
              <a:rPr lang="de-DE" noProof="0" dirty="0" err="1"/>
              <a:t>some</a:t>
            </a:r>
            <a:r>
              <a:rPr lang="de-DE" noProof="0" dirty="0"/>
              <a:t> </a:t>
            </a:r>
            <a:r>
              <a:rPr lang="de-DE" noProof="0" dirty="0" err="1"/>
              <a:t>description</a:t>
            </a:r>
            <a:r>
              <a:rPr lang="de-DE" noProof="0" dirty="0"/>
              <a:t> </a:t>
            </a:r>
            <a:r>
              <a:rPr lang="de-DE" noProof="0" dirty="0" err="1"/>
              <a:t>here</a:t>
            </a:r>
            <a:endParaRPr lang="de-DE" noProof="0" dirty="0"/>
          </a:p>
        </p:txBody>
      </p:sp>
      <p:pic>
        <p:nvPicPr>
          <p:cNvPr id="20" name="Picture 19">
            <a:extLst>
              <a:ext uri="{FF2B5EF4-FFF2-40B4-BE49-F238E27FC236}">
                <a16:creationId xmlns:a16="http://schemas.microsoft.com/office/drawing/2014/main" id="{288497AA-E66B-A542-8542-0D0CE16FA9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1" name="Straight Connector 20">
            <a:extLst>
              <a:ext uri="{FF2B5EF4-FFF2-40B4-BE49-F238E27FC236}">
                <a16:creationId xmlns:a16="http://schemas.microsoft.com/office/drawing/2014/main" id="{89358917-C116-D34E-935A-2F28E617FE4C}"/>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8532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6" y="1416283"/>
            <a:ext cx="5184306"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4" y="594811"/>
            <a:ext cx="5184308"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3" name="Content Placeholder 2"/>
          <p:cNvSpPr>
            <a:spLocks noGrp="1"/>
          </p:cNvSpPr>
          <p:nvPr>
            <p:ph idx="1" hasCustomPrompt="1"/>
          </p:nvPr>
        </p:nvSpPr>
        <p:spPr>
          <a:xfrm>
            <a:off x="617694" y="2154358"/>
            <a:ext cx="5184307"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34" name="Text Placeholder 4">
            <a:extLst>
              <a:ext uri="{FF2B5EF4-FFF2-40B4-BE49-F238E27FC236}">
                <a16:creationId xmlns:a16="http://schemas.microsoft.com/office/drawing/2014/main" id="{96CDD4B5-EF56-DD46-AEE6-734C6C6C1CB0}"/>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2</a:t>
            </a:r>
          </a:p>
        </p:txBody>
      </p:sp>
      <p:sp>
        <p:nvSpPr>
          <p:cNvPr id="35" name="Text Placeholder 4">
            <a:extLst>
              <a:ext uri="{FF2B5EF4-FFF2-40B4-BE49-F238E27FC236}">
                <a16:creationId xmlns:a16="http://schemas.microsoft.com/office/drawing/2014/main" id="{B9DA348C-A862-6447-AEA0-89F58A4354BA}"/>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4</a:t>
            </a:r>
          </a:p>
        </p:txBody>
      </p:sp>
      <p:sp>
        <p:nvSpPr>
          <p:cNvPr id="36" name="Text Placeholder 4">
            <a:extLst>
              <a:ext uri="{FF2B5EF4-FFF2-40B4-BE49-F238E27FC236}">
                <a16:creationId xmlns:a16="http://schemas.microsoft.com/office/drawing/2014/main" id="{702A0993-B4FF-8646-B55D-627AF91F31D8}"/>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1</a:t>
            </a:r>
          </a:p>
        </p:txBody>
      </p:sp>
      <p:sp>
        <p:nvSpPr>
          <p:cNvPr id="37" name="Text Placeholder 4">
            <a:extLst>
              <a:ext uri="{FF2B5EF4-FFF2-40B4-BE49-F238E27FC236}">
                <a16:creationId xmlns:a16="http://schemas.microsoft.com/office/drawing/2014/main" id="{3CBCD022-E941-0C4A-A5C4-EED8BC3A393B}"/>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3</a:t>
            </a:r>
          </a:p>
        </p:txBody>
      </p:sp>
      <p:pic>
        <p:nvPicPr>
          <p:cNvPr id="18" name="Picture 17">
            <a:extLst>
              <a:ext uri="{FF2B5EF4-FFF2-40B4-BE49-F238E27FC236}">
                <a16:creationId xmlns:a16="http://schemas.microsoft.com/office/drawing/2014/main" id="{FA395300-1886-6F47-8CD7-DD508339CF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9" name="Straight Connector 18">
            <a:extLst>
              <a:ext uri="{FF2B5EF4-FFF2-40B4-BE49-F238E27FC236}">
                <a16:creationId xmlns:a16="http://schemas.microsoft.com/office/drawing/2014/main" id="{9F209B14-4B3B-9E4A-967A-17C9A9794AA9}"/>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852961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ub, Text and 4xImage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3" name="Picture Placeholder 53">
            <a:extLst>
              <a:ext uri="{FF2B5EF4-FFF2-40B4-BE49-F238E27FC236}">
                <a16:creationId xmlns:a16="http://schemas.microsoft.com/office/drawing/2014/main" id="{74C4EF70-47FD-1540-BBA6-779E927FB873}"/>
              </a:ext>
            </a:extLst>
          </p:cNvPr>
          <p:cNvSpPr>
            <a:spLocks noGrp="1"/>
          </p:cNvSpPr>
          <p:nvPr>
            <p:ph type="pic" sz="quarter" idx="14"/>
          </p:nvPr>
        </p:nvSpPr>
        <p:spPr>
          <a:xfrm>
            <a:off x="6387289" y="1089024"/>
            <a:ext cx="2496857" cy="2280603"/>
          </a:xfrm>
          <a:prstGeom prst="rect">
            <a:avLst/>
          </a:prstGeom>
          <a:solidFill>
            <a:srgbClr val="E5E5E5"/>
          </a:solidFill>
        </p:spPr>
      </p:sp>
      <p:sp>
        <p:nvSpPr>
          <p:cNvPr id="15" name="Picture Placeholder 55">
            <a:extLst>
              <a:ext uri="{FF2B5EF4-FFF2-40B4-BE49-F238E27FC236}">
                <a16:creationId xmlns:a16="http://schemas.microsoft.com/office/drawing/2014/main" id="{77694B11-9EA9-3A47-B2BA-BE0DA4BDE08D}"/>
              </a:ext>
            </a:extLst>
          </p:cNvPr>
          <p:cNvSpPr>
            <a:spLocks noGrp="1"/>
          </p:cNvSpPr>
          <p:nvPr>
            <p:ph type="pic" sz="quarter" idx="18"/>
          </p:nvPr>
        </p:nvSpPr>
        <p:spPr>
          <a:xfrm>
            <a:off x="9064799" y="1090221"/>
            <a:ext cx="2501731" cy="2279407"/>
          </a:xfrm>
          <a:prstGeom prst="rect">
            <a:avLst/>
          </a:prstGeom>
          <a:solidFill>
            <a:srgbClr val="E5E5E5"/>
          </a:solidFill>
        </p:spPr>
      </p:sp>
      <p:sp>
        <p:nvSpPr>
          <p:cNvPr id="16" name="Picture Placeholder 58">
            <a:extLst>
              <a:ext uri="{FF2B5EF4-FFF2-40B4-BE49-F238E27FC236}">
                <a16:creationId xmlns:a16="http://schemas.microsoft.com/office/drawing/2014/main" id="{8C6E7D36-2FDA-D84B-B7C7-810941B24EA5}"/>
              </a:ext>
            </a:extLst>
          </p:cNvPr>
          <p:cNvSpPr>
            <a:spLocks noGrp="1"/>
          </p:cNvSpPr>
          <p:nvPr>
            <p:ph type="pic" sz="quarter" idx="22"/>
          </p:nvPr>
        </p:nvSpPr>
        <p:spPr>
          <a:xfrm>
            <a:off x="6380917" y="3561384"/>
            <a:ext cx="2503229" cy="2280615"/>
          </a:xfrm>
          <a:prstGeom prst="rect">
            <a:avLst/>
          </a:prstGeom>
          <a:solidFill>
            <a:srgbClr val="E5E5E5"/>
          </a:solidFill>
        </p:spPr>
      </p:sp>
      <p:sp>
        <p:nvSpPr>
          <p:cNvPr id="17" name="Picture Placeholder 60">
            <a:extLst>
              <a:ext uri="{FF2B5EF4-FFF2-40B4-BE49-F238E27FC236}">
                <a16:creationId xmlns:a16="http://schemas.microsoft.com/office/drawing/2014/main" id="{CA149B4F-C2D6-2043-9541-61A54595DE7D}"/>
              </a:ext>
            </a:extLst>
          </p:cNvPr>
          <p:cNvSpPr>
            <a:spLocks noGrp="1"/>
          </p:cNvSpPr>
          <p:nvPr>
            <p:ph type="pic" sz="quarter" idx="23"/>
          </p:nvPr>
        </p:nvSpPr>
        <p:spPr>
          <a:xfrm>
            <a:off x="9064669" y="3562592"/>
            <a:ext cx="2502647" cy="2279407"/>
          </a:xfrm>
          <a:prstGeom prst="rect">
            <a:avLst/>
          </a:prstGeom>
          <a:solidFill>
            <a:srgbClr val="E5E5E5"/>
          </a:solidFill>
        </p:spPr>
      </p:sp>
      <p:sp>
        <p:nvSpPr>
          <p:cNvPr id="22" name="Content Placeholder 2">
            <a:extLst>
              <a:ext uri="{FF2B5EF4-FFF2-40B4-BE49-F238E27FC236}">
                <a16:creationId xmlns:a16="http://schemas.microsoft.com/office/drawing/2014/main" id="{331D0499-018D-0343-A2FE-983D6CE6F2F7}"/>
              </a:ext>
            </a:extLst>
          </p:cNvPr>
          <p:cNvSpPr>
            <a:spLocks noGrp="1"/>
          </p:cNvSpPr>
          <p:nvPr>
            <p:ph idx="46" hasCustomPrompt="1"/>
          </p:nvPr>
        </p:nvSpPr>
        <p:spPr>
          <a:xfrm>
            <a:off x="617693" y="1908061"/>
            <a:ext cx="518430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23" name="Title 1">
            <a:extLst>
              <a:ext uri="{FF2B5EF4-FFF2-40B4-BE49-F238E27FC236}">
                <a16:creationId xmlns:a16="http://schemas.microsoft.com/office/drawing/2014/main" id="{EE21965E-9E14-354B-B97D-235D02646393}"/>
              </a:ext>
            </a:extLst>
          </p:cNvPr>
          <p:cNvSpPr>
            <a:spLocks noGrp="1"/>
          </p:cNvSpPr>
          <p:nvPr>
            <p:ph type="title" hasCustomPrompt="1"/>
          </p:nvPr>
        </p:nvSpPr>
        <p:spPr>
          <a:xfrm>
            <a:off x="617693" y="688454"/>
            <a:ext cx="518430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sp>
        <p:nvSpPr>
          <p:cNvPr id="24" name="Text Placeholder 4">
            <a:extLst>
              <a:ext uri="{FF2B5EF4-FFF2-40B4-BE49-F238E27FC236}">
                <a16:creationId xmlns:a16="http://schemas.microsoft.com/office/drawing/2014/main" id="{662ED520-B46D-2C44-8A68-4F0D542CDBB8}"/>
              </a:ext>
            </a:extLst>
          </p:cNvPr>
          <p:cNvSpPr>
            <a:spLocks noGrp="1"/>
          </p:cNvSpPr>
          <p:nvPr>
            <p:ph type="body" sz="quarter" idx="16" hasCustomPrompt="1"/>
          </p:nvPr>
        </p:nvSpPr>
        <p:spPr>
          <a:xfrm>
            <a:off x="11389705"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2</a:t>
            </a:r>
          </a:p>
        </p:txBody>
      </p:sp>
      <p:sp>
        <p:nvSpPr>
          <p:cNvPr id="25" name="Text Placeholder 4">
            <a:extLst>
              <a:ext uri="{FF2B5EF4-FFF2-40B4-BE49-F238E27FC236}">
                <a16:creationId xmlns:a16="http://schemas.microsoft.com/office/drawing/2014/main" id="{ADFEC42D-9770-9645-8675-936531B9D66C}"/>
              </a:ext>
            </a:extLst>
          </p:cNvPr>
          <p:cNvSpPr>
            <a:spLocks noGrp="1"/>
          </p:cNvSpPr>
          <p:nvPr>
            <p:ph type="body" sz="quarter" idx="24" hasCustomPrompt="1"/>
          </p:nvPr>
        </p:nvSpPr>
        <p:spPr>
          <a:xfrm>
            <a:off x="11389705"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4</a:t>
            </a:r>
          </a:p>
        </p:txBody>
      </p:sp>
      <p:sp>
        <p:nvSpPr>
          <p:cNvPr id="34" name="Text Placeholder 4">
            <a:extLst>
              <a:ext uri="{FF2B5EF4-FFF2-40B4-BE49-F238E27FC236}">
                <a16:creationId xmlns:a16="http://schemas.microsoft.com/office/drawing/2014/main" id="{63B05CE3-5D8A-E74A-A03B-F0E6A592274B}"/>
              </a:ext>
            </a:extLst>
          </p:cNvPr>
          <p:cNvSpPr>
            <a:spLocks noGrp="1"/>
          </p:cNvSpPr>
          <p:nvPr>
            <p:ph type="body" sz="quarter" idx="25" hasCustomPrompt="1"/>
          </p:nvPr>
        </p:nvSpPr>
        <p:spPr>
          <a:xfrm>
            <a:off x="8706140" y="3190055"/>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1</a:t>
            </a:r>
          </a:p>
        </p:txBody>
      </p:sp>
      <p:sp>
        <p:nvSpPr>
          <p:cNvPr id="35" name="Text Placeholder 4">
            <a:extLst>
              <a:ext uri="{FF2B5EF4-FFF2-40B4-BE49-F238E27FC236}">
                <a16:creationId xmlns:a16="http://schemas.microsoft.com/office/drawing/2014/main" id="{B1019EFD-BDFD-1245-BF19-B2F0F1D38DC7}"/>
              </a:ext>
            </a:extLst>
          </p:cNvPr>
          <p:cNvSpPr>
            <a:spLocks noGrp="1"/>
          </p:cNvSpPr>
          <p:nvPr>
            <p:ph type="body" sz="quarter" idx="26" hasCustomPrompt="1"/>
          </p:nvPr>
        </p:nvSpPr>
        <p:spPr>
          <a:xfrm>
            <a:off x="8706140" y="5666783"/>
            <a:ext cx="181581" cy="183600"/>
          </a:xfrm>
          <a:prstGeom prst="rect">
            <a:avLst/>
          </a:prstGeom>
          <a:solidFill>
            <a:srgbClr val="005EB8"/>
          </a:solidFill>
        </p:spPr>
        <p:txBody>
          <a:bodyPr>
            <a:noAutofit/>
          </a:bodyPr>
          <a:lstStyle>
            <a:lvl1pPr marL="0" indent="0" algn="ctr">
              <a:lnSpc>
                <a:spcPts val="1000"/>
              </a:lnSpc>
              <a:buNone/>
              <a:defRPr sz="1000" b="0" i="0">
                <a:solidFill>
                  <a:schemeClr val="bg1"/>
                </a:solidFill>
                <a:latin typeface="Gibson" panose="02000000000000000000" pitchFamily="2" charset="7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3</a:t>
            </a:r>
          </a:p>
        </p:txBody>
      </p:sp>
      <p:pic>
        <p:nvPicPr>
          <p:cNvPr id="18" name="Picture 17">
            <a:extLst>
              <a:ext uri="{FF2B5EF4-FFF2-40B4-BE49-F238E27FC236}">
                <a16:creationId xmlns:a16="http://schemas.microsoft.com/office/drawing/2014/main" id="{5050A5EE-E70E-984C-8F37-C80CCA3F701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9" name="Straight Connector 18">
            <a:extLst>
              <a:ext uri="{FF2B5EF4-FFF2-40B4-BE49-F238E27FC236}">
                <a16:creationId xmlns:a16="http://schemas.microsoft.com/office/drawing/2014/main" id="{7F5BDC71-EA81-0840-A58C-896EBCDE95AD}"/>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167897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36412661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15" name="Picture 14">
            <a:extLst>
              <a:ext uri="{FF2B5EF4-FFF2-40B4-BE49-F238E27FC236}">
                <a16:creationId xmlns:a16="http://schemas.microsoft.com/office/drawing/2014/main" id="{4C4918EE-227F-3F44-888A-63DA0A4CF67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6" name="Straight Connector 15">
            <a:extLst>
              <a:ext uri="{FF2B5EF4-FFF2-40B4-BE49-F238E27FC236}">
                <a16:creationId xmlns:a16="http://schemas.microsoft.com/office/drawing/2014/main" id="{4CD2DEB0-5DFE-8B48-A835-93D3A3005E7E}"/>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386933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4xImages, Title, Sub and Text  ">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F70A6EA6-6831-5249-A888-146720242672}"/>
              </a:ext>
            </a:extLst>
          </p:cNvPr>
          <p:cNvSpPr>
            <a:spLocks noGrp="1"/>
          </p:cNvSpPr>
          <p:nvPr>
            <p:ph type="pic" sz="quarter" idx="23" hasCustomPrompt="1"/>
          </p:nvPr>
        </p:nvSpPr>
        <p:spPr>
          <a:xfrm>
            <a:off x="0"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8" name="Picture Placeholder 2">
            <a:extLst>
              <a:ext uri="{FF2B5EF4-FFF2-40B4-BE49-F238E27FC236}">
                <a16:creationId xmlns:a16="http://schemas.microsoft.com/office/drawing/2014/main" id="{8844CCE3-EFC1-304E-9202-A5654E95F5A9}"/>
              </a:ext>
            </a:extLst>
          </p:cNvPr>
          <p:cNvSpPr>
            <a:spLocks noGrp="1"/>
          </p:cNvSpPr>
          <p:nvPr>
            <p:ph type="pic" sz="quarter" idx="24" hasCustomPrompt="1"/>
          </p:nvPr>
        </p:nvSpPr>
        <p:spPr>
          <a:xfrm>
            <a:off x="3054698" y="3426488"/>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3" name="Picture Placeholder 2">
            <a:extLst>
              <a:ext uri="{FF2B5EF4-FFF2-40B4-BE49-F238E27FC236}">
                <a16:creationId xmlns:a16="http://schemas.microsoft.com/office/drawing/2014/main" id="{98DC9094-3774-D944-871A-B66139846E3F}"/>
              </a:ext>
            </a:extLst>
          </p:cNvPr>
          <p:cNvSpPr>
            <a:spLocks noGrp="1"/>
          </p:cNvSpPr>
          <p:nvPr>
            <p:ph type="pic" sz="quarter" idx="22" hasCustomPrompt="1"/>
          </p:nvPr>
        </p:nvSpPr>
        <p:spPr>
          <a:xfrm>
            <a:off x="3054698" y="0"/>
            <a:ext cx="3049200" cy="3429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5" name="Content Placeholder 2">
            <a:extLst>
              <a:ext uri="{FF2B5EF4-FFF2-40B4-BE49-F238E27FC236}">
                <a16:creationId xmlns:a16="http://schemas.microsoft.com/office/drawing/2014/main" id="{5F75D192-DA1D-4F46-B54F-60910BAD2EDB}"/>
              </a:ext>
            </a:extLst>
          </p:cNvPr>
          <p:cNvSpPr>
            <a:spLocks noGrp="1"/>
          </p:cNvSpPr>
          <p:nvPr>
            <p:ph idx="25" hasCustomPrompt="1"/>
          </p:nvPr>
        </p:nvSpPr>
        <p:spPr>
          <a:xfrm>
            <a:off x="6679552"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BIGGEST COPY SIZE: Click to edit Master text styles</a:t>
            </a:r>
          </a:p>
          <a:p>
            <a:pPr lvl="1"/>
            <a:r>
              <a:rPr lang="en-US" dirty="0"/>
              <a:t>Second level</a:t>
            </a:r>
          </a:p>
          <a:p>
            <a:pPr lvl="2"/>
            <a:r>
              <a:rPr lang="en-US" dirty="0"/>
              <a:t>Third level</a:t>
            </a:r>
          </a:p>
          <a:p>
            <a:pPr lvl="3"/>
            <a:r>
              <a:rPr lang="en-US" dirty="0"/>
              <a:t>Fourth level</a:t>
            </a:r>
          </a:p>
          <a:p>
            <a:pPr lvl="4"/>
            <a:r>
              <a:rPr lang="en-US" dirty="0"/>
              <a:t>SMALLEST COPY SIZE: Fifth </a:t>
            </a:r>
            <a:r>
              <a:rPr lang="en-US" dirty="0" err="1"/>
              <a:t>levelz</a:t>
            </a:r>
            <a:endParaRPr lang="en-US" dirty="0"/>
          </a:p>
        </p:txBody>
      </p:sp>
      <p:sp>
        <p:nvSpPr>
          <p:cNvPr id="16" name="Title 1">
            <a:extLst>
              <a:ext uri="{FF2B5EF4-FFF2-40B4-BE49-F238E27FC236}">
                <a16:creationId xmlns:a16="http://schemas.microsoft.com/office/drawing/2014/main" id="{18A6BC4A-9619-B046-9D7F-B13BFFA1D5BA}"/>
              </a:ext>
            </a:extLst>
          </p:cNvPr>
          <p:cNvSpPr>
            <a:spLocks noGrp="1"/>
          </p:cNvSpPr>
          <p:nvPr>
            <p:ph type="title" hasCustomPrompt="1"/>
          </p:nvPr>
        </p:nvSpPr>
        <p:spPr>
          <a:xfrm>
            <a:off x="6679552"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14" name="Picture 13">
            <a:extLst>
              <a:ext uri="{FF2B5EF4-FFF2-40B4-BE49-F238E27FC236}">
                <a16:creationId xmlns:a16="http://schemas.microsoft.com/office/drawing/2014/main" id="{B440EFE6-9296-4E4B-B397-2429F9EDCF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9" name="Straight Connector 18">
            <a:extLst>
              <a:ext uri="{FF2B5EF4-FFF2-40B4-BE49-F238E27FC236}">
                <a16:creationId xmlns:a16="http://schemas.microsoft.com/office/drawing/2014/main" id="{6CC26C9B-F4F6-924F-AD81-04E418C42673}"/>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47315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pos="191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Sub and 1xQuote">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3" name="Content Placeholder 2"/>
          <p:cNvSpPr>
            <a:spLocks noGrp="1"/>
          </p:cNvSpPr>
          <p:nvPr>
            <p:ph idx="1" hasCustomPrompt="1"/>
          </p:nvPr>
        </p:nvSpPr>
        <p:spPr>
          <a:xfrm>
            <a:off x="617691" y="2154358"/>
            <a:ext cx="9703468" cy="2615940"/>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pic>
        <p:nvPicPr>
          <p:cNvPr id="17" name="Picture 16">
            <a:extLst>
              <a:ext uri="{FF2B5EF4-FFF2-40B4-BE49-F238E27FC236}">
                <a16:creationId xmlns:a16="http://schemas.microsoft.com/office/drawing/2014/main" id="{05A8C6F1-06E8-F447-A022-6C4D24B79D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8" name="Straight Connector 17">
            <a:extLst>
              <a:ext uri="{FF2B5EF4-FFF2-40B4-BE49-F238E27FC236}">
                <a16:creationId xmlns:a16="http://schemas.microsoft.com/office/drawing/2014/main" id="{89688364-4FA7-174A-A7AC-C063DEC8488A}"/>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94081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and 1xQuote">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D3EF5A47-EDB8-0E49-8172-1A8E97A9D75B}"/>
              </a:ext>
            </a:extLst>
          </p:cNvPr>
          <p:cNvSpPr>
            <a:spLocks noGrp="1"/>
          </p:cNvSpPr>
          <p:nvPr>
            <p:ph idx="25" hasCustomPrompt="1"/>
          </p:nvPr>
        </p:nvSpPr>
        <p:spPr>
          <a:xfrm>
            <a:off x="1750574" y="516881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5" name="Content Placeholder 2">
            <a:extLst>
              <a:ext uri="{FF2B5EF4-FFF2-40B4-BE49-F238E27FC236}">
                <a16:creationId xmlns:a16="http://schemas.microsoft.com/office/drawing/2014/main" id="{D26D31B9-7EAC-D440-AFC1-5A2FDC9F6B0C}"/>
              </a:ext>
            </a:extLst>
          </p:cNvPr>
          <p:cNvSpPr>
            <a:spLocks noGrp="1"/>
          </p:cNvSpPr>
          <p:nvPr>
            <p:ph idx="26" hasCustomPrompt="1"/>
          </p:nvPr>
        </p:nvSpPr>
        <p:spPr>
          <a:xfrm>
            <a:off x="1748310" y="561551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3" name="Content Placeholder 2"/>
          <p:cNvSpPr>
            <a:spLocks noGrp="1"/>
          </p:cNvSpPr>
          <p:nvPr>
            <p:ph idx="1" hasCustomPrompt="1"/>
          </p:nvPr>
        </p:nvSpPr>
        <p:spPr>
          <a:xfrm>
            <a:off x="617691" y="1902234"/>
            <a:ext cx="9703468" cy="2868063"/>
          </a:xfrm>
          <a:prstGeom prst="rect">
            <a:avLst/>
          </a:prstGeom>
        </p:spPr>
        <p:txBody>
          <a:bodyPr>
            <a:normAutofit/>
          </a:bodyPr>
          <a:lstStyle>
            <a:lvl1pPr marL="228600" indent="-228600">
              <a:buSzPct val="70000"/>
              <a:buFont typeface="Symbol" pitchFamily="2" charset="2"/>
              <a:buChar char="-"/>
              <a:defRPr sz="2700" b="0" i="1">
                <a:solidFill>
                  <a:srgbClr val="A6A6A8"/>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dirty="0"/>
              <a:t>“ Quote Her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cxnSp>
        <p:nvCxnSpPr>
          <p:cNvPr id="21" name="Straight Connector 20">
            <a:extLst>
              <a:ext uri="{FF2B5EF4-FFF2-40B4-BE49-F238E27FC236}">
                <a16:creationId xmlns:a16="http://schemas.microsoft.com/office/drawing/2014/main" id="{118FCA42-C25C-6845-B0C6-FD08287FE70C}"/>
              </a:ext>
            </a:extLst>
          </p:cNvPr>
          <p:cNvCxnSpPr>
            <a:cxnSpLocks/>
          </p:cNvCxnSpPr>
          <p:nvPr userDrawn="1"/>
        </p:nvCxnSpPr>
        <p:spPr>
          <a:xfrm flipH="1">
            <a:off x="1540264" y="5596059"/>
            <a:ext cx="1965585"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2" name="Picture Placeholder 93">
            <a:extLst>
              <a:ext uri="{FF2B5EF4-FFF2-40B4-BE49-F238E27FC236}">
                <a16:creationId xmlns:a16="http://schemas.microsoft.com/office/drawing/2014/main" id="{662A12BB-E446-1C47-ADE3-317F0500487E}"/>
              </a:ext>
            </a:extLst>
          </p:cNvPr>
          <p:cNvSpPr>
            <a:spLocks noGrp="1"/>
          </p:cNvSpPr>
          <p:nvPr>
            <p:ph type="pic" sz="quarter" idx="4294967295"/>
          </p:nvPr>
        </p:nvSpPr>
        <p:spPr>
          <a:xfrm>
            <a:off x="695325" y="5222758"/>
            <a:ext cx="857774" cy="847818"/>
          </a:xfrm>
          <a:prstGeom prst="ellipse">
            <a:avLst/>
          </a:prstGeom>
          <a:solidFill>
            <a:srgbClr val="E5E5E5"/>
          </a:solidFill>
        </p:spPr>
      </p:sp>
      <p:sp>
        <p:nvSpPr>
          <p:cNvPr id="28" name="Text Placeholder 4">
            <a:extLst>
              <a:ext uri="{FF2B5EF4-FFF2-40B4-BE49-F238E27FC236}">
                <a16:creationId xmlns:a16="http://schemas.microsoft.com/office/drawing/2014/main" id="{1100589A-18DD-8A46-B15B-D85CF7473254}"/>
              </a:ext>
            </a:extLst>
          </p:cNvPr>
          <p:cNvSpPr>
            <a:spLocks noGrp="1"/>
          </p:cNvSpPr>
          <p:nvPr>
            <p:ph type="body" sz="quarter" idx="16" hasCustomPrompt="1"/>
          </p:nvPr>
        </p:nvSpPr>
        <p:spPr>
          <a:xfrm>
            <a:off x="435078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sp>
        <p:nvSpPr>
          <p:cNvPr id="29" name="Text Placeholder 4">
            <a:extLst>
              <a:ext uri="{FF2B5EF4-FFF2-40B4-BE49-F238E27FC236}">
                <a16:creationId xmlns:a16="http://schemas.microsoft.com/office/drawing/2014/main" id="{1F850521-2278-5846-AE3D-8D57D5183F33}"/>
              </a:ext>
            </a:extLst>
          </p:cNvPr>
          <p:cNvSpPr>
            <a:spLocks noGrp="1"/>
          </p:cNvSpPr>
          <p:nvPr>
            <p:ph type="body" sz="quarter" idx="27" hasCustomPrompt="1"/>
          </p:nvPr>
        </p:nvSpPr>
        <p:spPr>
          <a:xfrm>
            <a:off x="6788633"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sp>
        <p:nvSpPr>
          <p:cNvPr id="30" name="Text Placeholder 4">
            <a:extLst>
              <a:ext uri="{FF2B5EF4-FFF2-40B4-BE49-F238E27FC236}">
                <a16:creationId xmlns:a16="http://schemas.microsoft.com/office/drawing/2014/main" id="{4C38C14D-59DD-754C-94CB-56B5A572D34C}"/>
              </a:ext>
            </a:extLst>
          </p:cNvPr>
          <p:cNvSpPr>
            <a:spLocks noGrp="1"/>
          </p:cNvSpPr>
          <p:nvPr>
            <p:ph type="body" sz="quarter" idx="28" hasCustomPrompt="1"/>
          </p:nvPr>
        </p:nvSpPr>
        <p:spPr>
          <a:xfrm>
            <a:off x="9226478" y="5443837"/>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a:t>
            </a:r>
            <a:r>
              <a:rPr lang="de-DE" noProof="0" dirty="0" err="1"/>
              <a:t>logos</a:t>
            </a:r>
            <a:r>
              <a:rPr lang="de-DE" noProof="0" dirty="0"/>
              <a:t>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HEIGHT </a:t>
            </a:r>
            <a:r>
              <a:rPr lang="de-DE" noProof="0" dirty="0" err="1"/>
              <a:t>or</a:t>
            </a:r>
            <a:r>
              <a:rPr lang="de-DE" noProof="0" dirty="0"/>
              <a:t> DELETE</a:t>
            </a:r>
          </a:p>
        </p:txBody>
      </p:sp>
      <p:sp>
        <p:nvSpPr>
          <p:cNvPr id="20" name="Title 1">
            <a:extLst>
              <a:ext uri="{FF2B5EF4-FFF2-40B4-BE49-F238E27FC236}">
                <a16:creationId xmlns:a16="http://schemas.microsoft.com/office/drawing/2014/main" id="{8B468550-6451-EA4C-A312-1E70F2BE10EC}"/>
              </a:ext>
            </a:extLst>
          </p:cNvPr>
          <p:cNvSpPr>
            <a:spLocks noGrp="1"/>
          </p:cNvSpPr>
          <p:nvPr>
            <p:ph type="title" hasCustomPrompt="1"/>
          </p:nvPr>
        </p:nvSpPr>
        <p:spPr>
          <a:xfrm>
            <a:off x="617693" y="688454"/>
            <a:ext cx="654839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16" name="Picture 15">
            <a:extLst>
              <a:ext uri="{FF2B5EF4-FFF2-40B4-BE49-F238E27FC236}">
                <a16:creationId xmlns:a16="http://schemas.microsoft.com/office/drawing/2014/main" id="{8DC03F7A-7E8A-B547-97B6-9818AB1FBF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17" name="Straight Connector 16">
            <a:extLst>
              <a:ext uri="{FF2B5EF4-FFF2-40B4-BE49-F238E27FC236}">
                <a16:creationId xmlns:a16="http://schemas.microsoft.com/office/drawing/2014/main" id="{A675AC31-2027-2E4B-AAAB-4E969FB07880}"/>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7847057"/>
      </p:ext>
    </p:extLst>
  </p:cSld>
  <p:clrMapOvr>
    <a:masterClrMapping/>
  </p:clrMapOvr>
  <p:extLst>
    <p:ext uri="{DCECCB84-F9BA-43D5-87BE-67443E8EF086}">
      <p15:sldGuideLst xmlns:p15="http://schemas.microsoft.com/office/powerpoint/2012/main">
        <p15:guide id="1" orient="horz" pos="3022">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537312"/>
            <a:ext cx="5197889"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2152062"/>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2152062"/>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774789"/>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774789"/>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537312"/>
            <a:ext cx="5185600" cy="1304687"/>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344920"/>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791624"/>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pic>
        <p:nvPicPr>
          <p:cNvPr id="19" name="Picture 18">
            <a:extLst>
              <a:ext uri="{FF2B5EF4-FFF2-40B4-BE49-F238E27FC236}">
                <a16:creationId xmlns:a16="http://schemas.microsoft.com/office/drawing/2014/main" id="{AB68C087-6B74-6145-A371-844B8F0574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1" name="Straight Connector 20">
            <a:extLst>
              <a:ext uri="{FF2B5EF4-FFF2-40B4-BE49-F238E27FC236}">
                <a16:creationId xmlns:a16="http://schemas.microsoft.com/office/drawing/2014/main" id="{E6B02BE3-0ACD-524D-AC72-DE35CDC476D5}"/>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48442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Sub and 2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4287360"/>
            <a:ext cx="5197889"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93">
            <a:extLst>
              <a:ext uri="{FF2B5EF4-FFF2-40B4-BE49-F238E27FC236}">
                <a16:creationId xmlns:a16="http://schemas.microsoft.com/office/drawing/2014/main" id="{83DB7C5F-27FC-7D4A-9C60-7B8B59F95A5E}"/>
              </a:ext>
            </a:extLst>
          </p:cNvPr>
          <p:cNvSpPr>
            <a:spLocks noGrp="1"/>
          </p:cNvSpPr>
          <p:nvPr>
            <p:ph type="pic" sz="quarter" idx="4294967295"/>
          </p:nvPr>
        </p:nvSpPr>
        <p:spPr>
          <a:xfrm>
            <a:off x="615371" y="1902110"/>
            <a:ext cx="2101184" cy="2076796"/>
          </a:xfrm>
          <a:prstGeom prst="ellipse">
            <a:avLst/>
          </a:prstGeom>
          <a:solidFill>
            <a:srgbClr val="E5E5E5"/>
          </a:solidFill>
        </p:spPr>
      </p:sp>
      <p:sp>
        <p:nvSpPr>
          <p:cNvPr id="13" name="Picture Placeholder 93">
            <a:extLst>
              <a:ext uri="{FF2B5EF4-FFF2-40B4-BE49-F238E27FC236}">
                <a16:creationId xmlns:a16="http://schemas.microsoft.com/office/drawing/2014/main" id="{D0439A3D-6A2C-8847-A3B8-C66773C4FEFD}"/>
              </a:ext>
            </a:extLst>
          </p:cNvPr>
          <p:cNvSpPr>
            <a:spLocks noGrp="1"/>
          </p:cNvSpPr>
          <p:nvPr>
            <p:ph type="pic" sz="quarter" idx="4294967295"/>
          </p:nvPr>
        </p:nvSpPr>
        <p:spPr>
          <a:xfrm>
            <a:off x="6497796" y="1902110"/>
            <a:ext cx="2101184" cy="2076796"/>
          </a:xfrm>
          <a:prstGeom prst="ellipse">
            <a:avLst/>
          </a:prstGeom>
          <a:solidFill>
            <a:srgbClr val="E5E5E5"/>
          </a:solidFill>
        </p:spPr>
      </p:sp>
      <p:cxnSp>
        <p:nvCxnSpPr>
          <p:cNvPr id="18" name="Straight Connector 17">
            <a:extLst>
              <a:ext uri="{FF2B5EF4-FFF2-40B4-BE49-F238E27FC236}">
                <a16:creationId xmlns:a16="http://schemas.microsoft.com/office/drawing/2014/main" id="{2CB2AFD0-1693-E844-B0CA-D91FEE6B6C2B}"/>
              </a:ext>
            </a:extLst>
          </p:cNvPr>
          <p:cNvCxnSpPr/>
          <p:nvPr userDrawn="1"/>
        </p:nvCxnSpPr>
        <p:spPr>
          <a:xfrm flipH="1">
            <a:off x="2508570" y="3524837"/>
            <a:ext cx="1955854"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BE7F4A-2CFC-5941-8BBE-69230DAE5BF2}"/>
              </a:ext>
            </a:extLst>
          </p:cNvPr>
          <p:cNvCxnSpPr/>
          <p:nvPr userDrawn="1"/>
        </p:nvCxnSpPr>
        <p:spPr>
          <a:xfrm flipH="1">
            <a:off x="8398388" y="3524837"/>
            <a:ext cx="1972962"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6E06E35E-AB84-2B42-9B65-D0FD37A54382}"/>
              </a:ext>
            </a:extLst>
          </p:cNvPr>
          <p:cNvSpPr>
            <a:spLocks noGrp="1"/>
          </p:cNvSpPr>
          <p:nvPr>
            <p:ph idx="22" hasCustomPrompt="1"/>
          </p:nvPr>
        </p:nvSpPr>
        <p:spPr>
          <a:xfrm>
            <a:off x="6382513" y="4287360"/>
            <a:ext cx="5185600" cy="1554640"/>
          </a:xfrm>
          <a:prstGeom prst="rect">
            <a:avLst/>
          </a:prstGeom>
        </p:spPr>
        <p:txBody>
          <a:bodyPr>
            <a:normAutofit/>
          </a:bodyPr>
          <a:lstStyle>
            <a:lvl1pPr marL="0" indent="0">
              <a:lnSpc>
                <a:spcPct val="100000"/>
              </a:lnSpc>
              <a:buSzPct val="70000"/>
              <a:buFont typeface="Symbol" pitchFamily="2" charset="2"/>
              <a:buNone/>
              <a:defRPr sz="210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24" name="Content Placeholder 2">
            <a:extLst>
              <a:ext uri="{FF2B5EF4-FFF2-40B4-BE49-F238E27FC236}">
                <a16:creationId xmlns:a16="http://schemas.microsoft.com/office/drawing/2014/main" id="{1C75D458-3D36-244A-96F0-C71854070EA5}"/>
              </a:ext>
            </a:extLst>
          </p:cNvPr>
          <p:cNvSpPr>
            <a:spLocks noGrp="1"/>
          </p:cNvSpPr>
          <p:nvPr>
            <p:ph idx="23" hasCustomPrompt="1"/>
          </p:nvPr>
        </p:nvSpPr>
        <p:spPr>
          <a:xfrm>
            <a:off x="8610962"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5" name="Content Placeholder 2">
            <a:extLst>
              <a:ext uri="{FF2B5EF4-FFF2-40B4-BE49-F238E27FC236}">
                <a16:creationId xmlns:a16="http://schemas.microsoft.com/office/drawing/2014/main" id="{C042EE51-F476-8D4B-9E2E-8B2473A9B931}"/>
              </a:ext>
            </a:extLst>
          </p:cNvPr>
          <p:cNvSpPr>
            <a:spLocks noGrp="1"/>
          </p:cNvSpPr>
          <p:nvPr>
            <p:ph idx="24" hasCustomPrompt="1"/>
          </p:nvPr>
        </p:nvSpPr>
        <p:spPr>
          <a:xfrm>
            <a:off x="8608698"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2719046" y="3094968"/>
            <a:ext cx="2957150" cy="444921"/>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21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2716782" y="3541672"/>
            <a:ext cx="2959414" cy="311550"/>
          </a:xfrm>
          <a:prstGeom prst="rect">
            <a:avLst/>
          </a:prstGeom>
        </p:spPr>
        <p:txBody>
          <a:bodyPr>
            <a:normAutofit/>
          </a:bodyPr>
          <a:lstStyle>
            <a:lvl1pPr marL="0" marR="0" indent="0" algn="l" defTabSz="914400" rtl="0" eaLnBrk="1" fontAlgn="auto" latinLnBrk="0" hangingPunct="1">
              <a:lnSpc>
                <a:spcPct val="100000"/>
              </a:lnSpc>
              <a:spcBef>
                <a:spcPts val="1000"/>
              </a:spcBef>
              <a:spcAft>
                <a:spcPts val="0"/>
              </a:spcAft>
              <a:buClrTx/>
              <a:buSzPct val="70000"/>
              <a:buFont typeface="Symbol" pitchFamily="2" charset="2"/>
              <a:buNone/>
              <a:tabLst/>
              <a:defRPr sz="14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here please</a:t>
            </a:r>
          </a:p>
        </p:txBody>
      </p:sp>
      <p:sp>
        <p:nvSpPr>
          <p:cNvPr id="21" name="Title 1">
            <a:extLst>
              <a:ext uri="{FF2B5EF4-FFF2-40B4-BE49-F238E27FC236}">
                <a16:creationId xmlns:a16="http://schemas.microsoft.com/office/drawing/2014/main" id="{4C5EE489-6FC6-1F4C-A023-77BCF4171746}"/>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19" name="Picture 18">
            <a:extLst>
              <a:ext uri="{FF2B5EF4-FFF2-40B4-BE49-F238E27FC236}">
                <a16:creationId xmlns:a16="http://schemas.microsoft.com/office/drawing/2014/main" id="{74E8A515-CF94-AC46-8262-CBEAB64DC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2" name="Straight Connector 21">
            <a:extLst>
              <a:ext uri="{FF2B5EF4-FFF2-40B4-BE49-F238E27FC236}">
                <a16:creationId xmlns:a16="http://schemas.microsoft.com/office/drawing/2014/main" id="{92F77F0A-741C-F649-A625-8E03824FA724}"/>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889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2120793"/>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2120793"/>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578688"/>
            <a:ext cx="3240000" cy="1263311"/>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2120793"/>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936154"/>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970547"/>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598273"/>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pic>
        <p:nvPicPr>
          <p:cNvPr id="24" name="Picture 23">
            <a:extLst>
              <a:ext uri="{FF2B5EF4-FFF2-40B4-BE49-F238E27FC236}">
                <a16:creationId xmlns:a16="http://schemas.microsoft.com/office/drawing/2014/main" id="{7F5E7588-DCF4-764E-A118-35CB98A516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5" name="Straight Connector 24">
            <a:extLst>
              <a:ext uri="{FF2B5EF4-FFF2-40B4-BE49-F238E27FC236}">
                <a16:creationId xmlns:a16="http://schemas.microsoft.com/office/drawing/2014/main" id="{7D64BCAB-23AF-DC41-98F9-5D4F6D69FEC3}"/>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71973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itle,Sub and 3xQuot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8267"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2" name="Picture Placeholder 93">
            <a:extLst>
              <a:ext uri="{FF2B5EF4-FFF2-40B4-BE49-F238E27FC236}">
                <a16:creationId xmlns:a16="http://schemas.microsoft.com/office/drawing/2014/main" id="{83DB7C5F-27FC-7D4A-9C60-7B8B59F95A5E}"/>
              </a:ext>
            </a:extLst>
          </p:cNvPr>
          <p:cNvSpPr>
            <a:spLocks noGrp="1" noChangeAspect="1"/>
          </p:cNvSpPr>
          <p:nvPr>
            <p:ph type="pic" sz="quarter" idx="4294967295"/>
          </p:nvPr>
        </p:nvSpPr>
        <p:spPr>
          <a:xfrm>
            <a:off x="694526" y="1902110"/>
            <a:ext cx="1389600" cy="1392428"/>
          </a:xfrm>
          <a:prstGeom prst="ellipse">
            <a:avLst/>
          </a:prstGeom>
          <a:solidFill>
            <a:srgbClr val="E5E5E5"/>
          </a:solidFill>
        </p:spPr>
      </p:sp>
      <p:cxnSp>
        <p:nvCxnSpPr>
          <p:cNvPr id="40" name="Straight Connector 39">
            <a:extLst>
              <a:ext uri="{FF2B5EF4-FFF2-40B4-BE49-F238E27FC236}">
                <a16:creationId xmlns:a16="http://schemas.microsoft.com/office/drawing/2014/main" id="{9C20BDC2-5A9D-9346-85A2-2070AE0EF7F6}"/>
              </a:ext>
            </a:extLst>
          </p:cNvPr>
          <p:cNvCxnSpPr>
            <a:cxnSpLocks/>
          </p:cNvCxnSpPr>
          <p:nvPr userDrawn="1"/>
        </p:nvCxnSpPr>
        <p:spPr>
          <a:xfrm flipH="1">
            <a:off x="703011"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2876E5A0-6283-D74D-A57F-F02FDCC7B983}"/>
              </a:ext>
            </a:extLst>
          </p:cNvPr>
          <p:cNvSpPr>
            <a:spLocks noGrp="1"/>
          </p:cNvSpPr>
          <p:nvPr>
            <p:ph idx="26" hasCustomPrompt="1"/>
          </p:nvPr>
        </p:nvSpPr>
        <p:spPr>
          <a:xfrm>
            <a:off x="617535"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26" name="Content Placeholder 2">
            <a:extLst>
              <a:ext uri="{FF2B5EF4-FFF2-40B4-BE49-F238E27FC236}">
                <a16:creationId xmlns:a16="http://schemas.microsoft.com/office/drawing/2014/main" id="{99454194-02A9-964E-A5FA-160544DB4184}"/>
              </a:ext>
            </a:extLst>
          </p:cNvPr>
          <p:cNvSpPr>
            <a:spLocks noGrp="1"/>
          </p:cNvSpPr>
          <p:nvPr>
            <p:ph idx="25" hasCustomPrompt="1"/>
          </p:nvPr>
        </p:nvSpPr>
        <p:spPr>
          <a:xfrm>
            <a:off x="617535"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41" name="Content Placeholder 2">
            <a:extLst>
              <a:ext uri="{FF2B5EF4-FFF2-40B4-BE49-F238E27FC236}">
                <a16:creationId xmlns:a16="http://schemas.microsoft.com/office/drawing/2014/main" id="{F64B585A-AE35-8D49-B259-E5ED87CA6614}"/>
              </a:ext>
            </a:extLst>
          </p:cNvPr>
          <p:cNvSpPr>
            <a:spLocks noGrp="1"/>
          </p:cNvSpPr>
          <p:nvPr>
            <p:ph idx="27" hasCustomPrompt="1"/>
          </p:nvPr>
        </p:nvSpPr>
        <p:spPr>
          <a:xfrm>
            <a:off x="4487886"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42" name="Picture Placeholder 93">
            <a:extLst>
              <a:ext uri="{FF2B5EF4-FFF2-40B4-BE49-F238E27FC236}">
                <a16:creationId xmlns:a16="http://schemas.microsoft.com/office/drawing/2014/main" id="{CDADE8AA-C71E-7F43-9210-14C9EACD7099}"/>
              </a:ext>
            </a:extLst>
          </p:cNvPr>
          <p:cNvSpPr>
            <a:spLocks noGrp="1" noChangeAspect="1"/>
          </p:cNvSpPr>
          <p:nvPr>
            <p:ph type="pic" sz="quarter" idx="4294967295"/>
          </p:nvPr>
        </p:nvSpPr>
        <p:spPr>
          <a:xfrm>
            <a:off x="4554145" y="1902110"/>
            <a:ext cx="1389600" cy="1392428"/>
          </a:xfrm>
          <a:prstGeom prst="ellipse">
            <a:avLst/>
          </a:prstGeom>
          <a:solidFill>
            <a:srgbClr val="E5E5E5"/>
          </a:solidFill>
        </p:spPr>
      </p:sp>
      <p:cxnSp>
        <p:nvCxnSpPr>
          <p:cNvPr id="43" name="Straight Connector 42">
            <a:extLst>
              <a:ext uri="{FF2B5EF4-FFF2-40B4-BE49-F238E27FC236}">
                <a16:creationId xmlns:a16="http://schemas.microsoft.com/office/drawing/2014/main" id="{D322B3C0-9B78-714B-BB45-997D686D35C3}"/>
              </a:ext>
            </a:extLst>
          </p:cNvPr>
          <p:cNvCxnSpPr>
            <a:cxnSpLocks/>
          </p:cNvCxnSpPr>
          <p:nvPr userDrawn="1"/>
        </p:nvCxnSpPr>
        <p:spPr>
          <a:xfrm flipH="1">
            <a:off x="4562630"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4" name="Content Placeholder 2">
            <a:extLst>
              <a:ext uri="{FF2B5EF4-FFF2-40B4-BE49-F238E27FC236}">
                <a16:creationId xmlns:a16="http://schemas.microsoft.com/office/drawing/2014/main" id="{E3ACADA7-69A6-4245-A855-B2128058A271}"/>
              </a:ext>
            </a:extLst>
          </p:cNvPr>
          <p:cNvSpPr>
            <a:spLocks noGrp="1"/>
          </p:cNvSpPr>
          <p:nvPr>
            <p:ph idx="28" hasCustomPrompt="1"/>
          </p:nvPr>
        </p:nvSpPr>
        <p:spPr>
          <a:xfrm>
            <a:off x="4477154"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45" name="Content Placeholder 2">
            <a:extLst>
              <a:ext uri="{FF2B5EF4-FFF2-40B4-BE49-F238E27FC236}">
                <a16:creationId xmlns:a16="http://schemas.microsoft.com/office/drawing/2014/main" id="{AD75CCF3-306E-EC47-8254-A9DCB6C05AC6}"/>
              </a:ext>
            </a:extLst>
          </p:cNvPr>
          <p:cNvSpPr>
            <a:spLocks noGrp="1"/>
          </p:cNvSpPr>
          <p:nvPr>
            <p:ph idx="29" hasCustomPrompt="1"/>
          </p:nvPr>
        </p:nvSpPr>
        <p:spPr>
          <a:xfrm>
            <a:off x="4477154"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46" name="Content Placeholder 2">
            <a:extLst>
              <a:ext uri="{FF2B5EF4-FFF2-40B4-BE49-F238E27FC236}">
                <a16:creationId xmlns:a16="http://schemas.microsoft.com/office/drawing/2014/main" id="{0D6F2A4B-4934-CC47-A26B-8EE4AEC0498D}"/>
              </a:ext>
            </a:extLst>
          </p:cNvPr>
          <p:cNvSpPr>
            <a:spLocks noGrp="1"/>
          </p:cNvSpPr>
          <p:nvPr>
            <p:ph idx="30" hasCustomPrompt="1"/>
          </p:nvPr>
        </p:nvSpPr>
        <p:spPr>
          <a:xfrm>
            <a:off x="8347505" y="4360005"/>
            <a:ext cx="3240000" cy="1481995"/>
          </a:xfrm>
          <a:prstGeom prst="rect">
            <a:avLst/>
          </a:prstGeom>
        </p:spPr>
        <p:txBody>
          <a:bodyPr>
            <a:normAutofit/>
          </a:bodyPr>
          <a:lstStyle>
            <a:lvl1pPr marL="0" indent="0">
              <a:lnSpc>
                <a:spcPct val="100000"/>
              </a:lnSpc>
              <a:buSzPct val="70000"/>
              <a:buFont typeface="Symbol" pitchFamily="2" charset="2"/>
              <a:buNone/>
              <a:defRPr sz="1650" b="0" i="1">
                <a:solidFill>
                  <a:srgbClr val="787875"/>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 Quote in here”</a:t>
            </a:r>
          </a:p>
        </p:txBody>
      </p:sp>
      <p:sp>
        <p:nvSpPr>
          <p:cNvPr id="47" name="Picture Placeholder 93">
            <a:extLst>
              <a:ext uri="{FF2B5EF4-FFF2-40B4-BE49-F238E27FC236}">
                <a16:creationId xmlns:a16="http://schemas.microsoft.com/office/drawing/2014/main" id="{8744E1F3-82AE-3C4F-809F-9B504F2343A0}"/>
              </a:ext>
            </a:extLst>
          </p:cNvPr>
          <p:cNvSpPr>
            <a:spLocks noGrp="1" noChangeAspect="1"/>
          </p:cNvSpPr>
          <p:nvPr>
            <p:ph type="pic" sz="quarter" idx="4294967295"/>
          </p:nvPr>
        </p:nvSpPr>
        <p:spPr>
          <a:xfrm>
            <a:off x="8413764" y="1902110"/>
            <a:ext cx="1389600" cy="1392428"/>
          </a:xfrm>
          <a:prstGeom prst="ellipse">
            <a:avLst/>
          </a:prstGeom>
          <a:solidFill>
            <a:srgbClr val="E5E5E5"/>
          </a:solidFill>
        </p:spPr>
      </p:sp>
      <p:cxnSp>
        <p:nvCxnSpPr>
          <p:cNvPr id="48" name="Straight Connector 47">
            <a:extLst>
              <a:ext uri="{FF2B5EF4-FFF2-40B4-BE49-F238E27FC236}">
                <a16:creationId xmlns:a16="http://schemas.microsoft.com/office/drawing/2014/main" id="{36ED427D-2F17-EE4E-BD76-FC5D553B6F8C}"/>
              </a:ext>
            </a:extLst>
          </p:cNvPr>
          <p:cNvCxnSpPr>
            <a:cxnSpLocks/>
          </p:cNvCxnSpPr>
          <p:nvPr userDrawn="1"/>
        </p:nvCxnSpPr>
        <p:spPr>
          <a:xfrm flipH="1">
            <a:off x="8422249" y="3717471"/>
            <a:ext cx="1436939" cy="0"/>
          </a:xfrm>
          <a:prstGeom prst="line">
            <a:avLst/>
          </a:prstGeom>
          <a:ln>
            <a:solidFill>
              <a:srgbClr val="9BCAEC"/>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78129849-7C44-AD41-B46F-67E0E98BC286}"/>
              </a:ext>
            </a:extLst>
          </p:cNvPr>
          <p:cNvSpPr>
            <a:spLocks noGrp="1"/>
          </p:cNvSpPr>
          <p:nvPr>
            <p:ph idx="31" hasCustomPrompt="1"/>
          </p:nvPr>
        </p:nvSpPr>
        <p:spPr>
          <a:xfrm>
            <a:off x="8336773" y="3751864"/>
            <a:ext cx="3240000" cy="4430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200" b="0" i="0">
                <a:solidFill>
                  <a:srgbClr val="A6A6A8"/>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Job position 	</a:t>
            </a:r>
            <a:br>
              <a:rPr lang="en-US" dirty="0"/>
            </a:br>
            <a:r>
              <a:rPr lang="en-US" dirty="0"/>
              <a:t>here please</a:t>
            </a:r>
          </a:p>
        </p:txBody>
      </p:sp>
      <p:sp>
        <p:nvSpPr>
          <p:cNvPr id="50" name="Content Placeholder 2">
            <a:extLst>
              <a:ext uri="{FF2B5EF4-FFF2-40B4-BE49-F238E27FC236}">
                <a16:creationId xmlns:a16="http://schemas.microsoft.com/office/drawing/2014/main" id="{9C8423B6-C6F4-3A4B-84D4-0099B407DDF3}"/>
              </a:ext>
            </a:extLst>
          </p:cNvPr>
          <p:cNvSpPr>
            <a:spLocks noGrp="1"/>
          </p:cNvSpPr>
          <p:nvPr>
            <p:ph idx="32" hasCustomPrompt="1"/>
          </p:nvPr>
        </p:nvSpPr>
        <p:spPr>
          <a:xfrm>
            <a:off x="8336773" y="3379590"/>
            <a:ext cx="3240000" cy="444921"/>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Pct val="70000"/>
              <a:buFont typeface="Symbol" pitchFamily="2" charset="2"/>
              <a:buNone/>
              <a:tabLst/>
              <a:defRPr sz="1800" b="0" i="0">
                <a:solidFill>
                  <a:srgbClr val="9BCAEC"/>
                </a:solidFill>
                <a:latin typeface="Gibson Light" panose="02000000000000000000" pitchFamily="2" charset="77"/>
              </a:defRPr>
            </a:lvl1pPr>
            <a:lvl2pPr marL="457200" indent="0">
              <a:lnSpc>
                <a:spcPct val="100000"/>
              </a:lnSpc>
              <a:buSzPct val="70000"/>
              <a:buFont typeface="Symbol" pitchFamily="2" charset="2"/>
              <a:buNone/>
              <a:defRPr sz="2400" b="0" i="0">
                <a:solidFill>
                  <a:srgbClr val="787875"/>
                </a:solidFill>
                <a:latin typeface="Gibson Light" panose="02000000000000000000" pitchFamily="2" charset="77"/>
              </a:defRPr>
            </a:lvl2pPr>
            <a:lvl3pPr marL="914400" indent="0">
              <a:lnSpc>
                <a:spcPct val="100000"/>
              </a:lnSpc>
              <a:buSzPct val="70000"/>
              <a:buFont typeface="Symbol" pitchFamily="2" charset="2"/>
              <a:buNone/>
              <a:defRPr sz="2100" b="0" i="0">
                <a:solidFill>
                  <a:srgbClr val="787875"/>
                </a:solidFill>
                <a:latin typeface="Gibson Light" panose="02000000000000000000" pitchFamily="2" charset="77"/>
              </a:defRPr>
            </a:lvl3pPr>
            <a:lvl4pPr marL="1371600" indent="0">
              <a:lnSpc>
                <a:spcPct val="100000"/>
              </a:lnSpc>
              <a:buSzPct val="70000"/>
              <a:buFont typeface="Symbol" pitchFamily="2" charset="2"/>
              <a:buNone/>
              <a:defRPr b="0" i="0">
                <a:solidFill>
                  <a:srgbClr val="787875"/>
                </a:solidFill>
                <a:latin typeface="Gibson Light" panose="02000000000000000000" pitchFamily="2" charset="77"/>
              </a:defRPr>
            </a:lvl4pPr>
            <a:lvl5pPr marL="1828800" indent="0">
              <a:lnSpc>
                <a:spcPct val="100000"/>
              </a:lnSpc>
              <a:buSzPct val="70000"/>
              <a:buFont typeface="Symbol" pitchFamily="2" charset="2"/>
              <a:buNone/>
              <a:defRPr sz="1400" b="0" i="0">
                <a:solidFill>
                  <a:srgbClr val="787875"/>
                </a:solidFill>
                <a:latin typeface="Gibson Light" panose="02000000000000000000" pitchFamily="2" charset="77"/>
              </a:defRPr>
            </a:lvl5pPr>
          </a:lstStyle>
          <a:p>
            <a:pPr lvl="0"/>
            <a:r>
              <a:rPr lang="en-US" dirty="0"/>
              <a:t>Name Surname</a:t>
            </a:r>
          </a:p>
        </p:txBody>
      </p:sp>
      <p:sp>
        <p:nvSpPr>
          <p:cNvPr id="25" name="Title 1">
            <a:extLst>
              <a:ext uri="{FF2B5EF4-FFF2-40B4-BE49-F238E27FC236}">
                <a16:creationId xmlns:a16="http://schemas.microsoft.com/office/drawing/2014/main" id="{D362BA5C-960B-514F-A5A9-64F6B961F487}"/>
              </a:ext>
            </a:extLst>
          </p:cNvPr>
          <p:cNvSpPr>
            <a:spLocks noGrp="1"/>
          </p:cNvSpPr>
          <p:nvPr>
            <p:ph type="title" hasCustomPrompt="1"/>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Master title style</a:t>
            </a:r>
          </a:p>
        </p:txBody>
      </p:sp>
      <p:pic>
        <p:nvPicPr>
          <p:cNvPr id="23" name="Picture 22">
            <a:extLst>
              <a:ext uri="{FF2B5EF4-FFF2-40B4-BE49-F238E27FC236}">
                <a16:creationId xmlns:a16="http://schemas.microsoft.com/office/drawing/2014/main" id="{054F0A20-A210-B148-BD99-30372FDB78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4" name="Straight Connector 23">
            <a:extLst>
              <a:ext uri="{FF2B5EF4-FFF2-40B4-BE49-F238E27FC236}">
                <a16:creationId xmlns:a16="http://schemas.microsoft.com/office/drawing/2014/main" id="{02FF937F-472E-6B44-933D-0710C9003003}"/>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4988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Conclus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1908061"/>
            <a:ext cx="10593386" cy="3935755"/>
          </a:xfrm>
          <a:prstGeom prst="rect">
            <a:avLst/>
          </a:prstGeom>
        </p:spPr>
        <p:txBody>
          <a:bodyPr>
            <a:normAutofit/>
          </a:bodyPr>
          <a:lstStyle>
            <a:lvl1pPr marL="0" indent="0">
              <a:buSzPct val="70000"/>
              <a:buFont typeface="Symbol" pitchFamily="2" charset="2"/>
              <a:buNone/>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whole presentation</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1990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1960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2498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2468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006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2976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3514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3484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022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3992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4535522"/>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4505272"/>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043522"/>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013272"/>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pic>
        <p:nvPicPr>
          <p:cNvPr id="23" name="Picture 22">
            <a:extLst>
              <a:ext uri="{FF2B5EF4-FFF2-40B4-BE49-F238E27FC236}">
                <a16:creationId xmlns:a16="http://schemas.microsoft.com/office/drawing/2014/main" id="{930CF403-65F5-DB45-A13B-C86DBFA162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4" name="Straight Connector 23">
            <a:extLst>
              <a:ext uri="{FF2B5EF4-FFF2-40B4-BE49-F238E27FC236}">
                <a16:creationId xmlns:a16="http://schemas.microsoft.com/office/drawing/2014/main" id="{FE25BCC8-F7B3-A849-8096-B9AD75FA1294}"/>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1852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Sub Conclus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2164535"/>
            <a:ext cx="10593386" cy="3677466"/>
          </a:xfrm>
          <a:prstGeom prst="rect">
            <a:avLst/>
          </a:prstGeom>
        </p:spPr>
        <p:txBody>
          <a:bodyPr>
            <a:normAutofit/>
          </a:bodyPr>
          <a:lstStyle>
            <a:lvl1pPr marL="0" indent="0">
              <a:buSzPct val="70000"/>
              <a:buFont typeface="Symbol" pitchFamily="2" charset="2"/>
              <a:buNone/>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whole presentation</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2247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2216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2755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2724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263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3232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3771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3740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279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4248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479199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476174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29999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26974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sp>
        <p:nvSpPr>
          <p:cNvPr id="23" name="Text Placeholder 19">
            <a:extLst>
              <a:ext uri="{FF2B5EF4-FFF2-40B4-BE49-F238E27FC236}">
                <a16:creationId xmlns:a16="http://schemas.microsoft.com/office/drawing/2014/main" id="{FE69FC98-D4C3-BD46-B673-C22A9EC85AF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4" name="Title 1">
            <a:extLst>
              <a:ext uri="{FF2B5EF4-FFF2-40B4-BE49-F238E27FC236}">
                <a16:creationId xmlns:a16="http://schemas.microsoft.com/office/drawing/2014/main" id="{A6ABBDEF-6803-AB48-BF91-FC9B1FA34474}"/>
              </a:ext>
            </a:extLst>
          </p:cNvPr>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pic>
        <p:nvPicPr>
          <p:cNvPr id="29" name="Picture 28">
            <a:extLst>
              <a:ext uri="{FF2B5EF4-FFF2-40B4-BE49-F238E27FC236}">
                <a16:creationId xmlns:a16="http://schemas.microsoft.com/office/drawing/2014/main" id="{4EC9B615-E1A5-2841-A3C0-11271EC802F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30" name="Straight Connector 29">
            <a:extLst>
              <a:ext uri="{FF2B5EF4-FFF2-40B4-BE49-F238E27FC236}">
                <a16:creationId xmlns:a16="http://schemas.microsoft.com/office/drawing/2014/main" id="{D301FB23-F99B-1B43-B9A9-FCAB497E7BD7}"/>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8356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830997"/>
          </a:xfrm>
          <a:prstGeom prst="rect">
            <a:avLst/>
          </a:prstGeom>
          <a:noFill/>
        </p:spPr>
        <p:txBody>
          <a:bodyPr wrap="square" rtlCol="0">
            <a:spAutoFit/>
          </a:bodyPr>
          <a:lstStyle/>
          <a:p>
            <a:pPr algn="r"/>
            <a:r>
              <a:rPr lang="en-US" sz="4800" b="0" i="0">
                <a:latin typeface="Calibri Light" panose="020F0302020204030204" pitchFamily="34" charset="0"/>
              </a:rPr>
              <a:t>Agenda</a:t>
            </a:r>
            <a:endParaRPr lang="es-ES" sz="4400" b="0" i="0">
              <a:latin typeface="Calibri Light" panose="020F0302020204030204" pitchFamily="34"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48427887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Sub Conclus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2164535"/>
            <a:ext cx="10593386" cy="3677466"/>
          </a:xfrm>
          <a:prstGeom prst="rect">
            <a:avLst/>
          </a:prstGeom>
        </p:spPr>
        <p:txBody>
          <a:bodyPr>
            <a:normAutofit/>
          </a:bodyPr>
          <a:lstStyle>
            <a:lvl1pPr marL="0" indent="0">
              <a:buSzPct val="70000"/>
              <a:buFont typeface="Symbol" pitchFamily="2" charset="2"/>
              <a:buNone/>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whole presentation</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2247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2216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2755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2724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263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3232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3771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3740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279198"/>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4248948"/>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479199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476174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29999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26974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sp>
        <p:nvSpPr>
          <p:cNvPr id="23" name="Text Placeholder 19">
            <a:extLst>
              <a:ext uri="{FF2B5EF4-FFF2-40B4-BE49-F238E27FC236}">
                <a16:creationId xmlns:a16="http://schemas.microsoft.com/office/drawing/2014/main" id="{FE69FC98-D4C3-BD46-B673-C22A9EC85AF5}"/>
              </a:ext>
            </a:extLst>
          </p:cNvPr>
          <p:cNvSpPr>
            <a:spLocks noGrp="1"/>
          </p:cNvSpPr>
          <p:nvPr>
            <p:ph type="body" sz="quarter" idx="13" hasCustomPrompt="1"/>
          </p:nvPr>
        </p:nvSpPr>
        <p:spPr>
          <a:xfrm>
            <a:off x="617695" y="1416283"/>
            <a:ext cx="654839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dirty="0"/>
              <a:t>Click </a:t>
            </a:r>
            <a:r>
              <a:rPr lang="de-DE" noProof="0" dirty="0" err="1"/>
              <a:t>to</a:t>
            </a:r>
            <a:r>
              <a:rPr lang="de-DE" noProof="0" dirty="0"/>
              <a:t> </a:t>
            </a:r>
            <a:r>
              <a:rPr lang="de-DE" noProof="0" dirty="0" err="1"/>
              <a:t>edit</a:t>
            </a:r>
            <a:r>
              <a:rPr lang="de-DE" noProof="0" dirty="0"/>
              <a:t> Sub-title</a:t>
            </a:r>
          </a:p>
        </p:txBody>
      </p:sp>
      <p:sp>
        <p:nvSpPr>
          <p:cNvPr id="24" name="Title 1">
            <a:extLst>
              <a:ext uri="{FF2B5EF4-FFF2-40B4-BE49-F238E27FC236}">
                <a16:creationId xmlns:a16="http://schemas.microsoft.com/office/drawing/2014/main" id="{A6ABBDEF-6803-AB48-BF91-FC9B1FA34474}"/>
              </a:ext>
            </a:extLst>
          </p:cNvPr>
          <p:cNvSpPr>
            <a:spLocks noGrp="1"/>
          </p:cNvSpPr>
          <p:nvPr>
            <p:ph type="title"/>
          </p:nvPr>
        </p:nvSpPr>
        <p:spPr>
          <a:xfrm>
            <a:off x="617693" y="594811"/>
            <a:ext cx="654839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dirty="0"/>
              <a:t>Click to edit Master title style</a:t>
            </a:r>
          </a:p>
        </p:txBody>
      </p:sp>
      <p:pic>
        <p:nvPicPr>
          <p:cNvPr id="29" name="Picture 28">
            <a:extLst>
              <a:ext uri="{FF2B5EF4-FFF2-40B4-BE49-F238E27FC236}">
                <a16:creationId xmlns:a16="http://schemas.microsoft.com/office/drawing/2014/main" id="{4F943E32-06E6-8A45-A8AD-5F05665719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30" name="Straight Connector 29">
            <a:extLst>
              <a:ext uri="{FF2B5EF4-FFF2-40B4-BE49-F238E27FC236}">
                <a16:creationId xmlns:a16="http://schemas.microsoft.com/office/drawing/2014/main" id="{EB68A671-4855-3442-A6E0-B3101A4B7403}"/>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83122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Title Conclus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74726" y="1908061"/>
            <a:ext cx="10593386" cy="3935755"/>
          </a:xfrm>
          <a:prstGeom prst="rect">
            <a:avLst/>
          </a:prstGeom>
        </p:spPr>
        <p:txBody>
          <a:bodyPr>
            <a:normAutofit/>
          </a:bodyPr>
          <a:lstStyle>
            <a:lvl1pPr marL="0" indent="0">
              <a:buSzPct val="70000"/>
              <a:buFont typeface="Symbol" pitchFamily="2" charset="2"/>
              <a:buNone/>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8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sz="2800"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2800" b="0" i="0">
                <a:solidFill>
                  <a:srgbClr val="787875"/>
                </a:solidFill>
                <a:latin typeface="Gibson Light" panose="02000000000000000000" pitchFamily="2" charset="77"/>
              </a:defRPr>
            </a:lvl5pPr>
          </a:lstStyle>
          <a:p>
            <a:pPr lvl="0"/>
            <a:r>
              <a:rPr lang="en-US" dirty="0"/>
              <a:t> Text stays this size only, as numbers are fixed</a:t>
            </a:r>
          </a:p>
          <a:p>
            <a:pPr lvl="0"/>
            <a:r>
              <a:rPr lang="en-US" dirty="0"/>
              <a:t>Do not change text size</a:t>
            </a:r>
          </a:p>
          <a:p>
            <a:pPr lvl="0"/>
            <a:r>
              <a:rPr lang="en-US" dirty="0"/>
              <a:t>Can only be up to 7 points max</a:t>
            </a:r>
          </a:p>
          <a:p>
            <a:pPr lvl="0"/>
            <a:r>
              <a:rPr lang="en-US" dirty="0"/>
              <a:t>Try and use 1 line pointers, it is a sum-up!</a:t>
            </a:r>
          </a:p>
          <a:p>
            <a:pPr lvl="0"/>
            <a:r>
              <a:rPr lang="en-US" dirty="0"/>
              <a:t>Can sum up sections, chapters OR the whole presentation</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dirty="0"/>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dirty="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dirty="0" err="1"/>
              <a:t>Strap</a:t>
            </a:r>
            <a:endParaRPr lang="de-DE" dirty="0"/>
          </a:p>
        </p:txBody>
      </p:sp>
      <p:sp>
        <p:nvSpPr>
          <p:cNvPr id="10" name="Elipse 16">
            <a:extLst>
              <a:ext uri="{FF2B5EF4-FFF2-40B4-BE49-F238E27FC236}">
                <a16:creationId xmlns:a16="http://schemas.microsoft.com/office/drawing/2014/main" id="{784A2B76-6FD8-1A40-B387-82B8D9DE4DEC}"/>
              </a:ext>
            </a:extLst>
          </p:cNvPr>
          <p:cNvSpPr/>
          <p:nvPr userDrawn="1"/>
        </p:nvSpPr>
        <p:spPr>
          <a:xfrm>
            <a:off x="695325" y="1990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2" name="TextBox 11">
            <a:extLst>
              <a:ext uri="{FF2B5EF4-FFF2-40B4-BE49-F238E27FC236}">
                <a16:creationId xmlns:a16="http://schemas.microsoft.com/office/drawing/2014/main" id="{94CA6C41-EB62-2C4F-9774-7746D145601F}"/>
              </a:ext>
            </a:extLst>
          </p:cNvPr>
          <p:cNvSpPr txBox="1"/>
          <p:nvPr userDrawn="1"/>
        </p:nvSpPr>
        <p:spPr>
          <a:xfrm>
            <a:off x="772470" y="1960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1</a:t>
            </a:r>
            <a:endParaRPr lang="en-US" sz="1650" dirty="0">
              <a:solidFill>
                <a:schemeClr val="bg1"/>
              </a:solidFill>
              <a:latin typeface="Gibson Light" charset="0"/>
              <a:ea typeface="Gibson Light" charset="0"/>
              <a:cs typeface="Gibson Light" charset="0"/>
            </a:endParaRPr>
          </a:p>
        </p:txBody>
      </p:sp>
      <p:sp>
        <p:nvSpPr>
          <p:cNvPr id="13" name="Elipse 16">
            <a:extLst>
              <a:ext uri="{FF2B5EF4-FFF2-40B4-BE49-F238E27FC236}">
                <a16:creationId xmlns:a16="http://schemas.microsoft.com/office/drawing/2014/main" id="{4D212FDD-9F0F-344C-BB70-6D820A7B1500}"/>
              </a:ext>
            </a:extLst>
          </p:cNvPr>
          <p:cNvSpPr/>
          <p:nvPr userDrawn="1"/>
        </p:nvSpPr>
        <p:spPr>
          <a:xfrm>
            <a:off x="695325" y="2498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4" name="TextBox 13">
            <a:extLst>
              <a:ext uri="{FF2B5EF4-FFF2-40B4-BE49-F238E27FC236}">
                <a16:creationId xmlns:a16="http://schemas.microsoft.com/office/drawing/2014/main" id="{F5C9BA5A-82F7-C449-8AD3-B63C80517A4F}"/>
              </a:ext>
            </a:extLst>
          </p:cNvPr>
          <p:cNvSpPr txBox="1"/>
          <p:nvPr userDrawn="1"/>
        </p:nvSpPr>
        <p:spPr>
          <a:xfrm>
            <a:off x="762945" y="2468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2</a:t>
            </a:r>
            <a:endParaRPr lang="en-US" sz="1650" dirty="0">
              <a:solidFill>
                <a:schemeClr val="bg1"/>
              </a:solidFill>
              <a:latin typeface="Gibson Light" charset="0"/>
              <a:ea typeface="Gibson Light" charset="0"/>
              <a:cs typeface="Gibson Light" charset="0"/>
            </a:endParaRPr>
          </a:p>
        </p:txBody>
      </p:sp>
      <p:sp>
        <p:nvSpPr>
          <p:cNvPr id="15" name="Elipse 16">
            <a:extLst>
              <a:ext uri="{FF2B5EF4-FFF2-40B4-BE49-F238E27FC236}">
                <a16:creationId xmlns:a16="http://schemas.microsoft.com/office/drawing/2014/main" id="{4C187209-AC96-EF4A-8B92-E57E285CAFA0}"/>
              </a:ext>
            </a:extLst>
          </p:cNvPr>
          <p:cNvSpPr/>
          <p:nvPr userDrawn="1"/>
        </p:nvSpPr>
        <p:spPr>
          <a:xfrm>
            <a:off x="695325" y="3006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16" name="TextBox 15">
            <a:extLst>
              <a:ext uri="{FF2B5EF4-FFF2-40B4-BE49-F238E27FC236}">
                <a16:creationId xmlns:a16="http://schemas.microsoft.com/office/drawing/2014/main" id="{146DB16C-3A98-E74F-8857-65576E6AB14D}"/>
              </a:ext>
            </a:extLst>
          </p:cNvPr>
          <p:cNvSpPr txBox="1"/>
          <p:nvPr userDrawn="1"/>
        </p:nvSpPr>
        <p:spPr>
          <a:xfrm>
            <a:off x="762945" y="2976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3</a:t>
            </a:r>
            <a:endParaRPr lang="en-US" sz="1650" dirty="0">
              <a:solidFill>
                <a:schemeClr val="bg1"/>
              </a:solidFill>
              <a:latin typeface="Gibson Light" charset="0"/>
              <a:ea typeface="Gibson Light" charset="0"/>
              <a:cs typeface="Gibson Light" charset="0"/>
            </a:endParaRPr>
          </a:p>
        </p:txBody>
      </p:sp>
      <p:sp>
        <p:nvSpPr>
          <p:cNvPr id="19" name="Elipse 16">
            <a:extLst>
              <a:ext uri="{FF2B5EF4-FFF2-40B4-BE49-F238E27FC236}">
                <a16:creationId xmlns:a16="http://schemas.microsoft.com/office/drawing/2014/main" id="{81CAF3E1-12DC-DE47-A4A9-6174259D9AFC}"/>
              </a:ext>
            </a:extLst>
          </p:cNvPr>
          <p:cNvSpPr/>
          <p:nvPr userDrawn="1"/>
        </p:nvSpPr>
        <p:spPr>
          <a:xfrm>
            <a:off x="695325" y="3514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0" name="TextBox 19">
            <a:extLst>
              <a:ext uri="{FF2B5EF4-FFF2-40B4-BE49-F238E27FC236}">
                <a16:creationId xmlns:a16="http://schemas.microsoft.com/office/drawing/2014/main" id="{4A99C009-C5BB-C841-9AE1-A97A32E88389}"/>
              </a:ext>
            </a:extLst>
          </p:cNvPr>
          <p:cNvSpPr txBox="1"/>
          <p:nvPr userDrawn="1"/>
        </p:nvSpPr>
        <p:spPr>
          <a:xfrm>
            <a:off x="762945" y="3484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4</a:t>
            </a:r>
            <a:endParaRPr lang="en-US" sz="1650" dirty="0">
              <a:solidFill>
                <a:schemeClr val="bg1"/>
              </a:solidFill>
              <a:latin typeface="Gibson Light" charset="0"/>
              <a:ea typeface="Gibson Light" charset="0"/>
              <a:cs typeface="Gibson Light" charset="0"/>
            </a:endParaRPr>
          </a:p>
        </p:txBody>
      </p:sp>
      <p:sp>
        <p:nvSpPr>
          <p:cNvPr id="21" name="Elipse 16">
            <a:extLst>
              <a:ext uri="{FF2B5EF4-FFF2-40B4-BE49-F238E27FC236}">
                <a16:creationId xmlns:a16="http://schemas.microsoft.com/office/drawing/2014/main" id="{5511F4C1-BB2E-2B40-9275-69B8EB74C13C}"/>
              </a:ext>
            </a:extLst>
          </p:cNvPr>
          <p:cNvSpPr/>
          <p:nvPr userDrawn="1"/>
        </p:nvSpPr>
        <p:spPr>
          <a:xfrm>
            <a:off x="695325" y="4022725"/>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2" name="TextBox 21">
            <a:extLst>
              <a:ext uri="{FF2B5EF4-FFF2-40B4-BE49-F238E27FC236}">
                <a16:creationId xmlns:a16="http://schemas.microsoft.com/office/drawing/2014/main" id="{50757CFC-3881-224E-A144-24627987D92E}"/>
              </a:ext>
            </a:extLst>
          </p:cNvPr>
          <p:cNvSpPr txBox="1"/>
          <p:nvPr userDrawn="1"/>
        </p:nvSpPr>
        <p:spPr>
          <a:xfrm>
            <a:off x="762945" y="3992475"/>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5</a:t>
            </a:r>
            <a:endParaRPr lang="en-US" sz="1650" dirty="0">
              <a:solidFill>
                <a:schemeClr val="bg1"/>
              </a:solidFill>
              <a:latin typeface="Gibson Light" charset="0"/>
              <a:ea typeface="Gibson Light" charset="0"/>
              <a:cs typeface="Gibson Light" charset="0"/>
            </a:endParaRPr>
          </a:p>
        </p:txBody>
      </p:sp>
      <p:sp>
        <p:nvSpPr>
          <p:cNvPr id="25" name="Elipse 16">
            <a:extLst>
              <a:ext uri="{FF2B5EF4-FFF2-40B4-BE49-F238E27FC236}">
                <a16:creationId xmlns:a16="http://schemas.microsoft.com/office/drawing/2014/main" id="{9E49C42C-9C77-A84E-B382-827FC64109DF}"/>
              </a:ext>
            </a:extLst>
          </p:cNvPr>
          <p:cNvSpPr/>
          <p:nvPr userDrawn="1"/>
        </p:nvSpPr>
        <p:spPr>
          <a:xfrm>
            <a:off x="695325" y="4535522"/>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6" name="TextBox 25">
            <a:extLst>
              <a:ext uri="{FF2B5EF4-FFF2-40B4-BE49-F238E27FC236}">
                <a16:creationId xmlns:a16="http://schemas.microsoft.com/office/drawing/2014/main" id="{6494DAB8-B148-9246-A522-25E4930261CB}"/>
              </a:ext>
            </a:extLst>
          </p:cNvPr>
          <p:cNvSpPr txBox="1"/>
          <p:nvPr userDrawn="1"/>
        </p:nvSpPr>
        <p:spPr>
          <a:xfrm>
            <a:off x="762945" y="4505272"/>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6</a:t>
            </a:r>
            <a:endParaRPr lang="en-US" sz="1650" dirty="0">
              <a:solidFill>
                <a:schemeClr val="bg1"/>
              </a:solidFill>
              <a:latin typeface="Gibson Light" charset="0"/>
              <a:ea typeface="Gibson Light" charset="0"/>
              <a:cs typeface="Gibson Light" charset="0"/>
            </a:endParaRPr>
          </a:p>
        </p:txBody>
      </p:sp>
      <p:sp>
        <p:nvSpPr>
          <p:cNvPr id="27" name="Elipse 16">
            <a:extLst>
              <a:ext uri="{FF2B5EF4-FFF2-40B4-BE49-F238E27FC236}">
                <a16:creationId xmlns:a16="http://schemas.microsoft.com/office/drawing/2014/main" id="{B0D4ED21-45B1-0644-83BE-334AEA9009B6}"/>
              </a:ext>
            </a:extLst>
          </p:cNvPr>
          <p:cNvSpPr/>
          <p:nvPr userDrawn="1"/>
        </p:nvSpPr>
        <p:spPr>
          <a:xfrm>
            <a:off x="695325" y="5043522"/>
            <a:ext cx="279401" cy="279400"/>
          </a:xfrm>
          <a:prstGeom prst="ellipse">
            <a:avLst/>
          </a:prstGeom>
          <a:solidFill>
            <a:srgbClr val="005E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8" name="TextBox 27">
            <a:extLst>
              <a:ext uri="{FF2B5EF4-FFF2-40B4-BE49-F238E27FC236}">
                <a16:creationId xmlns:a16="http://schemas.microsoft.com/office/drawing/2014/main" id="{60542647-7A9F-E442-8E67-DEE935AB52D4}"/>
              </a:ext>
            </a:extLst>
          </p:cNvPr>
          <p:cNvSpPr txBox="1"/>
          <p:nvPr userDrawn="1"/>
        </p:nvSpPr>
        <p:spPr>
          <a:xfrm>
            <a:off x="762945" y="5013272"/>
            <a:ext cx="125111" cy="346249"/>
          </a:xfrm>
          <a:prstGeom prst="rect">
            <a:avLst/>
          </a:prstGeom>
          <a:noFill/>
        </p:spPr>
        <p:txBody>
          <a:bodyPr wrap="square" rtlCol="0">
            <a:spAutoFit/>
          </a:bodyPr>
          <a:lstStyle/>
          <a:p>
            <a:pPr algn="ctr"/>
            <a:r>
              <a:rPr lang="en-US" sz="1650" spc="-150" dirty="0">
                <a:solidFill>
                  <a:schemeClr val="bg1"/>
                </a:solidFill>
                <a:latin typeface="Gibson Light" charset="0"/>
                <a:ea typeface="Gibson Light" charset="0"/>
                <a:cs typeface="Gibson Light" charset="0"/>
              </a:rPr>
              <a:t>7</a:t>
            </a:r>
            <a:endParaRPr lang="en-US" sz="1650" dirty="0">
              <a:solidFill>
                <a:schemeClr val="bg1"/>
              </a:solidFill>
              <a:latin typeface="Gibson Light" charset="0"/>
              <a:ea typeface="Gibson Light" charset="0"/>
              <a:cs typeface="Gibson Light" charset="0"/>
            </a:endParaRPr>
          </a:p>
        </p:txBody>
      </p:sp>
      <p:pic>
        <p:nvPicPr>
          <p:cNvPr id="23" name="Picture 22">
            <a:extLst>
              <a:ext uri="{FF2B5EF4-FFF2-40B4-BE49-F238E27FC236}">
                <a16:creationId xmlns:a16="http://schemas.microsoft.com/office/drawing/2014/main" id="{D212114B-ACF3-334F-9748-C7B0CE122E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9241" y="6220148"/>
            <a:ext cx="672040" cy="98706"/>
          </a:xfrm>
          <a:prstGeom prst="rect">
            <a:avLst/>
          </a:prstGeom>
        </p:spPr>
      </p:pic>
      <p:cxnSp>
        <p:nvCxnSpPr>
          <p:cNvPr id="24" name="Straight Connector 23">
            <a:extLst>
              <a:ext uri="{FF2B5EF4-FFF2-40B4-BE49-F238E27FC236}">
                <a16:creationId xmlns:a16="http://schemas.microsoft.com/office/drawing/2014/main" id="{256786BF-F83B-4A45-809E-8386BA775080}"/>
              </a:ext>
            </a:extLst>
          </p:cNvPr>
          <p:cNvCxnSpPr/>
          <p:nvPr userDrawn="1"/>
        </p:nvCxnSpPr>
        <p:spPr>
          <a:xfrm>
            <a:off x="1035711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671349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hank you option1_NO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3813" y="1764051"/>
            <a:ext cx="10143533" cy="1829040"/>
          </a:xfrm>
          <a:prstGeom prst="rect">
            <a:avLst/>
          </a:prstGeom>
        </p:spPr>
        <p:txBody>
          <a:bodyPr anchor="b">
            <a:normAutofit/>
          </a:bodyPr>
          <a:lstStyle>
            <a:lvl1pPr algn="ctr">
              <a:defRPr sz="7000" b="0" i="0">
                <a:solidFill>
                  <a:srgbClr val="005EB8"/>
                </a:solidFill>
                <a:latin typeface="Gibson Light" panose="02000000000000000000" pitchFamily="2" charset="77"/>
              </a:defRPr>
            </a:lvl1pPr>
          </a:lstStyle>
          <a:p>
            <a:r>
              <a:rPr lang="en-US" dirty="0"/>
              <a:t>Thank you</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787875"/>
                </a:solidFill>
                <a:latin typeface="Gibson Light" panose="02000000000000000000" pitchFamily="2" charset="77"/>
              </a:defRPr>
            </a:lvl1pPr>
          </a:lstStyle>
          <a:p>
            <a:r>
              <a:rPr lang="en-US" dirty="0"/>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pic>
        <p:nvPicPr>
          <p:cNvPr id="8" name="Picture 7">
            <a:extLst>
              <a:ext uri="{FF2B5EF4-FFF2-40B4-BE49-F238E27FC236}">
                <a16:creationId xmlns:a16="http://schemas.microsoft.com/office/drawing/2014/main" id="{8B0FE575-8E02-774A-A653-45808FD072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9" name="Straight Connector 8">
            <a:extLst>
              <a:ext uri="{FF2B5EF4-FFF2-40B4-BE49-F238E27FC236}">
                <a16:creationId xmlns:a16="http://schemas.microsoft.com/office/drawing/2014/main" id="{C81BA52E-5930-9548-88E5-C8F58DF46ECD}"/>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33A16EA-0BAE-7548-B46F-E10C731760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spTree>
    <p:extLst>
      <p:ext uri="{BB962C8B-B14F-4D97-AF65-F5344CB8AC3E}">
        <p14:creationId xmlns:p14="http://schemas.microsoft.com/office/powerpoint/2010/main" val="4727574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hank you Option 2_Half Image">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9D856FA3-FE4A-AC49-8CDF-F79C165F4BF7}"/>
              </a:ext>
            </a:extLst>
          </p:cNvPr>
          <p:cNvSpPr>
            <a:spLocks noGrp="1"/>
          </p:cNvSpPr>
          <p:nvPr>
            <p:ph type="pic" sz="quarter" idx="17" hasCustomPrompt="1"/>
          </p:nvPr>
        </p:nvSpPr>
        <p:spPr>
          <a:xfrm rot="20117956">
            <a:off x="5825824" y="563642"/>
            <a:ext cx="6688396" cy="7885590"/>
          </a:xfrm>
          <a:custGeom>
            <a:avLst/>
            <a:gdLst>
              <a:gd name="connsiteX0" fmla="*/ 3301050 w 6688396"/>
              <a:gd name="connsiteY0" fmla="*/ 205796 h 7885590"/>
              <a:gd name="connsiteX1" fmla="*/ 4489730 w 6688396"/>
              <a:gd name="connsiteY1" fmla="*/ 1266404 h 7885590"/>
              <a:gd name="connsiteX2" fmla="*/ 6470076 w 6688396"/>
              <a:gd name="connsiteY2" fmla="*/ 3642044 h 7885590"/>
              <a:gd name="connsiteX3" fmla="*/ 6688396 w 6688396"/>
              <a:gd name="connsiteY3" fmla="*/ 3903944 h 7885590"/>
              <a:gd name="connsiteX4" fmla="*/ 4856982 w 6688396"/>
              <a:gd name="connsiteY4" fmla="*/ 7885590 h 7885590"/>
              <a:gd name="connsiteX5" fmla="*/ 0 w 6688396"/>
              <a:gd name="connsiteY5" fmla="*/ 5651552 h 7885590"/>
              <a:gd name="connsiteX6" fmla="*/ 0 w 6688396"/>
              <a:gd name="connsiteY6" fmla="*/ 5408886 h 7885590"/>
              <a:gd name="connsiteX7" fmla="*/ 0 w 6688396"/>
              <a:gd name="connsiteY7" fmla="*/ 2372795 h 7885590"/>
              <a:gd name="connsiteX8" fmla="*/ 688980 w 6688396"/>
              <a:gd name="connsiteY8" fmla="*/ 694133 h 7885590"/>
              <a:gd name="connsiteX9" fmla="*/ 2448484 w 6688396"/>
              <a:gd name="connsiteY9" fmla="*/ 1234 h 7885590"/>
              <a:gd name="connsiteX10" fmla="*/ 3301050 w 6688396"/>
              <a:gd name="connsiteY10" fmla="*/ 205796 h 788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88396" h="7885590">
                <a:moveTo>
                  <a:pt x="3301050" y="205796"/>
                </a:moveTo>
                <a:cubicBezTo>
                  <a:pt x="3815891" y="449964"/>
                  <a:pt x="4141454" y="861999"/>
                  <a:pt x="4489730" y="1266404"/>
                </a:cubicBezTo>
                <a:cubicBezTo>
                  <a:pt x="4489730" y="1266404"/>
                  <a:pt x="4489730" y="1266404"/>
                  <a:pt x="6470076" y="3642044"/>
                </a:cubicBezTo>
                <a:lnTo>
                  <a:pt x="6688396" y="3903944"/>
                </a:lnTo>
                <a:lnTo>
                  <a:pt x="4856982" y="7885590"/>
                </a:lnTo>
                <a:lnTo>
                  <a:pt x="0" y="5651552"/>
                </a:lnTo>
                <a:lnTo>
                  <a:pt x="0" y="5408886"/>
                </a:lnTo>
                <a:cubicBezTo>
                  <a:pt x="0" y="4059802"/>
                  <a:pt x="0" y="2372795"/>
                  <a:pt x="0" y="2372795"/>
                </a:cubicBezTo>
                <a:cubicBezTo>
                  <a:pt x="0" y="1762372"/>
                  <a:pt x="227137" y="1159580"/>
                  <a:pt x="688980" y="694133"/>
                </a:cubicBezTo>
                <a:cubicBezTo>
                  <a:pt x="1152245" y="232501"/>
                  <a:pt x="1805173" y="-19954"/>
                  <a:pt x="2448484" y="1234"/>
                </a:cubicBezTo>
                <a:cubicBezTo>
                  <a:pt x="2740898" y="10865"/>
                  <a:pt x="3031325" y="77035"/>
                  <a:pt x="3301050" y="205796"/>
                </a:cubicBezTo>
                <a:close/>
              </a:path>
            </a:pathLst>
          </a:custGeom>
          <a:solidFill>
            <a:schemeClr val="bg1">
              <a:lumMod val="95000"/>
            </a:schemeClr>
          </a:solidFill>
        </p:spPr>
        <p:txBody>
          <a:bodyPr wrap="square" anchor="ctr">
            <a:noAutofit/>
          </a:bodyPr>
          <a:lstStyle>
            <a:lvl1pPr marL="0" indent="0" algn="l">
              <a:buNone/>
              <a:defRPr/>
            </a:lvl1pPr>
          </a:lstStyle>
          <a:p>
            <a:r>
              <a:rPr lang="en-GB" noProof="0" dirty="0"/>
              <a:t>     </a:t>
            </a:r>
            <a:br>
              <a:rPr lang="en-GB" noProof="0" dirty="0"/>
            </a:br>
            <a:br>
              <a:rPr lang="en-GB" noProof="0" dirty="0"/>
            </a:br>
            <a:r>
              <a:rPr lang="en-GB" noProof="0" dirty="0"/>
              <a:t> Insert your picture here</a:t>
            </a:r>
          </a:p>
        </p:txBody>
      </p:sp>
      <p:sp>
        <p:nvSpPr>
          <p:cNvPr id="2" name="Title 1"/>
          <p:cNvSpPr>
            <a:spLocks noGrp="1"/>
          </p:cNvSpPr>
          <p:nvPr>
            <p:ph type="ctrTitle" hasCustomPrompt="1"/>
          </p:nvPr>
        </p:nvSpPr>
        <p:spPr>
          <a:xfrm>
            <a:off x="535968" y="2465962"/>
            <a:ext cx="4057547" cy="1829040"/>
          </a:xfrm>
          <a:prstGeom prst="rect">
            <a:avLst/>
          </a:prstGeom>
        </p:spPr>
        <p:txBody>
          <a:bodyPr anchor="ctr">
            <a:normAutofit/>
          </a:bodyPr>
          <a:lstStyle>
            <a:lvl1pPr algn="l">
              <a:defRPr sz="6600" b="0" i="0">
                <a:solidFill>
                  <a:srgbClr val="005EB8"/>
                </a:solidFill>
                <a:latin typeface="Gibson Light" panose="02000000000000000000" pitchFamily="2" charset="77"/>
              </a:defRPr>
            </a:lvl1pPr>
          </a:lstStyle>
          <a:p>
            <a:r>
              <a:rPr lang="en-US" dirty="0"/>
              <a:t>Thank you</a:t>
            </a:r>
          </a:p>
        </p:txBody>
      </p:sp>
      <p:sp>
        <p:nvSpPr>
          <p:cNvPr id="5" name="Footer Placeholder 4"/>
          <p:cNvSpPr>
            <a:spLocks noGrp="1"/>
          </p:cNvSpPr>
          <p:nvPr>
            <p:ph type="ftr" sz="quarter" idx="11"/>
          </p:nvPr>
        </p:nvSpPr>
        <p:spPr>
          <a:xfrm>
            <a:off x="535969" y="6077296"/>
            <a:ext cx="5338058" cy="512347"/>
          </a:xfrm>
          <a:prstGeom prst="rect">
            <a:avLst/>
          </a:prstGeom>
        </p:spPr>
        <p:txBody>
          <a:bodyPr/>
          <a:lstStyle>
            <a:lvl1pPr algn="l">
              <a:defRPr sz="1200" b="0" i="0">
                <a:solidFill>
                  <a:srgbClr val="787875"/>
                </a:solidFill>
                <a:latin typeface="Gibson Light" panose="02000000000000000000" pitchFamily="2" charset="77"/>
              </a:defRPr>
            </a:lvl1pPr>
          </a:lstStyle>
          <a:p>
            <a:r>
              <a:rPr lang="en-US" dirty="0"/>
              <a:t>Footer  I  Credits  I  Links</a:t>
            </a:r>
          </a:p>
        </p:txBody>
      </p: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cxnSp>
        <p:nvCxnSpPr>
          <p:cNvPr id="10" name="Straight Connector 9">
            <a:extLst>
              <a:ext uri="{FF2B5EF4-FFF2-40B4-BE49-F238E27FC236}">
                <a16:creationId xmlns:a16="http://schemas.microsoft.com/office/drawing/2014/main" id="{994011DB-1362-834C-ABD9-CAA4FA4BA226}"/>
              </a:ext>
            </a:extLst>
          </p:cNvPr>
          <p:cNvCxnSpPr/>
          <p:nvPr userDrawn="1"/>
        </p:nvCxnSpPr>
        <p:spPr>
          <a:xfrm>
            <a:off x="623888" y="6004133"/>
            <a:ext cx="396962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89866F31-7A52-C44A-BBAE-3471B434FE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9" name="Straight Connector 8">
            <a:extLst>
              <a:ext uri="{FF2B5EF4-FFF2-40B4-BE49-F238E27FC236}">
                <a16:creationId xmlns:a16="http://schemas.microsoft.com/office/drawing/2014/main" id="{5248F770-BB5B-324D-A5FB-D4F7CFA69435}"/>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A46031C-E9EF-AE4D-939E-7EF92580EC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spTree>
    <p:extLst>
      <p:ext uri="{BB962C8B-B14F-4D97-AF65-F5344CB8AC3E}">
        <p14:creationId xmlns:p14="http://schemas.microsoft.com/office/powerpoint/2010/main" val="13601299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ank you Option 3_Full Blee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226FD200-697D-5045-8FFC-0596A9748ECE}"/>
              </a:ext>
            </a:extLst>
          </p:cNvPr>
          <p:cNvSpPr/>
          <p:nvPr userDrawn="1"/>
        </p:nvSpPr>
        <p:spPr>
          <a:xfrm>
            <a:off x="7621232" y="2652793"/>
            <a:ext cx="4570769" cy="4205206"/>
          </a:xfrm>
          <a:custGeom>
            <a:avLst/>
            <a:gdLst>
              <a:gd name="connsiteX0" fmla="*/ 1745803 w 4570769"/>
              <a:gd name="connsiteY0" fmla="*/ 0 h 4205206"/>
              <a:gd name="connsiteX1" fmla="*/ 1785804 w 4570769"/>
              <a:gd name="connsiteY1" fmla="*/ 1070 h 4205206"/>
              <a:gd name="connsiteX2" fmla="*/ 1824652 w 4570769"/>
              <a:gd name="connsiteY2" fmla="*/ 1862 h 4205206"/>
              <a:gd name="connsiteX3" fmla="*/ 1863937 w 4570769"/>
              <a:gd name="connsiteY3" fmla="*/ 3370 h 4205206"/>
              <a:gd name="connsiteX4" fmla="*/ 1903384 w 4570769"/>
              <a:gd name="connsiteY4" fmla="*/ 6747 h 4205206"/>
              <a:gd name="connsiteX5" fmla="*/ 1941677 w 4570769"/>
              <a:gd name="connsiteY5" fmla="*/ 9846 h 4205206"/>
              <a:gd name="connsiteX6" fmla="*/ 1980847 w 4570769"/>
              <a:gd name="connsiteY6" fmla="*/ 14376 h 4205206"/>
              <a:gd name="connsiteX7" fmla="*/ 2018863 w 4570769"/>
              <a:gd name="connsiteY7" fmla="*/ 18628 h 4205206"/>
              <a:gd name="connsiteX8" fmla="*/ 2057040 w 4570769"/>
              <a:gd name="connsiteY8" fmla="*/ 24750 h 4205206"/>
              <a:gd name="connsiteX9" fmla="*/ 2095218 w 4570769"/>
              <a:gd name="connsiteY9" fmla="*/ 30871 h 4205206"/>
              <a:gd name="connsiteX10" fmla="*/ 2132680 w 4570769"/>
              <a:gd name="connsiteY10" fmla="*/ 37430 h 4205206"/>
              <a:gd name="connsiteX11" fmla="*/ 2171018 w 4570769"/>
              <a:gd name="connsiteY11" fmla="*/ 45420 h 4205206"/>
              <a:gd name="connsiteX12" fmla="*/ 2207926 w 4570769"/>
              <a:gd name="connsiteY12" fmla="*/ 54286 h 4205206"/>
              <a:gd name="connsiteX13" fmla="*/ 2283172 w 4570769"/>
              <a:gd name="connsiteY13" fmla="*/ 71142 h 4205206"/>
              <a:gd name="connsiteX14" fmla="*/ 2357150 w 4570769"/>
              <a:gd name="connsiteY14" fmla="*/ 90743 h 4205206"/>
              <a:gd name="connsiteX15" fmla="*/ 2430850 w 4570769"/>
              <a:gd name="connsiteY15" fmla="*/ 111498 h 4205206"/>
              <a:gd name="connsiteX16" fmla="*/ 2504710 w 4570769"/>
              <a:gd name="connsiteY16" fmla="*/ 134121 h 4205206"/>
              <a:gd name="connsiteX17" fmla="*/ 2577856 w 4570769"/>
              <a:gd name="connsiteY17" fmla="*/ 157182 h 4205206"/>
              <a:gd name="connsiteX18" fmla="*/ 2651440 w 4570769"/>
              <a:gd name="connsiteY18" fmla="*/ 180958 h 4205206"/>
              <a:gd name="connsiteX19" fmla="*/ 2797893 w 4570769"/>
              <a:gd name="connsiteY19" fmla="*/ 228949 h 4205206"/>
              <a:gd name="connsiteX20" fmla="*/ 4570769 w 4570769"/>
              <a:gd name="connsiteY20" fmla="*/ 819920 h 4205206"/>
              <a:gd name="connsiteX21" fmla="*/ 4570769 w 4570769"/>
              <a:gd name="connsiteY21" fmla="*/ 4205206 h 4205206"/>
              <a:gd name="connsiteX22" fmla="*/ 1143839 w 4570769"/>
              <a:gd name="connsiteY22" fmla="*/ 4205206 h 4205206"/>
              <a:gd name="connsiteX23" fmla="*/ 269883 w 4570769"/>
              <a:gd name="connsiteY23" fmla="*/ 2777014 h 4205206"/>
              <a:gd name="connsiteX24" fmla="*/ 247099 w 4570769"/>
              <a:gd name="connsiteY24" fmla="*/ 2739822 h 4205206"/>
              <a:gd name="connsiteX25" fmla="*/ 225745 w 4570769"/>
              <a:gd name="connsiteY25" fmla="*/ 2701755 h 4205206"/>
              <a:gd name="connsiteX26" fmla="*/ 204669 w 4570769"/>
              <a:gd name="connsiteY26" fmla="*/ 2662533 h 4205206"/>
              <a:gd name="connsiteX27" fmla="*/ 185461 w 4570769"/>
              <a:gd name="connsiteY27" fmla="*/ 2623151 h 4205206"/>
              <a:gd name="connsiteX28" fmla="*/ 166691 w 4570769"/>
              <a:gd name="connsiteY28" fmla="*/ 2584484 h 4205206"/>
              <a:gd name="connsiteX29" fmla="*/ 149191 w 4570769"/>
              <a:gd name="connsiteY29" fmla="*/ 2543072 h 4205206"/>
              <a:gd name="connsiteX30" fmla="*/ 132129 w 4570769"/>
              <a:gd name="connsiteY30" fmla="*/ 2502375 h 4205206"/>
              <a:gd name="connsiteX31" fmla="*/ 116220 w 4570769"/>
              <a:gd name="connsiteY31" fmla="*/ 2461956 h 4205206"/>
              <a:gd name="connsiteX32" fmla="*/ 100588 w 4570769"/>
              <a:gd name="connsiteY32" fmla="*/ 2420383 h 4205206"/>
              <a:gd name="connsiteX33" fmla="*/ 86825 w 4570769"/>
              <a:gd name="connsiteY33" fmla="*/ 2378649 h 4205206"/>
              <a:gd name="connsiteX34" fmla="*/ 74493 w 4570769"/>
              <a:gd name="connsiteY34" fmla="*/ 2336038 h 4205206"/>
              <a:gd name="connsiteX35" fmla="*/ 62598 w 4570769"/>
              <a:gd name="connsiteY35" fmla="*/ 2294143 h 4205206"/>
              <a:gd name="connsiteX36" fmla="*/ 51419 w 4570769"/>
              <a:gd name="connsiteY36" fmla="*/ 2251810 h 4205206"/>
              <a:gd name="connsiteX37" fmla="*/ 41232 w 4570769"/>
              <a:gd name="connsiteY37" fmla="*/ 2207885 h 4205206"/>
              <a:gd name="connsiteX38" fmla="*/ 32198 w 4570769"/>
              <a:gd name="connsiteY38" fmla="*/ 2164237 h 4205206"/>
              <a:gd name="connsiteX39" fmla="*/ 25033 w 4570769"/>
              <a:gd name="connsiteY39" fmla="*/ 2120428 h 4205206"/>
              <a:gd name="connsiteX40" fmla="*/ 17868 w 4570769"/>
              <a:gd name="connsiteY40" fmla="*/ 2076619 h 4205206"/>
              <a:gd name="connsiteX41" fmla="*/ 12133 w 4570769"/>
              <a:gd name="connsiteY41" fmla="*/ 2031934 h 4205206"/>
              <a:gd name="connsiteX42" fmla="*/ 7552 w 4570769"/>
              <a:gd name="connsiteY42" fmla="*/ 1987526 h 4205206"/>
              <a:gd name="connsiteX43" fmla="*/ 4839 w 4570769"/>
              <a:gd name="connsiteY43" fmla="*/ 1942957 h 4205206"/>
              <a:gd name="connsiteX44" fmla="*/ 1689 w 4570769"/>
              <a:gd name="connsiteY44" fmla="*/ 1897672 h 4205206"/>
              <a:gd name="connsiteX45" fmla="*/ 844 w 4570769"/>
              <a:gd name="connsiteY45" fmla="*/ 1852942 h 4205206"/>
              <a:gd name="connsiteX46" fmla="*/ 0 w 4570769"/>
              <a:gd name="connsiteY46" fmla="*/ 1808212 h 4205206"/>
              <a:gd name="connsiteX47" fmla="*/ 1302 w 4570769"/>
              <a:gd name="connsiteY47" fmla="*/ 1762167 h 4205206"/>
              <a:gd name="connsiteX48" fmla="*/ 3757 w 4570769"/>
              <a:gd name="connsiteY48" fmla="*/ 1716399 h 4205206"/>
              <a:gd name="connsiteX49" fmla="*/ 6650 w 4570769"/>
              <a:gd name="connsiteY49" fmla="*/ 1671347 h 4205206"/>
              <a:gd name="connsiteX50" fmla="*/ 10974 w 4570769"/>
              <a:gd name="connsiteY50" fmla="*/ 1625418 h 4205206"/>
              <a:gd name="connsiteX51" fmla="*/ 17166 w 4570769"/>
              <a:gd name="connsiteY51" fmla="*/ 1579328 h 4205206"/>
              <a:gd name="connsiteX52" fmla="*/ 24073 w 4570769"/>
              <a:gd name="connsiteY52" fmla="*/ 1532800 h 4205206"/>
              <a:gd name="connsiteX53" fmla="*/ 30704 w 4570769"/>
              <a:gd name="connsiteY53" fmla="*/ 1487426 h 4205206"/>
              <a:gd name="connsiteX54" fmla="*/ 40633 w 4570769"/>
              <a:gd name="connsiteY54" fmla="*/ 1441014 h 4205206"/>
              <a:gd name="connsiteX55" fmla="*/ 51001 w 4570769"/>
              <a:gd name="connsiteY55" fmla="*/ 1395317 h 4205206"/>
              <a:gd name="connsiteX56" fmla="*/ 60189 w 4570769"/>
              <a:gd name="connsiteY56" fmla="*/ 1362146 h 4205206"/>
              <a:gd name="connsiteX57" fmla="*/ 68939 w 4570769"/>
              <a:gd name="connsiteY57" fmla="*/ 1328260 h 4205206"/>
              <a:gd name="connsiteX58" fmla="*/ 78127 w 4570769"/>
              <a:gd name="connsiteY58" fmla="*/ 1295089 h 4205206"/>
              <a:gd name="connsiteX59" fmla="*/ 88907 w 4570769"/>
              <a:gd name="connsiteY59" fmla="*/ 1262911 h 4205206"/>
              <a:gd name="connsiteX60" fmla="*/ 99964 w 4570769"/>
              <a:gd name="connsiteY60" fmla="*/ 1229579 h 4205206"/>
              <a:gd name="connsiteX61" fmla="*/ 111182 w 4570769"/>
              <a:gd name="connsiteY61" fmla="*/ 1198116 h 4205206"/>
              <a:gd name="connsiteX62" fmla="*/ 123393 w 4570769"/>
              <a:gd name="connsiteY62" fmla="*/ 1165061 h 4205206"/>
              <a:gd name="connsiteX63" fmla="*/ 136479 w 4570769"/>
              <a:gd name="connsiteY63" fmla="*/ 1133437 h 4205206"/>
              <a:gd name="connsiteX64" fmla="*/ 148851 w 4570769"/>
              <a:gd name="connsiteY64" fmla="*/ 1102250 h 4205206"/>
              <a:gd name="connsiteX65" fmla="*/ 162652 w 4570769"/>
              <a:gd name="connsiteY65" fmla="*/ 1070188 h 4205206"/>
              <a:gd name="connsiteX66" fmla="*/ 178046 w 4570769"/>
              <a:gd name="connsiteY66" fmla="*/ 1039118 h 4205206"/>
              <a:gd name="connsiteX67" fmla="*/ 193439 w 4570769"/>
              <a:gd name="connsiteY67" fmla="*/ 1008048 h 4205206"/>
              <a:gd name="connsiteX68" fmla="*/ 209271 w 4570769"/>
              <a:gd name="connsiteY68" fmla="*/ 977693 h 4205206"/>
              <a:gd name="connsiteX69" fmla="*/ 224825 w 4570769"/>
              <a:gd name="connsiteY69" fmla="*/ 948491 h 4205206"/>
              <a:gd name="connsiteX70" fmla="*/ 241372 w 4570769"/>
              <a:gd name="connsiteY70" fmla="*/ 917698 h 4205206"/>
              <a:gd name="connsiteX71" fmla="*/ 259948 w 4570769"/>
              <a:gd name="connsiteY71" fmla="*/ 888612 h 4205206"/>
              <a:gd name="connsiteX72" fmla="*/ 276933 w 4570769"/>
              <a:gd name="connsiteY72" fmla="*/ 858534 h 4205206"/>
              <a:gd name="connsiteX73" fmla="*/ 295948 w 4570769"/>
              <a:gd name="connsiteY73" fmla="*/ 830164 h 4205206"/>
              <a:gd name="connsiteX74" fmla="*/ 313809 w 4570769"/>
              <a:gd name="connsiteY74" fmla="*/ 801516 h 4205206"/>
              <a:gd name="connsiteX75" fmla="*/ 333977 w 4570769"/>
              <a:gd name="connsiteY75" fmla="*/ 773423 h 4205206"/>
              <a:gd name="connsiteX76" fmla="*/ 354145 w 4570769"/>
              <a:gd name="connsiteY76" fmla="*/ 745330 h 4205206"/>
              <a:gd name="connsiteX77" fmla="*/ 374313 w 4570769"/>
              <a:gd name="connsiteY77" fmla="*/ 717236 h 4205206"/>
              <a:gd name="connsiteX78" fmla="*/ 395357 w 4570769"/>
              <a:gd name="connsiteY78" fmla="*/ 690573 h 4205206"/>
              <a:gd name="connsiteX79" fmla="*/ 417555 w 4570769"/>
              <a:gd name="connsiteY79" fmla="*/ 664188 h 4205206"/>
              <a:gd name="connsiteX80" fmla="*/ 439037 w 4570769"/>
              <a:gd name="connsiteY80" fmla="*/ 638240 h 4205206"/>
              <a:gd name="connsiteX81" fmla="*/ 461235 w 4570769"/>
              <a:gd name="connsiteY81" fmla="*/ 611854 h 4205206"/>
              <a:gd name="connsiteX82" fmla="*/ 483871 w 4570769"/>
              <a:gd name="connsiteY82" fmla="*/ 586184 h 4205206"/>
              <a:gd name="connsiteX83" fmla="*/ 506945 w 4570769"/>
              <a:gd name="connsiteY83" fmla="*/ 561228 h 4205206"/>
              <a:gd name="connsiteX84" fmla="*/ 530734 w 4570769"/>
              <a:gd name="connsiteY84" fmla="*/ 535835 h 4205206"/>
              <a:gd name="connsiteX85" fmla="*/ 555399 w 4570769"/>
              <a:gd name="connsiteY85" fmla="*/ 511872 h 4205206"/>
              <a:gd name="connsiteX86" fmla="*/ 580065 w 4570769"/>
              <a:gd name="connsiteY86" fmla="*/ 487908 h 4205206"/>
              <a:gd name="connsiteX87" fmla="*/ 605168 w 4570769"/>
              <a:gd name="connsiteY87" fmla="*/ 464661 h 4205206"/>
              <a:gd name="connsiteX88" fmla="*/ 629995 w 4570769"/>
              <a:gd name="connsiteY88" fmla="*/ 442566 h 4205206"/>
              <a:gd name="connsiteX89" fmla="*/ 655537 w 4570769"/>
              <a:gd name="connsiteY89" fmla="*/ 420033 h 4205206"/>
              <a:gd name="connsiteX90" fmla="*/ 682232 w 4570769"/>
              <a:gd name="connsiteY90" fmla="*/ 397778 h 4205206"/>
              <a:gd name="connsiteX91" fmla="*/ 708212 w 4570769"/>
              <a:gd name="connsiteY91" fmla="*/ 375960 h 4205206"/>
              <a:gd name="connsiteX92" fmla="*/ 735783 w 4570769"/>
              <a:gd name="connsiteY92" fmla="*/ 355135 h 4205206"/>
              <a:gd name="connsiteX93" fmla="*/ 763355 w 4570769"/>
              <a:gd name="connsiteY93" fmla="*/ 334310 h 4205206"/>
              <a:gd name="connsiteX94" fmla="*/ 791802 w 4570769"/>
              <a:gd name="connsiteY94" fmla="*/ 314915 h 4205206"/>
              <a:gd name="connsiteX95" fmla="*/ 819096 w 4570769"/>
              <a:gd name="connsiteY95" fmla="*/ 295244 h 4205206"/>
              <a:gd name="connsiteX96" fmla="*/ 847982 w 4570769"/>
              <a:gd name="connsiteY96" fmla="*/ 276564 h 4205206"/>
              <a:gd name="connsiteX97" fmla="*/ 876868 w 4570769"/>
              <a:gd name="connsiteY97" fmla="*/ 257885 h 4205206"/>
              <a:gd name="connsiteX98" fmla="*/ 905915 w 4570769"/>
              <a:gd name="connsiteY98" fmla="*/ 241074 h 4205206"/>
              <a:gd name="connsiteX99" fmla="*/ 935239 w 4570769"/>
              <a:gd name="connsiteY99" fmla="*/ 223110 h 4205206"/>
              <a:gd name="connsiteX100" fmla="*/ 964724 w 4570769"/>
              <a:gd name="connsiteY100" fmla="*/ 207014 h 4205206"/>
              <a:gd name="connsiteX101" fmla="*/ 994925 w 4570769"/>
              <a:gd name="connsiteY101" fmla="*/ 190480 h 4205206"/>
              <a:gd name="connsiteX102" fmla="*/ 1026001 w 4570769"/>
              <a:gd name="connsiteY102" fmla="*/ 175377 h 4205206"/>
              <a:gd name="connsiteX103" fmla="*/ 1056363 w 4570769"/>
              <a:gd name="connsiteY103" fmla="*/ 160712 h 4205206"/>
              <a:gd name="connsiteX104" fmla="*/ 1087440 w 4570769"/>
              <a:gd name="connsiteY104" fmla="*/ 145608 h 4205206"/>
              <a:gd name="connsiteX105" fmla="*/ 1119116 w 4570769"/>
              <a:gd name="connsiteY105" fmla="*/ 133089 h 4205206"/>
              <a:gd name="connsiteX106" fmla="*/ 1151068 w 4570769"/>
              <a:gd name="connsiteY106" fmla="*/ 119416 h 4205206"/>
              <a:gd name="connsiteX107" fmla="*/ 1182744 w 4570769"/>
              <a:gd name="connsiteY107" fmla="*/ 106896 h 4205206"/>
              <a:gd name="connsiteX108" fmla="*/ 1214143 w 4570769"/>
              <a:gd name="connsiteY108" fmla="*/ 95530 h 4205206"/>
              <a:gd name="connsiteX109" fmla="*/ 1246695 w 4570769"/>
              <a:gd name="connsiteY109" fmla="*/ 84441 h 4205206"/>
              <a:gd name="connsiteX110" fmla="*/ 1279248 w 4570769"/>
              <a:gd name="connsiteY110" fmla="*/ 73352 h 4205206"/>
              <a:gd name="connsiteX111" fmla="*/ 1312676 w 4570769"/>
              <a:gd name="connsiteY111" fmla="*/ 63693 h 4205206"/>
              <a:gd name="connsiteX112" fmla="*/ 1345828 w 4570769"/>
              <a:gd name="connsiteY112" fmla="*/ 55188 h 4205206"/>
              <a:gd name="connsiteX113" fmla="*/ 1378541 w 4570769"/>
              <a:gd name="connsiteY113" fmla="*/ 45967 h 4205206"/>
              <a:gd name="connsiteX114" fmla="*/ 1412130 w 4570769"/>
              <a:gd name="connsiteY114" fmla="*/ 38177 h 4205206"/>
              <a:gd name="connsiteX115" fmla="*/ 1446596 w 4570769"/>
              <a:gd name="connsiteY115" fmla="*/ 31817 h 4205206"/>
              <a:gd name="connsiteX116" fmla="*/ 1479909 w 4570769"/>
              <a:gd name="connsiteY116" fmla="*/ 25181 h 4205206"/>
              <a:gd name="connsiteX117" fmla="*/ 1513660 w 4570769"/>
              <a:gd name="connsiteY117" fmla="*/ 19259 h 4205206"/>
              <a:gd name="connsiteX118" fmla="*/ 1548287 w 4570769"/>
              <a:gd name="connsiteY118" fmla="*/ 14768 h 4205206"/>
              <a:gd name="connsiteX119" fmla="*/ 1582914 w 4570769"/>
              <a:gd name="connsiteY119" fmla="*/ 10277 h 4205206"/>
              <a:gd name="connsiteX120" fmla="*/ 1624738 w 4570769"/>
              <a:gd name="connsiteY120" fmla="*/ 6295 h 4205206"/>
              <a:gd name="connsiteX121" fmla="*/ 1665132 w 4570769"/>
              <a:gd name="connsiteY121" fmla="*/ 3189 h 4205206"/>
              <a:gd name="connsiteX122" fmla="*/ 1705687 w 4570769"/>
              <a:gd name="connsiteY122" fmla="*/ 1952 h 4205206"/>
              <a:gd name="connsiteX123" fmla="*/ 1745803 w 4570769"/>
              <a:gd name="connsiteY123" fmla="*/ 0 h 420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570769" h="4205206">
                <a:moveTo>
                  <a:pt x="1745803" y="0"/>
                </a:moveTo>
                <a:lnTo>
                  <a:pt x="1785804" y="1070"/>
                </a:lnTo>
                <a:lnTo>
                  <a:pt x="1824652" y="1862"/>
                </a:lnTo>
                <a:lnTo>
                  <a:pt x="1863937" y="3370"/>
                </a:lnTo>
                <a:lnTo>
                  <a:pt x="1903384" y="6747"/>
                </a:lnTo>
                <a:lnTo>
                  <a:pt x="1941677" y="9846"/>
                </a:lnTo>
                <a:lnTo>
                  <a:pt x="1980847" y="14376"/>
                </a:lnTo>
                <a:lnTo>
                  <a:pt x="2018863" y="18628"/>
                </a:lnTo>
                <a:lnTo>
                  <a:pt x="2057040" y="24750"/>
                </a:lnTo>
                <a:lnTo>
                  <a:pt x="2095218" y="30871"/>
                </a:lnTo>
                <a:lnTo>
                  <a:pt x="2132680" y="37430"/>
                </a:lnTo>
                <a:lnTo>
                  <a:pt x="2171018" y="45420"/>
                </a:lnTo>
                <a:lnTo>
                  <a:pt x="2207926" y="54286"/>
                </a:lnTo>
                <a:lnTo>
                  <a:pt x="2283172" y="71142"/>
                </a:lnTo>
                <a:lnTo>
                  <a:pt x="2357150" y="90743"/>
                </a:lnTo>
                <a:lnTo>
                  <a:pt x="2430850" y="111498"/>
                </a:lnTo>
                <a:lnTo>
                  <a:pt x="2504710" y="134121"/>
                </a:lnTo>
                <a:lnTo>
                  <a:pt x="2577856" y="157182"/>
                </a:lnTo>
                <a:lnTo>
                  <a:pt x="2651440" y="180958"/>
                </a:lnTo>
                <a:lnTo>
                  <a:pt x="2797893" y="228949"/>
                </a:lnTo>
                <a:lnTo>
                  <a:pt x="4570769" y="819920"/>
                </a:lnTo>
                <a:lnTo>
                  <a:pt x="4570769" y="4205206"/>
                </a:lnTo>
                <a:lnTo>
                  <a:pt x="1143839" y="4205206"/>
                </a:lnTo>
                <a:lnTo>
                  <a:pt x="269883" y="2777014"/>
                </a:lnTo>
                <a:lnTo>
                  <a:pt x="247099" y="2739822"/>
                </a:lnTo>
                <a:lnTo>
                  <a:pt x="225745" y="2701755"/>
                </a:lnTo>
                <a:lnTo>
                  <a:pt x="204669" y="2662533"/>
                </a:lnTo>
                <a:lnTo>
                  <a:pt x="185461" y="2623151"/>
                </a:lnTo>
                <a:lnTo>
                  <a:pt x="166691" y="2584484"/>
                </a:lnTo>
                <a:lnTo>
                  <a:pt x="149191" y="2543072"/>
                </a:lnTo>
                <a:lnTo>
                  <a:pt x="132129" y="2502375"/>
                </a:lnTo>
                <a:lnTo>
                  <a:pt x="116220" y="2461956"/>
                </a:lnTo>
                <a:lnTo>
                  <a:pt x="100588" y="2420383"/>
                </a:lnTo>
                <a:lnTo>
                  <a:pt x="86825" y="2378649"/>
                </a:lnTo>
                <a:lnTo>
                  <a:pt x="74493" y="2336038"/>
                </a:lnTo>
                <a:lnTo>
                  <a:pt x="62598" y="2294143"/>
                </a:lnTo>
                <a:lnTo>
                  <a:pt x="51419" y="2251810"/>
                </a:lnTo>
                <a:lnTo>
                  <a:pt x="41232" y="2207885"/>
                </a:lnTo>
                <a:lnTo>
                  <a:pt x="32198" y="2164237"/>
                </a:lnTo>
                <a:lnTo>
                  <a:pt x="25033" y="2120428"/>
                </a:lnTo>
                <a:lnTo>
                  <a:pt x="17868" y="2076619"/>
                </a:lnTo>
                <a:lnTo>
                  <a:pt x="12133" y="2031934"/>
                </a:lnTo>
                <a:lnTo>
                  <a:pt x="7552" y="1987526"/>
                </a:lnTo>
                <a:lnTo>
                  <a:pt x="4839" y="1942957"/>
                </a:lnTo>
                <a:lnTo>
                  <a:pt x="1689" y="1897672"/>
                </a:lnTo>
                <a:lnTo>
                  <a:pt x="844" y="1852942"/>
                </a:lnTo>
                <a:lnTo>
                  <a:pt x="0" y="1808212"/>
                </a:lnTo>
                <a:lnTo>
                  <a:pt x="1302" y="1762167"/>
                </a:lnTo>
                <a:lnTo>
                  <a:pt x="3757" y="1716399"/>
                </a:lnTo>
                <a:lnTo>
                  <a:pt x="6650" y="1671347"/>
                </a:lnTo>
                <a:lnTo>
                  <a:pt x="10974" y="1625418"/>
                </a:lnTo>
                <a:lnTo>
                  <a:pt x="17166" y="1579328"/>
                </a:lnTo>
                <a:lnTo>
                  <a:pt x="24073" y="1532800"/>
                </a:lnTo>
                <a:lnTo>
                  <a:pt x="30704" y="1487426"/>
                </a:lnTo>
                <a:lnTo>
                  <a:pt x="40633" y="1441014"/>
                </a:lnTo>
                <a:lnTo>
                  <a:pt x="51001" y="1395317"/>
                </a:lnTo>
                <a:lnTo>
                  <a:pt x="60189" y="1362146"/>
                </a:lnTo>
                <a:lnTo>
                  <a:pt x="68939" y="1328260"/>
                </a:lnTo>
                <a:lnTo>
                  <a:pt x="78127" y="1295089"/>
                </a:lnTo>
                <a:lnTo>
                  <a:pt x="88907" y="1262911"/>
                </a:lnTo>
                <a:lnTo>
                  <a:pt x="99964" y="1229579"/>
                </a:lnTo>
                <a:lnTo>
                  <a:pt x="111182" y="1198116"/>
                </a:lnTo>
                <a:lnTo>
                  <a:pt x="123393" y="1165061"/>
                </a:lnTo>
                <a:lnTo>
                  <a:pt x="136479" y="1133437"/>
                </a:lnTo>
                <a:lnTo>
                  <a:pt x="148851" y="1102250"/>
                </a:lnTo>
                <a:lnTo>
                  <a:pt x="162652" y="1070188"/>
                </a:lnTo>
                <a:lnTo>
                  <a:pt x="178046" y="1039118"/>
                </a:lnTo>
                <a:lnTo>
                  <a:pt x="193439" y="1008048"/>
                </a:lnTo>
                <a:lnTo>
                  <a:pt x="209271" y="977693"/>
                </a:lnTo>
                <a:lnTo>
                  <a:pt x="224825" y="948491"/>
                </a:lnTo>
                <a:lnTo>
                  <a:pt x="241372" y="917698"/>
                </a:lnTo>
                <a:lnTo>
                  <a:pt x="259948" y="888612"/>
                </a:lnTo>
                <a:lnTo>
                  <a:pt x="276933" y="858534"/>
                </a:lnTo>
                <a:lnTo>
                  <a:pt x="295948" y="830164"/>
                </a:lnTo>
                <a:lnTo>
                  <a:pt x="313809" y="801516"/>
                </a:lnTo>
                <a:lnTo>
                  <a:pt x="333977" y="773423"/>
                </a:lnTo>
                <a:lnTo>
                  <a:pt x="354145" y="745330"/>
                </a:lnTo>
                <a:lnTo>
                  <a:pt x="374313" y="717236"/>
                </a:lnTo>
                <a:lnTo>
                  <a:pt x="395357" y="690573"/>
                </a:lnTo>
                <a:lnTo>
                  <a:pt x="417555" y="664188"/>
                </a:lnTo>
                <a:lnTo>
                  <a:pt x="439037" y="638240"/>
                </a:lnTo>
                <a:lnTo>
                  <a:pt x="461235" y="611854"/>
                </a:lnTo>
                <a:lnTo>
                  <a:pt x="483871" y="586184"/>
                </a:lnTo>
                <a:lnTo>
                  <a:pt x="506945" y="561228"/>
                </a:lnTo>
                <a:lnTo>
                  <a:pt x="530734" y="535835"/>
                </a:lnTo>
                <a:lnTo>
                  <a:pt x="555399" y="511872"/>
                </a:lnTo>
                <a:lnTo>
                  <a:pt x="580065" y="487908"/>
                </a:lnTo>
                <a:lnTo>
                  <a:pt x="605168" y="464661"/>
                </a:lnTo>
                <a:lnTo>
                  <a:pt x="629995" y="442566"/>
                </a:lnTo>
                <a:lnTo>
                  <a:pt x="655537" y="420033"/>
                </a:lnTo>
                <a:lnTo>
                  <a:pt x="682232" y="397778"/>
                </a:lnTo>
                <a:lnTo>
                  <a:pt x="708212" y="375960"/>
                </a:lnTo>
                <a:lnTo>
                  <a:pt x="735783" y="355135"/>
                </a:lnTo>
                <a:lnTo>
                  <a:pt x="763355" y="334310"/>
                </a:lnTo>
                <a:lnTo>
                  <a:pt x="791802" y="314915"/>
                </a:lnTo>
                <a:lnTo>
                  <a:pt x="819096" y="295244"/>
                </a:lnTo>
                <a:lnTo>
                  <a:pt x="847982" y="276564"/>
                </a:lnTo>
                <a:lnTo>
                  <a:pt x="876868" y="257885"/>
                </a:lnTo>
                <a:lnTo>
                  <a:pt x="905915" y="241074"/>
                </a:lnTo>
                <a:lnTo>
                  <a:pt x="935239" y="223110"/>
                </a:lnTo>
                <a:lnTo>
                  <a:pt x="964724" y="207014"/>
                </a:lnTo>
                <a:lnTo>
                  <a:pt x="994925" y="190480"/>
                </a:lnTo>
                <a:lnTo>
                  <a:pt x="1026001" y="175377"/>
                </a:lnTo>
                <a:lnTo>
                  <a:pt x="1056363" y="160712"/>
                </a:lnTo>
                <a:lnTo>
                  <a:pt x="1087440" y="145608"/>
                </a:lnTo>
                <a:lnTo>
                  <a:pt x="1119116" y="133089"/>
                </a:lnTo>
                <a:lnTo>
                  <a:pt x="1151068" y="119416"/>
                </a:lnTo>
                <a:lnTo>
                  <a:pt x="1182744" y="106896"/>
                </a:lnTo>
                <a:lnTo>
                  <a:pt x="1214143" y="95530"/>
                </a:lnTo>
                <a:lnTo>
                  <a:pt x="1246695" y="84441"/>
                </a:lnTo>
                <a:lnTo>
                  <a:pt x="1279248" y="73352"/>
                </a:lnTo>
                <a:lnTo>
                  <a:pt x="1312676" y="63693"/>
                </a:lnTo>
                <a:lnTo>
                  <a:pt x="1345828" y="55188"/>
                </a:lnTo>
                <a:lnTo>
                  <a:pt x="1378541" y="45967"/>
                </a:lnTo>
                <a:lnTo>
                  <a:pt x="1412130" y="38177"/>
                </a:lnTo>
                <a:lnTo>
                  <a:pt x="1446596" y="31817"/>
                </a:lnTo>
                <a:lnTo>
                  <a:pt x="1479909" y="25181"/>
                </a:lnTo>
                <a:lnTo>
                  <a:pt x="1513660" y="19259"/>
                </a:lnTo>
                <a:lnTo>
                  <a:pt x="1548287" y="14768"/>
                </a:lnTo>
                <a:lnTo>
                  <a:pt x="1582914" y="10277"/>
                </a:lnTo>
                <a:lnTo>
                  <a:pt x="1624738" y="6295"/>
                </a:lnTo>
                <a:lnTo>
                  <a:pt x="1665132" y="3189"/>
                </a:lnTo>
                <a:lnTo>
                  <a:pt x="1705687" y="1952"/>
                </a:lnTo>
                <a:lnTo>
                  <a:pt x="174580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25E0E32A-F106-F048-88D4-0509F5B5F353}"/>
              </a:ext>
            </a:extLst>
          </p:cNvPr>
          <p:cNvSpPr>
            <a:spLocks noGrp="1"/>
          </p:cNvSpPr>
          <p:nvPr>
            <p:ph type="title" hasCustomPrompt="1"/>
          </p:nvPr>
        </p:nvSpPr>
        <p:spPr>
          <a:xfrm>
            <a:off x="7211211" y="4204009"/>
            <a:ext cx="4506366" cy="860105"/>
          </a:xfrm>
          <a:prstGeom prst="rect">
            <a:avLst/>
          </a:prstGeom>
        </p:spPr>
        <p:txBody>
          <a:bodyPr anchor="b">
            <a:normAutofit/>
          </a:bodyPr>
          <a:lstStyle>
            <a:lvl1pPr algn="r">
              <a:defRPr sz="5600" b="0" i="0">
                <a:solidFill>
                  <a:srgbClr val="005EB8"/>
                </a:solidFill>
                <a:latin typeface="Gibson Light" panose="02000000000000000000" pitchFamily="2" charset="77"/>
                <a:ea typeface="Malgun Gothic Semilight" panose="020B0503020000020004" pitchFamily="34" charset="-127"/>
              </a:defRPr>
            </a:lvl1pPr>
          </a:lstStyle>
          <a:p>
            <a:r>
              <a:rPr lang="en-US" dirty="0"/>
              <a:t>Thank you</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2n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err="1"/>
              <a:t>Put</a:t>
            </a:r>
            <a:r>
              <a:rPr lang="de-DE" noProof="0" dirty="0"/>
              <a:t> 3rd logo </a:t>
            </a:r>
            <a:r>
              <a:rPr lang="de-DE" noProof="0" dirty="0" err="1"/>
              <a:t>here</a:t>
            </a:r>
            <a:r>
              <a:rPr lang="de-DE" noProof="0" dirty="0"/>
              <a:t> in </a:t>
            </a:r>
            <a:r>
              <a:rPr lang="de-DE" noProof="0" dirty="0" err="1"/>
              <a:t>this</a:t>
            </a:r>
            <a:r>
              <a:rPr lang="de-DE" noProof="0" dirty="0"/>
              <a:t> </a:t>
            </a:r>
            <a:r>
              <a:rPr lang="de-DE" noProof="0" dirty="0" err="1"/>
              <a:t>block‘s</a:t>
            </a:r>
            <a:r>
              <a:rPr lang="de-DE" noProof="0" dirty="0"/>
              <a:t> EXACT SIZE </a:t>
            </a:r>
            <a:r>
              <a:rPr lang="de-DE" noProof="0" dirty="0" err="1"/>
              <a:t>or</a:t>
            </a:r>
            <a:r>
              <a:rPr lang="de-DE" noProof="0" dirty="0"/>
              <a:t> DELETE</a:t>
            </a:r>
          </a:p>
        </p:txBody>
      </p:sp>
      <p:cxnSp>
        <p:nvCxnSpPr>
          <p:cNvPr id="19" name="Straight Connector 18">
            <a:extLst>
              <a:ext uri="{FF2B5EF4-FFF2-40B4-BE49-F238E27FC236}">
                <a16:creationId xmlns:a16="http://schemas.microsoft.com/office/drawing/2014/main" id="{716DB868-C384-2F41-818B-81375F7B364C}"/>
              </a:ext>
            </a:extLst>
          </p:cNvPr>
          <p:cNvCxnSpPr/>
          <p:nvPr userDrawn="1"/>
        </p:nvCxnSpPr>
        <p:spPr>
          <a:xfrm>
            <a:off x="9241971" y="5705195"/>
            <a:ext cx="2326139"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512546" y="5842556"/>
            <a:ext cx="3161516" cy="579469"/>
          </a:xfrm>
          <a:prstGeom prst="rect">
            <a:avLst/>
          </a:prstGeom>
        </p:spPr>
        <p:txBody>
          <a:bodyPr>
            <a:noAutofit/>
          </a:bodyPr>
          <a:lstStyle>
            <a:lvl1pPr marL="0" indent="0" algn="r">
              <a:buNone/>
              <a:defRPr sz="1200" b="0" i="0">
                <a:solidFill>
                  <a:srgbClr val="787875"/>
                </a:solidFill>
                <a:latin typeface="Gibson Light"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dirty="0"/>
              <a:t>Name </a:t>
            </a:r>
            <a:r>
              <a:rPr lang="de-DE" noProof="0" dirty="0" err="1"/>
              <a:t>Surname</a:t>
            </a:r>
            <a:r>
              <a:rPr lang="de-DE" noProof="0" dirty="0"/>
              <a:t>  I  00.00.2018  I  Location </a:t>
            </a:r>
          </a:p>
        </p:txBody>
      </p:sp>
      <p:pic>
        <p:nvPicPr>
          <p:cNvPr id="11" name="Picture 10">
            <a:extLst>
              <a:ext uri="{FF2B5EF4-FFF2-40B4-BE49-F238E27FC236}">
                <a16:creationId xmlns:a16="http://schemas.microsoft.com/office/drawing/2014/main" id="{F21C13BD-408A-3149-A433-347F5C25C6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a:fillRect/>
          </a:stretch>
        </p:blipFill>
        <p:spPr>
          <a:xfrm>
            <a:off x="6918983" y="413053"/>
            <a:ext cx="2127533" cy="386161"/>
          </a:xfrm>
          <a:prstGeom prst="rect">
            <a:avLst/>
          </a:prstGeom>
        </p:spPr>
      </p:pic>
      <p:cxnSp>
        <p:nvCxnSpPr>
          <p:cNvPr id="12" name="Straight Connector 11">
            <a:extLst>
              <a:ext uri="{FF2B5EF4-FFF2-40B4-BE49-F238E27FC236}">
                <a16:creationId xmlns:a16="http://schemas.microsoft.com/office/drawing/2014/main" id="{6451BB3A-DE64-2B4A-9E56-9390A91696F6}"/>
              </a:ext>
            </a:extLst>
          </p:cNvPr>
          <p:cNvCxnSpPr/>
          <p:nvPr userDrawn="1"/>
        </p:nvCxnSpPr>
        <p:spPr>
          <a:xfrm>
            <a:off x="9192176" y="480767"/>
            <a:ext cx="0" cy="316461"/>
          </a:xfrm>
          <a:prstGeom prst="line">
            <a:avLst/>
          </a:prstGeom>
          <a:ln w="15875">
            <a:solidFill>
              <a:srgbClr val="005EB8"/>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60D5161-9830-8D45-9E10-D94BC0580BC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331496" y="474639"/>
            <a:ext cx="2259329" cy="331838"/>
          </a:xfrm>
          <a:prstGeom prst="rect">
            <a:avLst/>
          </a:prstGeom>
        </p:spPr>
      </p:pic>
      <p:pic>
        <p:nvPicPr>
          <p:cNvPr id="15" name="Picture 14">
            <a:extLst>
              <a:ext uri="{FF2B5EF4-FFF2-40B4-BE49-F238E27FC236}">
                <a16:creationId xmlns:a16="http://schemas.microsoft.com/office/drawing/2014/main" id="{FEC9F672-7BBC-4C48-BF62-A41B4BF7C76F}"/>
              </a:ext>
            </a:extLst>
          </p:cNvPr>
          <p:cNvPicPr>
            <a:picLocks noChangeAspect="1"/>
          </p:cNvPicPr>
          <p:nvPr userDrawn="1"/>
        </p:nvPicPr>
        <p:blipFill>
          <a:blip r:embed="rId5"/>
          <a:stretch>
            <a:fillRect/>
          </a:stretch>
        </p:blipFill>
        <p:spPr>
          <a:xfrm>
            <a:off x="12918236" y="416228"/>
            <a:ext cx="2108200" cy="381000"/>
          </a:xfrm>
          <a:prstGeom prst="rect">
            <a:avLst/>
          </a:prstGeom>
        </p:spPr>
      </p:pic>
      <p:cxnSp>
        <p:nvCxnSpPr>
          <p:cNvPr id="16" name="Straight Connector 15">
            <a:extLst>
              <a:ext uri="{FF2B5EF4-FFF2-40B4-BE49-F238E27FC236}">
                <a16:creationId xmlns:a16="http://schemas.microsoft.com/office/drawing/2014/main" id="{F239B5E7-F5FF-9E44-8D1A-E4CAA62B19D1}"/>
              </a:ext>
            </a:extLst>
          </p:cNvPr>
          <p:cNvCxnSpPr/>
          <p:nvPr userDrawn="1"/>
        </p:nvCxnSpPr>
        <p:spPr>
          <a:xfrm>
            <a:off x="15191429" y="480767"/>
            <a:ext cx="0" cy="31646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87AEE89-F45D-8846-8E9F-626B859E9449}"/>
              </a:ext>
            </a:extLst>
          </p:cNvPr>
          <p:cNvPicPr>
            <a:picLocks noChangeAspect="1"/>
          </p:cNvPicPr>
          <p:nvPr userDrawn="1"/>
        </p:nvPicPr>
        <p:blipFill>
          <a:blip r:embed="rId6"/>
          <a:stretch>
            <a:fillRect/>
          </a:stretch>
        </p:blipFill>
        <p:spPr>
          <a:xfrm>
            <a:off x="15330749" y="474639"/>
            <a:ext cx="2259329" cy="332391"/>
          </a:xfrm>
          <a:prstGeom prst="rect">
            <a:avLst/>
          </a:prstGeom>
        </p:spPr>
      </p:pic>
    </p:spTree>
    <p:extLst>
      <p:ext uri="{BB962C8B-B14F-4D97-AF65-F5344CB8AC3E}">
        <p14:creationId xmlns:p14="http://schemas.microsoft.com/office/powerpoint/2010/main" val="37138113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7E9AC-242C-497C-9534-CEC021186E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B38068-A379-4B55-896F-0E185A09E14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69438C-DF21-4CFD-8A05-8F66AF4D333F}"/>
              </a:ext>
            </a:extLst>
          </p:cNvPr>
          <p:cNvSpPr>
            <a:spLocks noGrp="1"/>
          </p:cNvSpPr>
          <p:nvPr>
            <p:ph type="dt" sz="half" idx="10"/>
          </p:nvPr>
        </p:nvSpPr>
        <p:spPr/>
        <p:txBody>
          <a:bodyPr/>
          <a:lstStyle/>
          <a:p>
            <a:fld id="{C9910B36-367C-41B7-A8ED-322A714F5FCB}" type="datetimeFigureOut">
              <a:rPr lang="en-US" smtClean="0"/>
              <a:t>9/23/2023</a:t>
            </a:fld>
            <a:endParaRPr lang="en-US"/>
          </a:p>
        </p:txBody>
      </p:sp>
      <p:sp>
        <p:nvSpPr>
          <p:cNvPr id="5" name="Footer Placeholder 4">
            <a:extLst>
              <a:ext uri="{FF2B5EF4-FFF2-40B4-BE49-F238E27FC236}">
                <a16:creationId xmlns:a16="http://schemas.microsoft.com/office/drawing/2014/main" id="{5BA9CE93-7F6F-433E-90D2-FD41BC4C88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B24456-2D4C-49E2-AA1F-B1A52CCCA40B}"/>
              </a:ext>
            </a:extLst>
          </p:cNvPr>
          <p:cNvSpPr>
            <a:spLocks noGrp="1"/>
          </p:cNvSpPr>
          <p:nvPr>
            <p:ph type="sldNum" sz="quarter" idx="12"/>
          </p:nvPr>
        </p:nvSpPr>
        <p:spPr/>
        <p:txBody>
          <a:bodyPr/>
          <a:lstStyle/>
          <a:p>
            <a:fld id="{D44C38E2-23B7-498C-80D6-CB9C038060BA}" type="slidenum">
              <a:rPr lang="en-US" smtClean="0"/>
              <a:t>‹#›</a:t>
            </a:fld>
            <a:endParaRPr lang="en-US"/>
          </a:p>
        </p:txBody>
      </p:sp>
    </p:spTree>
    <p:extLst>
      <p:ext uri="{BB962C8B-B14F-4D97-AF65-F5344CB8AC3E}">
        <p14:creationId xmlns:p14="http://schemas.microsoft.com/office/powerpoint/2010/main" val="156699013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A0611-9DEF-4EA6-9062-50171DEEAC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67ADE3-1FF7-43C1-B424-943BA99976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2AEE562-D2D0-4F80-B9B3-68188F66CE42}"/>
              </a:ext>
            </a:extLst>
          </p:cNvPr>
          <p:cNvSpPr>
            <a:spLocks noGrp="1"/>
          </p:cNvSpPr>
          <p:nvPr>
            <p:ph type="dt" sz="half" idx="10"/>
          </p:nvPr>
        </p:nvSpPr>
        <p:spPr/>
        <p:txBody>
          <a:bodyPr/>
          <a:lstStyle/>
          <a:p>
            <a:fld id="{C9910B36-367C-41B7-A8ED-322A714F5FCB}" type="datetimeFigureOut">
              <a:rPr lang="en-US" smtClean="0"/>
              <a:t>9/23/2023</a:t>
            </a:fld>
            <a:endParaRPr lang="en-US"/>
          </a:p>
        </p:txBody>
      </p:sp>
      <p:sp>
        <p:nvSpPr>
          <p:cNvPr id="5" name="Footer Placeholder 4">
            <a:extLst>
              <a:ext uri="{FF2B5EF4-FFF2-40B4-BE49-F238E27FC236}">
                <a16:creationId xmlns:a16="http://schemas.microsoft.com/office/drawing/2014/main" id="{C6F0E62F-F4AB-4FF4-968F-81F7925459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A27B83-C5F1-4BB4-AA56-B88D2E2C4ECD}"/>
              </a:ext>
            </a:extLst>
          </p:cNvPr>
          <p:cNvSpPr>
            <a:spLocks noGrp="1"/>
          </p:cNvSpPr>
          <p:nvPr>
            <p:ph type="sldNum" sz="quarter" idx="12"/>
          </p:nvPr>
        </p:nvSpPr>
        <p:spPr/>
        <p:txBody>
          <a:bodyPr/>
          <a:lstStyle/>
          <a:p>
            <a:fld id="{D44C38E2-23B7-498C-80D6-CB9C038060BA}" type="slidenum">
              <a:rPr lang="en-US" smtClean="0"/>
              <a:t>‹#›</a:t>
            </a:fld>
            <a:endParaRPr lang="en-US"/>
          </a:p>
        </p:txBody>
      </p:sp>
    </p:spTree>
    <p:extLst>
      <p:ext uri="{BB962C8B-B14F-4D97-AF65-F5344CB8AC3E}">
        <p14:creationId xmlns:p14="http://schemas.microsoft.com/office/powerpoint/2010/main" val="351514792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p:nvPr>
        </p:nvSpPr>
        <p:spPr>
          <a:xfrm>
            <a:off x="5947335" y="496148"/>
            <a:ext cx="5717599" cy="201873"/>
          </a:xfrm>
        </p:spPr>
        <p:txBody>
          <a:bodyPr>
            <a:noAutofit/>
          </a:bodyPr>
          <a:lstStyle>
            <a:lvl1pPr marL="0" indent="0" algn="r">
              <a:buNone/>
              <a:defRPr sz="1000" b="0" i="0">
                <a:solidFill>
                  <a:srgbClr val="787875"/>
                </a:solidFill>
                <a:latin typeface="Gibson Light" panose="02000000000000000000" pitchFamily="2" charset="77"/>
              </a:defRPr>
            </a:lvl1pPr>
          </a:lstStyle>
          <a:p>
            <a:endParaRPr lang="de-DE" dirty="0"/>
          </a:p>
        </p:txBody>
      </p:sp>
      <p:sp>
        <p:nvSpPr>
          <p:cNvPr id="10" name="Marcador de número de diapositiva 21">
            <a:extLst>
              <a:ext uri="{FF2B5EF4-FFF2-40B4-BE49-F238E27FC236}">
                <a16:creationId xmlns:a16="http://schemas.microsoft.com/office/drawing/2014/main" id="{0CA8A673-CAF8-A94D-9834-7ACF5EA64DAE}"/>
              </a:ext>
            </a:extLst>
          </p:cNvPr>
          <p:cNvSpPr txBox="1">
            <a:spLocks/>
          </p:cNvSpPr>
          <p:nvPr userDrawn="1"/>
        </p:nvSpPr>
        <p:spPr>
          <a:xfrm>
            <a:off x="11382309" y="6195284"/>
            <a:ext cx="248264"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bg1">
                    <a:lumMod val="50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7627FB-D816-4EA7-98E3-793F2D9BC93A}" type="slidenum">
              <a:rPr lang="es-ES" sz="1000" smtClean="0">
                <a:solidFill>
                  <a:srgbClr val="005EB8"/>
                </a:solidFill>
                <a:latin typeface="Gibson" charset="0"/>
                <a:ea typeface="Gibson" charset="0"/>
                <a:cs typeface="Gibson" charset="0"/>
              </a:rPr>
              <a:pPr/>
              <a:t>‹#›</a:t>
            </a:fld>
            <a:endParaRPr lang="es-ES" sz="1000" dirty="0">
              <a:solidFill>
                <a:srgbClr val="005EB8"/>
              </a:solidFill>
              <a:latin typeface="Gibson" charset="0"/>
              <a:ea typeface="Gibson" charset="0"/>
              <a:cs typeface="Gibson" charset="0"/>
            </a:endParaRPr>
          </a:p>
        </p:txBody>
      </p:sp>
    </p:spTree>
    <p:extLst>
      <p:ext uri="{BB962C8B-B14F-4D97-AF65-F5344CB8AC3E}">
        <p14:creationId xmlns:p14="http://schemas.microsoft.com/office/powerpoint/2010/main" val="358016764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8" y="3548744"/>
            <a:ext cx="5717597" cy="2542200"/>
          </a:xfr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Text Placeholder 4"/>
          <p:cNvSpPr>
            <a:spLocks noGrp="1"/>
          </p:cNvSpPr>
          <p:nvPr>
            <p:ph type="body" sz="quarter" idx="16"/>
          </p:nvPr>
        </p:nvSpPr>
        <p:spPr>
          <a:xfrm>
            <a:off x="6050087" y="3143854"/>
            <a:ext cx="5717599" cy="201873"/>
          </a:xfrm>
        </p:spPr>
        <p:txBody>
          <a:bodyPr>
            <a:noAutofit/>
          </a:bodyPr>
          <a:lstStyle>
            <a:lvl1pPr marL="0" indent="0">
              <a:buNone/>
              <a:defRPr sz="900" i="0">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4" name="Text Placeholder 4"/>
          <p:cNvSpPr>
            <a:spLocks noGrp="1"/>
          </p:cNvSpPr>
          <p:nvPr>
            <p:ph type="body" sz="quarter" idx="17"/>
          </p:nvPr>
        </p:nvSpPr>
        <p:spPr>
          <a:xfrm>
            <a:off x="6031612" y="6106870"/>
            <a:ext cx="5728085" cy="201873"/>
          </a:xfrm>
        </p:spPr>
        <p:txBody>
          <a:bodyPr>
            <a:noAutofit/>
          </a:bodyPr>
          <a:lstStyle>
            <a:lvl1pPr marL="0" indent="0">
              <a:buNone/>
              <a:defRPr sz="900" i="0">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Formatvorlagen des Textmasters bearbeiten</a:t>
            </a:r>
          </a:p>
        </p:txBody>
      </p:sp>
      <p:sp>
        <p:nvSpPr>
          <p:cNvPr id="13" name="Marcador de texto 2"/>
          <p:cNvSpPr>
            <a:spLocks noGrp="1"/>
          </p:cNvSpPr>
          <p:nvPr>
            <p:ph type="body" sz="quarter" idx="19" hasCustomPrompt="1"/>
          </p:nvPr>
        </p:nvSpPr>
        <p:spPr>
          <a:xfrm>
            <a:off x="315498" y="1244600"/>
            <a:ext cx="5593413" cy="5064138"/>
          </a:xfrm>
        </p:spPr>
        <p:txBody>
          <a:bodyPr>
            <a:normAutofit/>
          </a:bodyPr>
          <a:lstStyle>
            <a:lvl1pPr marL="228600" marR="0" indent="-228600" algn="l" defTabSz="914400" rtl="0" eaLnBrk="1" fontAlgn="auto" latinLnBrk="0" hangingPunct="1">
              <a:lnSpc>
                <a:spcPct val="90000"/>
              </a:lnSpc>
              <a:spcBef>
                <a:spcPts val="1000"/>
              </a:spcBef>
              <a:spcAft>
                <a:spcPts val="0"/>
              </a:spcAft>
              <a:buClr>
                <a:srgbClr val="00A9E0"/>
              </a:buClr>
              <a:buSzPct val="80000"/>
              <a:buFont typeface="Calibri" panose="020F0502020204030204" pitchFamily="34" charset="0"/>
              <a:buChar char="_"/>
              <a:tabLst/>
              <a:defRPr sz="1600"/>
            </a:lvl1pPr>
            <a:lvl2pPr marL="6858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2pPr>
            <a:lvl3pPr marL="11430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3pPr>
            <a:lvl4pPr marL="16002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4pPr>
            <a:lvl5pPr marL="2057400" marR="0"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5pPr>
          </a:lstStyle>
          <a:p>
            <a:pPr marL="228600" marR="0" lvl="0" indent="-228600" algn="l" defTabSz="914400" rtl="0" eaLnBrk="1" fontAlgn="auto" latinLnBrk="0" hangingPunct="1">
              <a:lnSpc>
                <a:spcPct val="90000"/>
              </a:lnSpc>
              <a:spcBef>
                <a:spcPts val="1000"/>
              </a:spcBef>
              <a:spcAft>
                <a:spcPts val="0"/>
              </a:spcAft>
              <a:buClr>
                <a:srgbClr val="00A9E0"/>
              </a:buClr>
              <a:buSzPct val="80000"/>
              <a:buFont typeface="Calibri" panose="020F0502020204030204" pitchFamily="34" charset="0"/>
              <a:buChar char="_"/>
              <a:tabLst/>
              <a:defRPr/>
            </a:pPr>
            <a:r>
              <a:rPr kumimoji="0" lang="en-GB" sz="1600" b="0" i="0" u="none" strike="noStrike" kern="1200" cap="none" spc="0" normalizeH="0" baseline="0" noProof="0">
                <a:ln>
                  <a:noFill/>
                </a:ln>
                <a:solidFill>
                  <a:srgbClr val="FFFFFF">
                    <a:lumMod val="50000"/>
                  </a:srgbClr>
                </a:solidFill>
                <a:effectLst/>
                <a:uLnTx/>
                <a:uFillTx/>
                <a:latin typeface="+mj-lt"/>
                <a:ea typeface="+mn-ea"/>
                <a:cs typeface="+mn-cs"/>
              </a:rPr>
              <a:t>Bullet level 1</a:t>
            </a:r>
          </a:p>
          <a:p>
            <a:pPr marL="685800" marR="0" lvl="1"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400" b="0" i="0" u="none" strike="noStrike" kern="1200" cap="none" spc="0" normalizeH="0" baseline="0" noProof="0">
                <a:ln>
                  <a:noFill/>
                </a:ln>
                <a:solidFill>
                  <a:srgbClr val="FFFFFF">
                    <a:lumMod val="50000"/>
                  </a:srgbClr>
                </a:solidFill>
                <a:effectLst/>
                <a:uLnTx/>
                <a:uFillTx/>
                <a:latin typeface="+mj-lt"/>
                <a:ea typeface="+mn-ea"/>
                <a:cs typeface="+mn-cs"/>
              </a:rPr>
              <a:t>Bullet level 2</a:t>
            </a:r>
          </a:p>
          <a:p>
            <a:pPr marL="1143000" marR="0" lvl="2"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200" b="0" i="0" u="none" strike="noStrike" kern="1200" cap="none" spc="0" normalizeH="0" baseline="0" noProof="0">
                <a:ln>
                  <a:noFill/>
                </a:ln>
                <a:solidFill>
                  <a:srgbClr val="FFFFFF">
                    <a:lumMod val="50000"/>
                  </a:srgbClr>
                </a:solidFill>
                <a:effectLst/>
                <a:uLnTx/>
                <a:uFillTx/>
                <a:latin typeface="+mj-lt"/>
                <a:ea typeface="+mn-ea"/>
                <a:cs typeface="+mn-cs"/>
              </a:rPr>
              <a:t>Bullet level 3	</a:t>
            </a:r>
          </a:p>
          <a:p>
            <a:pPr marL="1600200" marR="0" lvl="3"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100" b="0" i="0" u="none" strike="noStrike" kern="1200" cap="none" spc="0" normalizeH="0" baseline="0" noProof="0">
                <a:ln>
                  <a:noFill/>
                </a:ln>
                <a:solidFill>
                  <a:srgbClr val="FFFFFF">
                    <a:lumMod val="50000"/>
                  </a:srgbClr>
                </a:solidFill>
                <a:effectLst/>
                <a:uLnTx/>
                <a:uFillTx/>
                <a:latin typeface="+mj-lt"/>
                <a:ea typeface="+mn-ea"/>
                <a:cs typeface="+mn-cs"/>
              </a:rPr>
              <a:t>Bullet level 4</a:t>
            </a:r>
          </a:p>
          <a:p>
            <a:pPr marL="2057400" marR="0" lvl="4" indent="-228600" algn="l" defTabSz="914400"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a:pPr>
            <a:r>
              <a:rPr kumimoji="0" lang="en-GB" sz="1100" b="0" i="0" u="none" strike="noStrike" kern="1200" cap="none" spc="0" normalizeH="0" baseline="0" noProof="0">
                <a:ln>
                  <a:noFill/>
                </a:ln>
                <a:solidFill>
                  <a:srgbClr val="FFFFFF">
                    <a:lumMod val="50000"/>
                  </a:srgbClr>
                </a:solidFill>
                <a:effectLst/>
                <a:uLnTx/>
                <a:uFillTx/>
                <a:latin typeface="+mj-lt"/>
                <a:ea typeface="+mn-ea"/>
                <a:cs typeface="+mn-cs"/>
              </a:rPr>
              <a:t>Bullet level 5</a:t>
            </a:r>
          </a:p>
        </p:txBody>
      </p:sp>
      <p:sp>
        <p:nvSpPr>
          <p:cNvPr id="22" name="Picture Placeholder 2"/>
          <p:cNvSpPr>
            <a:spLocks noGrp="1"/>
          </p:cNvSpPr>
          <p:nvPr>
            <p:ph type="pic" sz="quarter" idx="20" hasCustomPrompt="1"/>
          </p:nvPr>
        </p:nvSpPr>
        <p:spPr>
          <a:xfrm>
            <a:off x="6050084" y="564189"/>
            <a:ext cx="5717597" cy="2542200"/>
          </a:xfr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25"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s-ES" sz="800" b="0" i="0" u="none" strike="noStrike" kern="1200" cap="none" spc="0" normalizeH="0" baseline="0" noProof="0">
              <a:ln>
                <a:noFill/>
              </a:ln>
              <a:solidFill>
                <a:srgbClr val="FFFFFF">
                  <a:lumMod val="50000"/>
                </a:srgbClr>
              </a:solidFill>
              <a:effectLst/>
              <a:uLnTx/>
              <a:uFillTx/>
              <a:latin typeface="Calibri Light" panose="020F0302020204030204"/>
              <a:ea typeface="+mn-ea"/>
              <a:cs typeface="+mn-cs"/>
            </a:endParaRPr>
          </a:p>
        </p:txBody>
      </p:sp>
      <p:sp>
        <p:nvSpPr>
          <p:cNvPr id="16" name="Title 1"/>
          <p:cNvSpPr>
            <a:spLocks noGrp="1"/>
          </p:cNvSpPr>
          <p:nvPr>
            <p:ph type="title"/>
          </p:nvPr>
        </p:nvSpPr>
        <p:spPr>
          <a:xfrm>
            <a:off x="268228" y="296869"/>
            <a:ext cx="5628609" cy="482549"/>
          </a:xfrm>
        </p:spPr>
        <p:txBody>
          <a:bodyPr anchor="t">
            <a:noAutofit/>
          </a:bodyPr>
          <a:lstStyle>
            <a:lvl1pPr>
              <a:defRPr sz="3200">
                <a:solidFill>
                  <a:schemeClr val="tx2"/>
                </a:solidFill>
                <a:latin typeface="+mj-lt"/>
              </a:defRPr>
            </a:lvl1pPr>
          </a:lstStyle>
          <a:p>
            <a:r>
              <a:rPr lang="de-DE" noProof="0"/>
              <a:t>Titelmasterformat durch Klicken bearbeiten</a:t>
            </a:r>
            <a:endParaRPr lang="en-GB" noProof="0"/>
          </a:p>
        </p:txBody>
      </p:sp>
      <p:sp>
        <p:nvSpPr>
          <p:cNvPr id="18" name="Text Placeholder 19"/>
          <p:cNvSpPr>
            <a:spLocks noGrp="1"/>
          </p:cNvSpPr>
          <p:nvPr>
            <p:ph type="body" sz="quarter" idx="13"/>
          </p:nvPr>
        </p:nvSpPr>
        <p:spPr>
          <a:xfrm>
            <a:off x="292608" y="779416"/>
            <a:ext cx="5616304" cy="300087"/>
          </a:xfr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Formatvorlagen des Textmasters bearbeiten</a:t>
            </a:r>
          </a:p>
        </p:txBody>
      </p:sp>
    </p:spTree>
    <p:extLst>
      <p:ext uri="{BB962C8B-B14F-4D97-AF65-F5344CB8AC3E}">
        <p14:creationId xmlns:p14="http://schemas.microsoft.com/office/powerpoint/2010/main" val="277886134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8100112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08182988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a:t>© Amadeus IT Group and its affiliates and subsidiaries</a:t>
            </a:r>
          </a:p>
        </p:txBody>
      </p:sp>
      <p:sp>
        <p:nvSpPr>
          <p:cNvPr id="15" name="Title 1"/>
          <p:cNvSpPr>
            <a:spLocks noGrp="1"/>
          </p:cNvSpPr>
          <p:nvPr>
            <p:ph type="title"/>
          </p:nvPr>
        </p:nvSpPr>
        <p:spPr>
          <a:xfrm>
            <a:off x="268223" y="296865"/>
            <a:ext cx="10518596" cy="482549"/>
          </a:xfrm>
        </p:spPr>
        <p:txBody>
          <a:bodyPr anchor="t">
            <a:noAutofit/>
          </a:bodyPr>
          <a:lstStyle>
            <a:lvl1pPr>
              <a:defRPr sz="3200">
                <a:solidFill>
                  <a:schemeClr val="tx2"/>
                </a:solidFill>
                <a:latin typeface="+mj-lt"/>
              </a:defRPr>
            </a:lvl1pPr>
          </a:lstStyle>
          <a:p>
            <a:r>
              <a:rPr lang="fr-CA" noProof="0"/>
              <a:t>Click to edit Master title style</a:t>
            </a:r>
            <a:endParaRPr lang="en-GB" noProof="0"/>
          </a:p>
        </p:txBody>
      </p:sp>
      <p:sp>
        <p:nvSpPr>
          <p:cNvPr id="17" name="Text Placeholder 19"/>
          <p:cNvSpPr>
            <a:spLocks noGrp="1"/>
          </p:cNvSpPr>
          <p:nvPr>
            <p:ph type="body" sz="quarter" idx="13"/>
          </p:nvPr>
        </p:nvSpPr>
        <p:spPr>
          <a:xfrm>
            <a:off x="268223" y="779414"/>
            <a:ext cx="10495600" cy="376146"/>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fr-CA" noProof="0"/>
              <a:t>Click to edit Master text styles</a:t>
            </a:r>
          </a:p>
        </p:txBody>
      </p:sp>
    </p:spTree>
    <p:extLst>
      <p:ext uri="{BB962C8B-B14F-4D97-AF65-F5344CB8AC3E}">
        <p14:creationId xmlns:p14="http://schemas.microsoft.com/office/powerpoint/2010/main" val="1960262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6" name="Freeform 31"/>
          <p:cNvSpPr>
            <a:spLocks/>
          </p:cNvSpPr>
          <p:nvPr userDrawn="1"/>
        </p:nvSpPr>
        <p:spPr bwMode="auto">
          <a:xfrm>
            <a:off x="50800" y="398463"/>
            <a:ext cx="16149638" cy="8343900"/>
          </a:xfrm>
          <a:custGeom>
            <a:avLst/>
            <a:gdLst>
              <a:gd name="T0" fmla="*/ 0 w 7630"/>
              <a:gd name="T1" fmla="*/ 2673350 h 3942"/>
              <a:gd name="T2" fmla="*/ 0 w 7630"/>
              <a:gd name="T3" fmla="*/ 8343900 h 3942"/>
              <a:gd name="T4" fmla="*/ 16150167 w 7630"/>
              <a:gd name="T5" fmla="*/ 8343900 h 3942"/>
              <a:gd name="T6" fmla="*/ 16150167 w 7630"/>
              <a:gd name="T7" fmla="*/ 0 h 39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 name="Título 1"/>
          <p:cNvSpPr>
            <a:spLocks noGrp="1"/>
          </p:cNvSpPr>
          <p:nvPr>
            <p:ph type="title"/>
          </p:nvPr>
        </p:nvSpPr>
        <p:spPr/>
        <p:txBody>
          <a:bodyPr/>
          <a:lstStyle/>
          <a:p>
            <a:r>
              <a:rPr lang="es-ES"/>
              <a:t>Clic para editar título</a:t>
            </a:r>
            <a:endParaRPr lang="es-ES_tradnl"/>
          </a:p>
        </p:txBody>
      </p:sp>
      <p:sp>
        <p:nvSpPr>
          <p:cNvPr id="10" name="Marcador de posición de imagen 34"/>
          <p:cNvSpPr>
            <a:spLocks noGrp="1"/>
          </p:cNvSpPr>
          <p:nvPr>
            <p:ph type="pic" sz="quarter" idx="16"/>
          </p:nvPr>
        </p:nvSpPr>
        <p:spPr>
          <a:xfrm>
            <a:off x="-11637" y="1283369"/>
            <a:ext cx="8332144" cy="7963280"/>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anchor="ctr">
            <a:noAutofit/>
          </a:bodyPr>
          <a:lstStyle>
            <a:lvl1pPr marL="0" indent="0" algn="ctr">
              <a:buNone/>
              <a:defRPr baseline="0"/>
            </a:lvl1pPr>
          </a:lstStyle>
          <a:p>
            <a:pPr lvl="0"/>
            <a:r>
              <a:rPr lang="es-ES" noProof="0"/>
              <a:t>Arrastre la imagen al marcador de posición o haga clic en el icono para agregar</a:t>
            </a:r>
            <a:endParaRPr lang="en-GB" noProof="0"/>
          </a:p>
        </p:txBody>
      </p:sp>
      <p:sp>
        <p:nvSpPr>
          <p:cNvPr id="29" name="Marcador de pie de página 2"/>
          <p:cNvSpPr>
            <a:spLocks noGrp="1"/>
          </p:cNvSpPr>
          <p:nvPr>
            <p:ph type="ftr" sz="quarter" idx="17"/>
          </p:nvPr>
        </p:nvSpPr>
        <p:spPr/>
        <p:txBody>
          <a:bodyPr/>
          <a:lstStyle>
            <a:lvl1pPr>
              <a:defRPr/>
            </a:lvl1pPr>
          </a:lstStyle>
          <a:p>
            <a:r>
              <a:rPr lang="en-US" altLang="es-ES_tradnl"/>
              <a:t>© Amadeus IT Group and its affiliates and subsidiaries</a:t>
            </a:r>
            <a:endParaRPr lang="en-GB" altLang="es-ES_tradnl"/>
          </a:p>
        </p:txBody>
      </p:sp>
      <p:sp>
        <p:nvSpPr>
          <p:cNvPr id="30" name="Marcador de número de diapositiva 3"/>
          <p:cNvSpPr>
            <a:spLocks noGrp="1"/>
          </p:cNvSpPr>
          <p:nvPr>
            <p:ph type="sldNum" sz="quarter" idx="18"/>
          </p:nvPr>
        </p:nvSpPr>
        <p:spPr/>
        <p:txBody>
          <a:bodyPr/>
          <a:lstStyle>
            <a:lvl1pPr>
              <a:defRPr/>
            </a:lvl1pPr>
          </a:lstStyle>
          <a:p>
            <a:fld id="{84F5D1D5-3100-7149-88C9-E9D7C0B56157}" type="slidenum">
              <a:rPr lang="es-ES" altLang="es-ES_tradnl"/>
              <a:pPr/>
              <a:t>‹#›</a:t>
            </a:fld>
            <a:endParaRPr lang="es-ES" altLang="es-ES_tradnl"/>
          </a:p>
        </p:txBody>
      </p:sp>
    </p:spTree>
    <p:extLst>
      <p:ext uri="{BB962C8B-B14F-4D97-AF65-F5344CB8AC3E}">
        <p14:creationId xmlns:p14="http://schemas.microsoft.com/office/powerpoint/2010/main" val="3539052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Instructions">
    <p:spTree>
      <p:nvGrpSpPr>
        <p:cNvPr id="1" name=""/>
        <p:cNvGrpSpPr/>
        <p:nvPr/>
      </p:nvGrpSpPr>
      <p:grpSpPr>
        <a:xfrm>
          <a:off x="0" y="0"/>
          <a:ext cx="0" cy="0"/>
          <a:chOff x="0" y="0"/>
          <a:chExt cx="0" cy="0"/>
        </a:xfrm>
      </p:grpSpPr>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5" name="Title 1">
            <a:extLst>
              <a:ext uri="{FF2B5EF4-FFF2-40B4-BE49-F238E27FC236}">
                <a16:creationId xmlns:a16="http://schemas.microsoft.com/office/drawing/2014/main" id="{7FF5DC9F-E0B0-47D2-8607-ED9FAEFDF4B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6" name="Text Placeholder 19">
            <a:extLst>
              <a:ext uri="{FF2B5EF4-FFF2-40B4-BE49-F238E27FC236}">
                <a16:creationId xmlns:a16="http://schemas.microsoft.com/office/drawing/2014/main" id="{70825373-49CC-4B7D-988C-6421297B3711}"/>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61554004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1_WHITE SLIDE">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0466911B-A670-C94D-9B59-63866180F26B}"/>
              </a:ext>
            </a:extLst>
          </p:cNvPr>
          <p:cNvSpPr>
            <a:spLocks noGrp="1"/>
          </p:cNvSpPr>
          <p:nvPr>
            <p:ph type="ftr" sz="quarter" idx="14"/>
          </p:nvPr>
        </p:nvSpPr>
        <p:spPr>
          <a:xfrm>
            <a:off x="905905" y="6389994"/>
            <a:ext cx="3046760" cy="246221"/>
          </a:xfrm>
          <a:prstGeom prst="rect">
            <a:avLst/>
          </a:prstGeom>
          <a:noFill/>
        </p:spPr>
        <p:txBody>
          <a:bodyPr wrap="square" rtlCol="0">
            <a:spAutoFit/>
          </a:bodyPr>
          <a:lstStyle>
            <a:lvl1pPr algn="l">
              <a:defRPr lang="id-ID" sz="1000" b="0" i="0" dirty="0">
                <a:solidFill>
                  <a:schemeClr val="bg2">
                    <a:lumMod val="75000"/>
                  </a:schemeClr>
                </a:solidFill>
                <a:latin typeface="Calibri"/>
                <a:cs typeface="Calibri"/>
              </a:defRPr>
            </a:lvl1pPr>
          </a:lstStyle>
          <a:p>
            <a:endParaRPr lang="en-GB"/>
          </a:p>
        </p:txBody>
      </p:sp>
      <p:sp>
        <p:nvSpPr>
          <p:cNvPr id="13" name="Slide Number Placeholder 5">
            <a:extLst>
              <a:ext uri="{FF2B5EF4-FFF2-40B4-BE49-F238E27FC236}">
                <a16:creationId xmlns:a16="http://schemas.microsoft.com/office/drawing/2014/main" id="{6F708319-8F71-4344-9B58-FCFD6C2CC112}"/>
              </a:ext>
            </a:extLst>
          </p:cNvPr>
          <p:cNvSpPr>
            <a:spLocks noGrp="1"/>
          </p:cNvSpPr>
          <p:nvPr>
            <p:ph type="sldNum" sz="quarter" idx="13"/>
          </p:nvPr>
        </p:nvSpPr>
        <p:spPr>
          <a:xfrm>
            <a:off x="156606" y="6397802"/>
            <a:ext cx="555625" cy="246221"/>
          </a:xfrm>
          <a:prstGeom prst="rect">
            <a:avLst/>
          </a:prstGeom>
          <a:noFill/>
        </p:spPr>
        <p:txBody>
          <a:bodyPr wrap="square" rtlCol="0">
            <a:spAutoFit/>
          </a:bodyPr>
          <a:lstStyle>
            <a:lvl1pPr algn="ctr">
              <a:defRPr lang="id-ID" sz="1000" b="1" i="0" smtClean="0">
                <a:solidFill>
                  <a:schemeClr val="bg2">
                    <a:lumMod val="75000"/>
                  </a:schemeClr>
                </a:solidFill>
                <a:latin typeface="Calibri Regular"/>
              </a:defRPr>
            </a:lvl1pPr>
          </a:lstStyle>
          <a:p>
            <a:fld id="{B22A528A-3A3C-448E-A44E-D701ABB2ACAE}" type="slidenum">
              <a:rPr lang="en-GB" smtClean="0"/>
              <a:pPr/>
              <a:t>‹#›</a:t>
            </a:fld>
            <a:endParaRPr lang="en-GB"/>
          </a:p>
        </p:txBody>
      </p:sp>
      <p:sp>
        <p:nvSpPr>
          <p:cNvPr id="15" name="Text Placeholder 14">
            <a:extLst>
              <a:ext uri="{FF2B5EF4-FFF2-40B4-BE49-F238E27FC236}">
                <a16:creationId xmlns:a16="http://schemas.microsoft.com/office/drawing/2014/main" id="{2791A5B5-FF35-FE46-9DEB-01145E56219C}"/>
              </a:ext>
            </a:extLst>
          </p:cNvPr>
          <p:cNvSpPr>
            <a:spLocks noGrp="1"/>
          </p:cNvSpPr>
          <p:nvPr userDrawn="1">
            <p:ph type="body" sz="quarter" idx="23" hasCustomPrompt="1"/>
          </p:nvPr>
        </p:nvSpPr>
        <p:spPr>
          <a:xfrm>
            <a:off x="905904" y="221929"/>
            <a:ext cx="10696815" cy="831850"/>
          </a:xfrm>
        </p:spPr>
        <p:txBody>
          <a:bodyPr>
            <a:normAutofit/>
          </a:bodyPr>
          <a:lstStyle>
            <a:lvl1pPr marL="0" indent="0">
              <a:buFontTx/>
              <a:buNone/>
              <a:defRPr sz="3200" b="1">
                <a:solidFill>
                  <a:schemeClr val="bg2">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HERE</a:t>
            </a:r>
            <a:endParaRPr lang="en-AE"/>
          </a:p>
        </p:txBody>
      </p:sp>
    </p:spTree>
    <p:extLst>
      <p:ext uri="{BB962C8B-B14F-4D97-AF65-F5344CB8AC3E}">
        <p14:creationId xmlns:p14="http://schemas.microsoft.com/office/powerpoint/2010/main" val="362452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37826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p:spPr>
        <p:txBody>
          <a:bodyPr anchor="b">
            <a:noAutofit/>
          </a:bodyPr>
          <a:lstStyle>
            <a:lvl1pPr>
              <a:lnSpc>
                <a:spcPct val="100000"/>
              </a:lnSpc>
              <a:defRPr sz="4800" b="1" baseline="0">
                <a:solidFill>
                  <a:schemeClr val="tx2"/>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2031600"/>
            <a:ext cx="6773659" cy="864000"/>
          </a:xfrm>
          <a:prstGeom prst="rect">
            <a:avLst/>
          </a:prstGeom>
        </p:spPr>
        <p:txBody>
          <a:bodyPr>
            <a:noAutofit/>
          </a:bodyPr>
          <a:lstStyle>
            <a:lvl1pPr marL="0" indent="0">
              <a:lnSpc>
                <a:spcPct val="100000"/>
              </a:lnSpc>
              <a:buNone/>
              <a:defRPr sz="16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773436"/>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193227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p:spPr>
        <p:txBody>
          <a:bodyPr tIns="0" anchor="b">
            <a:noAutofit/>
          </a:bodyPr>
          <a:lstStyle>
            <a:lvl1pPr>
              <a:lnSpc>
                <a:spcPct val="100000"/>
              </a:lnSpc>
              <a:defRPr sz="4000" b="1">
                <a:solidFill>
                  <a:schemeClr val="tx2"/>
                </a:solidFill>
                <a:latin typeface="+mj-lt"/>
              </a:defRPr>
            </a:lvl1pPr>
          </a:lstStyle>
          <a:p>
            <a:r>
              <a:rPr lang="en-GB" noProof="0" dirty="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0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310368802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707886"/>
          </a:xfrm>
          <a:prstGeom prst="rect">
            <a:avLst/>
          </a:prstGeom>
          <a:noFill/>
        </p:spPr>
        <p:txBody>
          <a:bodyPr wrap="square" rtlCol="0">
            <a:spAutoFit/>
          </a:bodyPr>
          <a:lstStyle/>
          <a:p>
            <a:r>
              <a:rPr lang="en-US" sz="4000" b="1" dirty="0">
                <a:latin typeface="Amadeus" panose="02000506020000020004" pitchFamily="50" charset="0"/>
              </a:rPr>
              <a:t>Agenda</a:t>
            </a:r>
            <a:endParaRPr lang="es-ES" sz="3200" b="1" dirty="0">
              <a:latin typeface="Amadeus" panose="02000506020000020004" pitchFamily="50" charset="0"/>
            </a:endParaRPr>
          </a:p>
        </p:txBody>
      </p:sp>
    </p:spTree>
    <p:extLst>
      <p:ext uri="{BB962C8B-B14F-4D97-AF65-F5344CB8AC3E}">
        <p14:creationId xmlns:p14="http://schemas.microsoft.com/office/powerpoint/2010/main" val="62982837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3" y="2227939"/>
            <a:ext cx="6031363" cy="1950522"/>
          </a:xfrm>
        </p:spPr>
        <p:txBody>
          <a:bodyPr anchor="t">
            <a:noAutofit/>
          </a:bodyPr>
          <a:lstStyle>
            <a:lvl1pPr>
              <a:lnSpc>
                <a:spcPct val="100000"/>
              </a:lnSpc>
              <a:defRPr sz="4800" b="1" baseline="0">
                <a:solidFill>
                  <a:schemeClr val="tx2"/>
                </a:solidFill>
                <a:latin typeface="+mj-lt"/>
              </a:defRPr>
            </a:lvl1pPr>
          </a:lstStyle>
          <a:p>
            <a:r>
              <a:rPr lang="en-GB" noProof="0" dirty="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dirty="0"/>
              <a:t>1.</a:t>
            </a:r>
          </a:p>
        </p:txBody>
      </p:sp>
    </p:spTree>
    <p:extLst>
      <p:ext uri="{BB962C8B-B14F-4D97-AF65-F5344CB8AC3E}">
        <p14:creationId xmlns:p14="http://schemas.microsoft.com/office/powerpoint/2010/main" val="24876420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0" name="Text Placeholder 19"/>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5712243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78054358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8BA132F-2579-4E9F-8FF7-CD2150EEA9B6}"/>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81435008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5" name="Title 1">
            <a:extLst>
              <a:ext uri="{FF2B5EF4-FFF2-40B4-BE49-F238E27FC236}">
                <a16:creationId xmlns:a16="http://schemas.microsoft.com/office/drawing/2014/main" id="{7FF5DC9F-E0B0-47D2-8607-ED9FAEFDF4B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6" name="Text Placeholder 19">
            <a:extLst>
              <a:ext uri="{FF2B5EF4-FFF2-40B4-BE49-F238E27FC236}">
                <a16:creationId xmlns:a16="http://schemas.microsoft.com/office/drawing/2014/main" id="{70825373-49CC-4B7D-988C-6421297B3711}"/>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416845032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6" name="Title 1">
            <a:extLst>
              <a:ext uri="{FF2B5EF4-FFF2-40B4-BE49-F238E27FC236}">
                <a16:creationId xmlns:a16="http://schemas.microsoft.com/office/drawing/2014/main" id="{55D20256-85FC-42C9-9C19-B175EB3154E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7" name="Text Placeholder 19">
            <a:extLst>
              <a:ext uri="{FF2B5EF4-FFF2-40B4-BE49-F238E27FC236}">
                <a16:creationId xmlns:a16="http://schemas.microsoft.com/office/drawing/2014/main" id="{44C8BBB3-3B0A-4EAD-830F-427ADE470E49}"/>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90949577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8"/>
            <a:ext cx="4560866" cy="1415441"/>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6" name="Title 1">
            <a:extLst>
              <a:ext uri="{FF2B5EF4-FFF2-40B4-BE49-F238E27FC236}">
                <a16:creationId xmlns:a16="http://schemas.microsoft.com/office/drawing/2014/main" id="{94BF216E-3978-4A9E-A076-690B8009C6B2}"/>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8" name="Text Placeholder 19">
            <a:extLst>
              <a:ext uri="{FF2B5EF4-FFF2-40B4-BE49-F238E27FC236}">
                <a16:creationId xmlns:a16="http://schemas.microsoft.com/office/drawing/2014/main" id="{78E7C673-4155-4C39-AB39-D0DA12F13E43}"/>
              </a:ext>
            </a:extLst>
          </p:cNvPr>
          <p:cNvSpPr>
            <a:spLocks noGrp="1"/>
          </p:cNvSpPr>
          <p:nvPr>
            <p:ph type="body" sz="quarter" idx="20"/>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9893329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6" name="Title 1"/>
          <p:cNvSpPr>
            <a:spLocks noGrp="1"/>
          </p:cNvSpPr>
          <p:nvPr>
            <p:ph type="title"/>
          </p:nvPr>
        </p:nvSpPr>
        <p:spPr>
          <a:xfrm>
            <a:off x="622570" y="188913"/>
            <a:ext cx="5274264" cy="1535715"/>
          </a:xfrm>
        </p:spPr>
        <p:txBody>
          <a:bodyPr anchor="t">
            <a:noAutofit/>
          </a:bodyPr>
          <a:lstStyle>
            <a:lvl1pPr>
              <a:lnSpc>
                <a:spcPct val="100000"/>
              </a:lnSpc>
              <a:defRPr lang="en-US" sz="4000" b="1" kern="1200" noProof="0" dirty="0" smtClean="0">
                <a:solidFill>
                  <a:schemeClr val="tx2"/>
                </a:solidFill>
                <a:latin typeface="+mj-lt"/>
                <a:ea typeface="+mj-ea"/>
                <a:cs typeface="+mj-cs"/>
              </a:defRPr>
            </a:lvl1pPr>
          </a:lstStyle>
          <a:p>
            <a:r>
              <a:rPr lang="en-US" noProof="0"/>
              <a:t>Click to edit Master title style</a:t>
            </a:r>
            <a:endParaRPr lang="en-GB" noProof="0" dirty="0"/>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244389304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ct val="100000"/>
              </a:lnSpc>
              <a:defRPr lang="en-GB" sz="4000" b="1" kern="1200" noProof="0" dirty="0">
                <a:solidFill>
                  <a:schemeClr val="tx2"/>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10684166" cy="498992"/>
          </a:xfrm>
          <a:prstGeom prst="rect">
            <a:avLst/>
          </a:prstGeom>
        </p:spPr>
        <p:txBody>
          <a:bodyPr>
            <a:noAutofit/>
          </a:bodyPr>
          <a:lstStyle>
            <a:lvl1pPr marL="0" indent="0">
              <a:lnSpc>
                <a:spcPct val="100000"/>
              </a:lnSpc>
              <a:buNone/>
              <a:defRPr sz="160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74208057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16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5" name="Title 1">
            <a:extLst>
              <a:ext uri="{FF2B5EF4-FFF2-40B4-BE49-F238E27FC236}">
                <a16:creationId xmlns:a16="http://schemas.microsoft.com/office/drawing/2014/main" id="{F6063FC4-C787-47D0-A2D8-E8FF6FB17AA9}"/>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6" name="Text Placeholder 19">
            <a:extLst>
              <a:ext uri="{FF2B5EF4-FFF2-40B4-BE49-F238E27FC236}">
                <a16:creationId xmlns:a16="http://schemas.microsoft.com/office/drawing/2014/main" id="{CECC1B2E-4EA6-4017-9528-9714ABB64CB0}"/>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37940541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8" name="Title 1">
            <a:extLst>
              <a:ext uri="{FF2B5EF4-FFF2-40B4-BE49-F238E27FC236}">
                <a16:creationId xmlns:a16="http://schemas.microsoft.com/office/drawing/2014/main" id="{7C831E38-111F-4B06-9FD4-E286E1D5F8A6}"/>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9" name="Text Placeholder 19">
            <a:extLst>
              <a:ext uri="{FF2B5EF4-FFF2-40B4-BE49-F238E27FC236}">
                <a16:creationId xmlns:a16="http://schemas.microsoft.com/office/drawing/2014/main" id="{7A9848F6-D557-4376-AC53-992072B5D56B}"/>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33431587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2" name="Title 1">
            <a:extLst>
              <a:ext uri="{FF2B5EF4-FFF2-40B4-BE49-F238E27FC236}">
                <a16:creationId xmlns:a16="http://schemas.microsoft.com/office/drawing/2014/main" id="{8F701C59-B9AE-4C45-9E25-F773F06BBF9A}"/>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3" name="Text Placeholder 19">
            <a:extLst>
              <a:ext uri="{FF2B5EF4-FFF2-40B4-BE49-F238E27FC236}">
                <a16:creationId xmlns:a16="http://schemas.microsoft.com/office/drawing/2014/main" id="{04C95F9B-EAE2-4CA0-BF01-907B87A6BB12}"/>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29051118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lnSpc>
                <a:spcPct val="100000"/>
              </a:lnSpc>
              <a:buNone/>
              <a:defRPr sz="4000" b="1">
                <a:solidFill>
                  <a:schemeClr val="accent2"/>
                </a:solidFill>
              </a:defRPr>
            </a:lvl1pPr>
          </a:lstStyle>
          <a:p>
            <a:pPr lvl="0"/>
            <a:r>
              <a:rPr lang="en-GB" noProof="0" dirty="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1" name="Title 1">
            <a:extLst>
              <a:ext uri="{FF2B5EF4-FFF2-40B4-BE49-F238E27FC236}">
                <a16:creationId xmlns:a16="http://schemas.microsoft.com/office/drawing/2014/main" id="{F8A6F8BF-893D-4F30-8304-8BB1C868902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2" name="Text Placeholder 19">
            <a:extLst>
              <a:ext uri="{FF2B5EF4-FFF2-40B4-BE49-F238E27FC236}">
                <a16:creationId xmlns:a16="http://schemas.microsoft.com/office/drawing/2014/main" id="{C17807FE-22AD-4946-8D9F-6678E1F6854F}"/>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122071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9" name="Title Placeholder 1">
            <a:extLst>
              <a:ext uri="{FF2B5EF4-FFF2-40B4-BE49-F238E27FC236}">
                <a16:creationId xmlns:a16="http://schemas.microsoft.com/office/drawing/2014/main" id="{AF6C4D8C-B518-490C-AD2B-FAB309AF376A}"/>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tx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74277782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4</a:t>
            </a:r>
          </a:p>
        </p:txBody>
      </p:sp>
      <p:sp>
        <p:nvSpPr>
          <p:cNvPr id="16" name="Title 1">
            <a:extLst>
              <a:ext uri="{FF2B5EF4-FFF2-40B4-BE49-F238E27FC236}">
                <a16:creationId xmlns:a16="http://schemas.microsoft.com/office/drawing/2014/main" id="{63596344-9948-453A-A86C-4D94FF3C1375}"/>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7" name="Text Placeholder 19">
            <a:extLst>
              <a:ext uri="{FF2B5EF4-FFF2-40B4-BE49-F238E27FC236}">
                <a16:creationId xmlns:a16="http://schemas.microsoft.com/office/drawing/2014/main" id="{00642CB9-D2AD-4BA1-929F-D02A598F8CD3}"/>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39448945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4</a:t>
            </a:r>
          </a:p>
        </p:txBody>
      </p:sp>
      <p:sp>
        <p:nvSpPr>
          <p:cNvPr id="16" name="Title 1">
            <a:extLst>
              <a:ext uri="{FF2B5EF4-FFF2-40B4-BE49-F238E27FC236}">
                <a16:creationId xmlns:a16="http://schemas.microsoft.com/office/drawing/2014/main" id="{91680D8D-7C48-4B63-868A-1290C778FE87}"/>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7" name="Text Placeholder 19">
            <a:extLst>
              <a:ext uri="{FF2B5EF4-FFF2-40B4-BE49-F238E27FC236}">
                <a16:creationId xmlns:a16="http://schemas.microsoft.com/office/drawing/2014/main" id="{3A691C21-41D9-4635-B3AD-833F62BD0220}"/>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84189622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10" name="Title 1">
            <a:extLst>
              <a:ext uri="{FF2B5EF4-FFF2-40B4-BE49-F238E27FC236}">
                <a16:creationId xmlns:a16="http://schemas.microsoft.com/office/drawing/2014/main" id="{A7EA5B09-90D3-4956-BC12-B29590E10DF7}"/>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1" name="Text Placeholder 19">
            <a:extLst>
              <a:ext uri="{FF2B5EF4-FFF2-40B4-BE49-F238E27FC236}">
                <a16:creationId xmlns:a16="http://schemas.microsoft.com/office/drawing/2014/main" id="{FD462B29-2EB4-4053-9785-28A1443DBEB1}"/>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92571706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lnSpc>
                <a:spcPct val="100000"/>
              </a:lnSpc>
              <a:buNone/>
              <a:defRPr sz="2000" b="1" baseline="0">
                <a:solidFill>
                  <a:schemeClr val="accent2"/>
                </a:solidFill>
              </a:defRPr>
            </a:lvl1pPr>
          </a:lstStyle>
          <a:p>
            <a:pPr lvl="0"/>
            <a:r>
              <a:rPr lang="en-GB" noProof="0" dirty="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lnSpc>
                <a:spcPct val="100000"/>
              </a:lnSpc>
              <a:buNone/>
              <a:defRPr sz="2000" b="1" baseline="0">
                <a:solidFill>
                  <a:schemeClr val="accent2"/>
                </a:solidFill>
              </a:defRPr>
            </a:lvl1pPr>
          </a:lstStyle>
          <a:p>
            <a:pPr lvl="0"/>
            <a:r>
              <a:rPr lang="en-GB" noProof="0" dirty="0"/>
              <a:t>Title here</a:t>
            </a:r>
          </a:p>
        </p:txBody>
      </p:sp>
      <p:sp>
        <p:nvSpPr>
          <p:cNvPr id="21" name="Marcador de texto 33"/>
          <p:cNvSpPr>
            <a:spLocks noGrp="1"/>
          </p:cNvSpPr>
          <p:nvPr>
            <p:ph type="body" sz="quarter" idx="17" hasCustomPrompt="1"/>
          </p:nvPr>
        </p:nvSpPr>
        <p:spPr>
          <a:xfrm>
            <a:off x="7010400" y="4983391"/>
            <a:ext cx="4491615" cy="1200045"/>
          </a:xfrm>
          <a:prstGeom prst="rect">
            <a:avLst/>
          </a:prstGeom>
        </p:spPr>
        <p:txBody>
          <a:bodyPr>
            <a:normAutofit/>
          </a:bodyPr>
          <a:lstStyle>
            <a:lvl1pPr marL="0" indent="0" algn="r">
              <a:lnSpc>
                <a:spcPct val="100000"/>
              </a:lnSpc>
              <a:buNone/>
              <a:defRPr sz="4000" baseline="0">
                <a:solidFill>
                  <a:schemeClr val="accent2"/>
                </a:solidFill>
              </a:defRPr>
            </a:lvl1pPr>
          </a:lstStyle>
          <a:p>
            <a:pPr lvl="0"/>
            <a:r>
              <a:rPr lang="en-GB" noProof="0" dirty="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10" name="Title 1">
            <a:extLst>
              <a:ext uri="{FF2B5EF4-FFF2-40B4-BE49-F238E27FC236}">
                <a16:creationId xmlns:a16="http://schemas.microsoft.com/office/drawing/2014/main" id="{DDD7E92B-EFE0-4EC4-93BE-DA99D23124DA}"/>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1" name="Text Placeholder 19">
            <a:extLst>
              <a:ext uri="{FF2B5EF4-FFF2-40B4-BE49-F238E27FC236}">
                <a16:creationId xmlns:a16="http://schemas.microsoft.com/office/drawing/2014/main" id="{80B3D884-8356-4939-A594-4E56ADCE9906}"/>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06280388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4" name="Title 1">
            <a:extLst>
              <a:ext uri="{FF2B5EF4-FFF2-40B4-BE49-F238E27FC236}">
                <a16:creationId xmlns:a16="http://schemas.microsoft.com/office/drawing/2014/main" id="{29A0B819-3EF6-481C-9375-17F37612FD73}"/>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5" name="Text Placeholder 19">
            <a:extLst>
              <a:ext uri="{FF2B5EF4-FFF2-40B4-BE49-F238E27FC236}">
                <a16:creationId xmlns:a16="http://schemas.microsoft.com/office/drawing/2014/main" id="{EF65FC2F-39CA-4C76-96CF-2B19691BA4B2}"/>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9356475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ct val="100000"/>
              </a:lnSpc>
              <a:defRPr sz="4800" b="1" baseline="0">
                <a:solidFill>
                  <a:schemeClr val="tx1"/>
                </a:solidFill>
                <a:latin typeface="Amadeus" panose="02000506020000020004" pitchFamily="50" charset="0"/>
                <a:cs typeface="72 Black" panose="020B0A04030603020204" pitchFamily="34" charset="0"/>
              </a:defRPr>
            </a:lvl1pPr>
          </a:lstStyle>
          <a:p>
            <a:r>
              <a:rPr lang="en-GB" noProof="0" dirty="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82321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16B8D0CF-1A23-4A45-85EE-EF9993D137EF}"/>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410677070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6807258" y="2016688"/>
            <a:ext cx="4602163" cy="1325563"/>
          </a:xfrm>
        </p:spPr>
        <p:txBody>
          <a:bodyPr anchor="b">
            <a:noAutofit/>
          </a:bodyPr>
          <a:lstStyle>
            <a:lvl1pPr algn="r">
              <a:lnSpc>
                <a:spcPct val="100000"/>
              </a:lnSpc>
              <a:defRPr sz="4800" b="1" baseline="0">
                <a:solidFill>
                  <a:schemeClr val="bg1"/>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773436"/>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16B8D0CF-1A23-4A45-85EE-EF9993D137EF}"/>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286213148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2235201" y="1801092"/>
            <a:ext cx="7467796" cy="1913318"/>
          </a:xfrm>
        </p:spPr>
        <p:txBody>
          <a:bodyPr anchor="b">
            <a:normAutofit/>
          </a:bodyPr>
          <a:lstStyle>
            <a:lvl1pPr algn="ctr">
              <a:lnSpc>
                <a:spcPct val="100000"/>
              </a:lnSpc>
              <a:defRPr sz="4800" b="1"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ct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4" name="Text Placeholder 97"/>
          <p:cNvSpPr>
            <a:spLocks noGrp="1"/>
          </p:cNvSpPr>
          <p:nvPr>
            <p:ph type="body" sz="quarter" idx="15" hasCustomPrompt="1"/>
          </p:nvPr>
        </p:nvSpPr>
        <p:spPr>
          <a:xfrm>
            <a:off x="4659028" y="4605968"/>
            <a:ext cx="2619201" cy="1058862"/>
          </a:xfrm>
          <a:prstGeom prst="rect">
            <a:avLst/>
          </a:prstGeom>
        </p:spPr>
        <p:txBody>
          <a:bodyPr anchor="b">
            <a:normAutofit/>
          </a:bodyPr>
          <a:lstStyle>
            <a:lvl1pPr marL="0" indent="0" algn="ct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1" name="Freeform 5">
            <a:extLst>
              <a:ext uri="{FF2B5EF4-FFF2-40B4-BE49-F238E27FC236}">
                <a16:creationId xmlns:a16="http://schemas.microsoft.com/office/drawing/2014/main" id="{5609C935-2A2D-4209-BDBE-8DE116D72742}"/>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29256261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Agenda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946F17CF-5057-4C3B-A7DB-F99275971837}"/>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1">
            <a:extLst>
              <a:ext uri="{FF2B5EF4-FFF2-40B4-BE49-F238E27FC236}">
                <a16:creationId xmlns:a16="http://schemas.microsoft.com/office/drawing/2014/main" id="{1B291B39-93DD-4AA3-92EF-EC06680D6D2E}"/>
              </a:ext>
            </a:extLst>
          </p:cNvPr>
          <p:cNvSpPr>
            <a:spLocks noGrp="1"/>
          </p:cNvSpPr>
          <p:nvPr>
            <p:ph type="title" hasCustomPrompt="1"/>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dirty="0"/>
              <a:t>Agenda</a:t>
            </a:r>
            <a:endParaRPr lang="en-GB" noProof="0" dirty="0"/>
          </a:p>
        </p:txBody>
      </p:sp>
      <p:sp>
        <p:nvSpPr>
          <p:cNvPr id="6" name="Marcador de texto 4">
            <a:extLst>
              <a:ext uri="{FF2B5EF4-FFF2-40B4-BE49-F238E27FC236}">
                <a16:creationId xmlns:a16="http://schemas.microsoft.com/office/drawing/2014/main" id="{B82ED736-665C-480B-8B4D-2B51B0C4DB4A}"/>
              </a:ext>
            </a:extLst>
          </p:cNvPr>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000" baseline="0">
                <a:solidFill>
                  <a:schemeClr val="bg1"/>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30293179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80068"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240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68834121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ivider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p:spPr>
        <p:txBody>
          <a:bodyPr anchor="t">
            <a:noAutofit/>
          </a:bodyPr>
          <a:lstStyle>
            <a:lvl1pPr>
              <a:lnSpc>
                <a:spcPct val="100000"/>
              </a:lnSpc>
              <a:defRPr sz="4800" b="1" baseline="0">
                <a:solidFill>
                  <a:schemeClr val="bg2"/>
                </a:solidFill>
                <a:latin typeface="+mj-lt"/>
              </a:defRPr>
            </a:lvl1pPr>
          </a:lstStyle>
          <a:p>
            <a:r>
              <a:rPr lang="en-GB" noProof="0" dirty="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dirty="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70A2B1E2-3A84-46CE-A679-E7A834276049}"/>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130817789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54D79634-E01E-4490-BCE6-1A47A62999F5}"/>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11" name="Title 1">
            <a:extLst>
              <a:ext uri="{FF2B5EF4-FFF2-40B4-BE49-F238E27FC236}">
                <a16:creationId xmlns:a16="http://schemas.microsoft.com/office/drawing/2014/main" id="{B570EDEF-827A-40C3-A9DE-9C1E988A49B3}"/>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a:t>Click to edit Master title style</a:t>
            </a:r>
            <a:endParaRPr lang="en-GB" noProof="0" dirty="0"/>
          </a:p>
        </p:txBody>
      </p:sp>
      <p:sp>
        <p:nvSpPr>
          <p:cNvPr id="12" name="Text Placeholder 19">
            <a:extLst>
              <a:ext uri="{FF2B5EF4-FFF2-40B4-BE49-F238E27FC236}">
                <a16:creationId xmlns:a16="http://schemas.microsoft.com/office/drawing/2014/main" id="{06FD2F86-BA43-4455-A370-0340F50D33A1}"/>
              </a:ext>
            </a:extLst>
          </p:cNvPr>
          <p:cNvSpPr>
            <a:spLocks noGrp="1"/>
          </p:cNvSpPr>
          <p:nvPr>
            <p:ph type="body" sz="quarter" idx="14"/>
          </p:nvPr>
        </p:nvSpPr>
        <p:spPr>
          <a:xfrm>
            <a:off x="621824" y="675000"/>
            <a:ext cx="10884747" cy="468000"/>
          </a:xfrm>
          <a:prstGeom prst="rect">
            <a:avLst/>
          </a:prstGeom>
        </p:spPr>
        <p:txBody>
          <a:bodyPr>
            <a:noAutofit/>
          </a:bodyPr>
          <a:lstStyle>
            <a:lvl1pPr marL="0" indent="0">
              <a:lnSpc>
                <a:spcPct val="100000"/>
              </a:lnSpc>
              <a:buNone/>
              <a:defRPr lang="en-US" sz="2000" kern="1200" noProof="0" dirty="0">
                <a:solidFill>
                  <a:schemeClr val="accent3"/>
                </a:solidFill>
                <a:latin typeface="+mj-lt"/>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401680504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946F17CF-5057-4C3B-A7DB-F99275971837}"/>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1">
            <a:extLst>
              <a:ext uri="{FF2B5EF4-FFF2-40B4-BE49-F238E27FC236}">
                <a16:creationId xmlns:a16="http://schemas.microsoft.com/office/drawing/2014/main" id="{1B291B39-93DD-4AA3-92EF-EC06680D6D2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01264637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ct val="100000"/>
              </a:lnSpc>
              <a:defRPr lang="en-GB" sz="4000" b="1" kern="1200" noProof="0" dirty="0">
                <a:solidFill>
                  <a:schemeClr val="bg1"/>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ct val="100000"/>
              </a:lnSpc>
              <a:buNone/>
              <a:defRPr sz="160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82456293-F850-4655-8766-6C4852F81F8E}"/>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372389585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chemeClr val="bg1"/>
              </a:solidFill>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ct val="100000"/>
              </a:lnSpc>
              <a:defRPr sz="4800" b="1" baseline="0">
                <a:solidFill>
                  <a:schemeClr val="bg1"/>
                </a:solidFill>
                <a:latin typeface="Amadeus" panose="02000506020000020004" pitchFamily="50" charset="0"/>
                <a:cs typeface="72 Black" panose="020B0A04030603020204" pitchFamily="34" charset="0"/>
              </a:defRPr>
            </a:lvl1pPr>
          </a:lstStyle>
          <a:p>
            <a:r>
              <a:rPr lang="en-GB" noProof="0" dirty="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20" name="Freeform 5">
            <a:extLst>
              <a:ext uri="{FF2B5EF4-FFF2-40B4-BE49-F238E27FC236}">
                <a16:creationId xmlns:a16="http://schemas.microsoft.com/office/drawing/2014/main" id="{4518ABA9-1871-4B8F-AFC3-4BEDB5BBD453}"/>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281143541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9574"/>
          </a:xfrm>
          <a:prstGeom prst="rect">
            <a:avLst/>
          </a:prstGeom>
          <a:solidFill>
            <a:schemeClr val="accent3"/>
          </a:solidFill>
        </p:spPr>
        <p:txBody>
          <a:bodyPr anchor="ctr">
            <a:normAutofit/>
          </a:bodyPr>
          <a:lstStyle>
            <a:lvl1pPr marL="0" indent="0" algn="l">
              <a:lnSpc>
                <a:spcPct val="100000"/>
              </a:lnSpc>
              <a:buNone/>
              <a:defRPr sz="1800" b="1" baseline="0"/>
            </a:lvl1pPr>
          </a:lstStyle>
          <a:p>
            <a:r>
              <a:rPr lang="en-GB" noProof="0" dirty="0"/>
              <a:t>                                       Insert your photo here &gt;</a:t>
            </a:r>
          </a:p>
        </p:txBody>
      </p:sp>
      <p:sp>
        <p:nvSpPr>
          <p:cNvPr id="9" name="Text Placeholder 97"/>
          <p:cNvSpPr>
            <a:spLocks noGrp="1"/>
          </p:cNvSpPr>
          <p:nvPr>
            <p:ph type="body" sz="quarter" idx="15" hasCustomPrompt="1"/>
          </p:nvPr>
        </p:nvSpPr>
        <p:spPr>
          <a:xfrm>
            <a:off x="7970109" y="5495997"/>
            <a:ext cx="3541587" cy="790503"/>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603641" y="2458245"/>
            <a:ext cx="4902559" cy="1727779"/>
          </a:xfrm>
          <a:prstGeom prst="rect">
            <a:avLst/>
          </a:prstGeom>
        </p:spPr>
        <p:txBody>
          <a:bodyPr anchor="b">
            <a:noAutofit/>
          </a:bodyPr>
          <a:lstStyle>
            <a:lvl1pPr algn="r">
              <a:lnSpc>
                <a:spcPct val="100000"/>
              </a:lnSpc>
              <a:defRPr sz="4800" b="1" baseline="0">
                <a:solidFill>
                  <a:schemeClr val="bg1"/>
                </a:solidFill>
                <a:latin typeface="+mj-lt"/>
              </a:defRPr>
            </a:lvl1pPr>
          </a:lstStyle>
          <a:p>
            <a:r>
              <a:rPr lang="en-GB" noProof="0" dirty="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F935C2CD-BB30-454A-A86F-104D7FE3ADD1}"/>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172964948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9588"/>
          </a:xfrm>
          <a:prstGeom prst="rect">
            <a:avLst/>
          </a:prstGeom>
          <a:solidFill>
            <a:schemeClr val="accent3"/>
          </a:solidFill>
        </p:spPr>
        <p:txBody>
          <a:bodyPr anchor="ctr">
            <a:normAutofit/>
          </a:bodyPr>
          <a:lstStyle>
            <a:lvl1pPr marL="0" indent="0" algn="ctr">
              <a:lnSpc>
                <a:spcPct val="100000"/>
              </a:lnSpc>
              <a:buNone/>
              <a:defRPr sz="1800" b="1" baseline="0"/>
            </a:lvl1pPr>
          </a:lstStyle>
          <a:p>
            <a:pPr lvl="0"/>
            <a:r>
              <a:rPr lang="en-GB" noProof="0" dirty="0"/>
              <a:t>                                                          &lt;  Insert your picture here</a:t>
            </a: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9" name="Text Placeholder 97"/>
          <p:cNvSpPr>
            <a:spLocks noGrp="1"/>
          </p:cNvSpPr>
          <p:nvPr>
            <p:ph type="body" sz="quarter" idx="15" hasCustomPrompt="1"/>
          </p:nvPr>
        </p:nvSpPr>
        <p:spPr>
          <a:xfrm>
            <a:off x="576481" y="5513064"/>
            <a:ext cx="2619201" cy="773436"/>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BAC446A7-3111-407E-AD98-09B44D87EB76}"/>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30066487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lnSpc>
                <a:spcPct val="100000"/>
              </a:lnSpc>
              <a:defRPr/>
            </a:lvl1pPr>
          </a:lstStyle>
          <a:p>
            <a:r>
              <a:rPr lang="en-US"/>
              <a:t>Click icon to add picture</a:t>
            </a:r>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707886"/>
          </a:xfrm>
          <a:prstGeom prst="rect">
            <a:avLst/>
          </a:prstGeom>
          <a:noFill/>
        </p:spPr>
        <p:txBody>
          <a:bodyPr wrap="square" rtlCol="0">
            <a:spAutoFit/>
          </a:bodyPr>
          <a:lstStyle/>
          <a:p>
            <a:pPr algn="r">
              <a:lnSpc>
                <a:spcPct val="100000"/>
              </a:lnSpc>
            </a:pPr>
            <a:r>
              <a:rPr lang="en-US" sz="4000" b="1" dirty="0">
                <a:latin typeface="Amadeus" panose="02000506020000020004" pitchFamily="50" charset="0"/>
              </a:rPr>
              <a:t>Agenda</a:t>
            </a:r>
            <a:endParaRPr lang="es-ES" sz="3600" b="1" dirty="0">
              <a:latin typeface="Amadeus" panose="02000506020000020004" pitchFamily="50"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Tree>
    <p:extLst>
      <p:ext uri="{BB962C8B-B14F-4D97-AF65-F5344CB8AC3E}">
        <p14:creationId xmlns:p14="http://schemas.microsoft.com/office/powerpoint/2010/main" val="182089438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1">
                <a:solidFill>
                  <a:schemeClr val="bg1"/>
                </a:solidFill>
              </a:defRPr>
            </a:lvl1pPr>
          </a:lstStyle>
          <a:p>
            <a:pPr lvl="0"/>
            <a:r>
              <a:rPr lang="en-GB" noProof="0" dirty="0"/>
              <a:t>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038EE6AB-10E6-4B84-9FFE-D7ED552CD20B}"/>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151818276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p>
            <a:r>
              <a:rPr lang="en-US"/>
              <a:t>Click icon to add picture</a:t>
            </a:r>
            <a:endParaRPr lang="en-US" dirty="0"/>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ct val="100000"/>
              </a:lnSpc>
              <a:defRPr sz="4800" b="1" baseline="0">
                <a:solidFill>
                  <a:schemeClr val="bg1"/>
                </a:solidFill>
                <a:latin typeface="+mj-lt"/>
              </a:defRPr>
            </a:lvl1pPr>
          </a:lstStyle>
          <a:p>
            <a:r>
              <a:rPr lang="en-GB" noProof="0" dirty="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1">
                <a:solidFill>
                  <a:schemeClr val="bg1"/>
                </a:solidFill>
              </a:defRPr>
            </a:lvl1pPr>
          </a:lstStyle>
          <a:p>
            <a:pPr lvl="0"/>
            <a:r>
              <a:rPr lang="en-GB" noProof="0" dirty="0"/>
              <a:t>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105D3303-E95A-4D83-BB25-0975FB8DEFBD}"/>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10460476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p:nvPr>
        </p:nvSpPr>
        <p:spPr>
          <a:xfrm>
            <a:off x="287338" y="3053017"/>
            <a:ext cx="11460377" cy="886766"/>
          </a:xfrm>
          <a:prstGeom prst="rect">
            <a:avLst/>
          </a:prstGeom>
        </p:spPr>
        <p:txBody>
          <a:bodyPr anchor="b">
            <a:normAutofit/>
          </a:bodyPr>
          <a:lstStyle>
            <a:lvl1pPr algn="ctr">
              <a:lnSpc>
                <a:spcPts val="5000"/>
              </a:lnSpc>
              <a:defRPr lang="en-GB" sz="6000" b="0" i="0" kern="1200" noProof="0" dirty="0">
                <a:solidFill>
                  <a:schemeClr val="bg1"/>
                </a:solidFill>
                <a:latin typeface="Calibri Light" panose="020F0302020204030204" pitchFamily="34" charset="0"/>
                <a:ea typeface="+mj-ea"/>
                <a:cs typeface="+mj-cs"/>
              </a:defRPr>
            </a:lvl1pPr>
          </a:lstStyle>
          <a:p>
            <a:r>
              <a:rPr lang="en-GB" noProof="0"/>
              <a:t>Click to edit Master title style</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21868370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10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10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lnSpc>
                <a:spcPct val="100000"/>
              </a:lnSpc>
              <a:defRPr lang="en-US" sz="4000" b="1" kern="1200" noProof="0" dirty="0" smtClean="0">
                <a:solidFill>
                  <a:schemeClr val="tx2"/>
                </a:solidFill>
                <a:latin typeface="+mj-lt"/>
                <a:ea typeface="+mj-ea"/>
                <a:cs typeface="+mj-cs"/>
              </a:defRPr>
            </a:lvl1pPr>
          </a:lstStyle>
          <a:p>
            <a:r>
              <a:rPr lang="en-US" noProof="0"/>
              <a:t>Click to edit Master title style</a:t>
            </a:r>
            <a:endParaRPr lang="en-GB" noProof="0" dirty="0"/>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15261311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ct val="100000"/>
              </a:lnSpc>
              <a:defRPr lang="en-GB" sz="4000" b="1" kern="1200" noProof="0" dirty="0">
                <a:solidFill>
                  <a:schemeClr val="bg1"/>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ct val="100000"/>
              </a:lnSpc>
              <a:buNone/>
              <a:defRPr sz="160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200A2DCF-6EAF-413A-896C-87A51705E2F4}"/>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227561978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0" y="0"/>
            <a:ext cx="1219200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p:cNvSpPr>
            <a:spLocks noGrp="1"/>
          </p:cNvSpPr>
          <p:nvPr>
            <p:ph type="title"/>
          </p:nvPr>
        </p:nvSpPr>
        <p:spPr>
          <a:xfrm>
            <a:off x="287338" y="3053017"/>
            <a:ext cx="11460377" cy="886766"/>
          </a:xfrm>
          <a:prstGeom prst="rect">
            <a:avLst/>
          </a:prstGeom>
        </p:spPr>
        <p:txBody>
          <a:bodyPr anchor="ctr">
            <a:normAutofit/>
          </a:bodyPr>
          <a:lstStyle>
            <a:lvl1pPr algn="ctr">
              <a:lnSpc>
                <a:spcPct val="100000"/>
              </a:lnSpc>
              <a:defRPr lang="en-GB" sz="4000" b="1" kern="1200" noProof="0" dirty="0">
                <a:solidFill>
                  <a:schemeClr val="bg1"/>
                </a:solidFill>
                <a:latin typeface="+mj-lt"/>
                <a:ea typeface="+mj-ea"/>
                <a:cs typeface="+mj-cs"/>
              </a:defRPr>
            </a:lvl1pPr>
          </a:lstStyle>
          <a:p>
            <a:r>
              <a:rPr lang="en-US" noProof="0"/>
              <a:t>Click to edit Master title style</a:t>
            </a:r>
            <a:endParaRPr lang="en-GB" noProof="0" dirty="0"/>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1" name="Freeform 5">
            <a:extLst>
              <a:ext uri="{FF2B5EF4-FFF2-40B4-BE49-F238E27FC236}">
                <a16:creationId xmlns:a16="http://schemas.microsoft.com/office/drawing/2014/main" id="{821469CE-C35D-42CE-B2D7-DEFD6FEB98BB}"/>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208417692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201728" cy="6869316"/>
          </a:xfrm>
          <a:prstGeom prst="rect">
            <a:avLst/>
          </a:prstGeom>
          <a:solidFill>
            <a:schemeClr val="accent3"/>
          </a:solidFill>
        </p:spPr>
        <p:txBody>
          <a:bodyPr anchor="ctr">
            <a:normAutofit/>
          </a:bodyPr>
          <a:lstStyle>
            <a:lvl1pPr marL="0" indent="0" algn="ctr">
              <a:lnSpc>
                <a:spcPct val="100000"/>
              </a:lnSpc>
              <a:buNone/>
              <a:defRPr sz="1800" b="1" baseline="0"/>
            </a:lvl1pPr>
          </a:lstStyle>
          <a:p>
            <a:pPr lvl="0"/>
            <a:r>
              <a:rPr lang="en-GB" noProof="0" dirty="0"/>
              <a:t>                                                          &lt;  Insert your picture here</a:t>
            </a: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Thanks!</a:t>
            </a:r>
          </a:p>
        </p:txBody>
      </p: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sz="1800"/>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Tree>
    <p:extLst>
      <p:ext uri="{BB962C8B-B14F-4D97-AF65-F5344CB8AC3E}">
        <p14:creationId xmlns:p14="http://schemas.microsoft.com/office/powerpoint/2010/main" val="403003203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21964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dirty="0"/>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Tree>
    <p:extLst>
      <p:ext uri="{BB962C8B-B14F-4D97-AF65-F5344CB8AC3E}">
        <p14:creationId xmlns:p14="http://schemas.microsoft.com/office/powerpoint/2010/main" val="4256616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D413FA-23CB-2D4F-9EE0-FCCE70938C16}"/>
              </a:ext>
            </a:extLst>
          </p:cNvPr>
          <p:cNvSpPr>
            <a:spLocks noGrp="1"/>
          </p:cNvSpPr>
          <p:nvPr>
            <p:ph type="pic" sz="quarter" idx="13"/>
          </p:nvPr>
        </p:nvSpPr>
        <p:spPr>
          <a:xfrm>
            <a:off x="0" y="0"/>
            <a:ext cx="5771408" cy="6858000"/>
          </a:xfrm>
        </p:spPr>
        <p:txBody>
          <a:bodyPr/>
          <a:lstStyle/>
          <a:p>
            <a:endParaRPr lang="es-ES_tradnl"/>
          </a:p>
        </p:txBody>
      </p:sp>
      <p:sp>
        <p:nvSpPr>
          <p:cNvPr id="2" name="Title 1"/>
          <p:cNvSpPr>
            <a:spLocks noGrp="1"/>
          </p:cNvSpPr>
          <p:nvPr>
            <p:ph type="ctrTitle"/>
          </p:nvPr>
        </p:nvSpPr>
        <p:spPr>
          <a:xfrm rot="16200000">
            <a:off x="-2201635" y="2869167"/>
            <a:ext cx="6412716" cy="1291895"/>
          </a:xfrm>
        </p:spPr>
        <p:txBody>
          <a:bodyPr/>
          <a:lstStyle>
            <a:lvl1pPr algn="r">
              <a:lnSpc>
                <a:spcPts val="4300"/>
              </a:lnSpc>
              <a:defRPr>
                <a:solidFill>
                  <a:schemeClr val="bg1"/>
                </a:solidFill>
              </a:defRPr>
            </a:lvl1pPr>
          </a:lstStyle>
          <a:p>
            <a:r>
              <a:rPr lang="x-none"/>
              <a:t>Click to edit Master title style</a:t>
            </a:r>
            <a:endParaRPr lang="en-US"/>
          </a:p>
        </p:txBody>
      </p:sp>
      <p:sp>
        <p:nvSpPr>
          <p:cNvPr id="6" name="Slide Number Placeholder 5"/>
          <p:cNvSpPr>
            <a:spLocks noGrp="1"/>
          </p:cNvSpPr>
          <p:nvPr>
            <p:ph type="sldNum" sz="quarter" idx="12"/>
          </p:nvPr>
        </p:nvSpPr>
        <p:spPr/>
        <p:txBody>
          <a:bodyPr/>
          <a:lstStyle/>
          <a:p>
            <a:fld id="{8AFAC9F5-6142-144E-853D-B104371D383F}" type="slidenum">
              <a:rPr lang="en-US" smtClean="0"/>
              <a:t>‹#›</a:t>
            </a:fld>
            <a:endParaRPr lang="en-US"/>
          </a:p>
        </p:txBody>
      </p:sp>
      <p:sp>
        <p:nvSpPr>
          <p:cNvPr id="7" name="Content Placeholder 2">
            <a:extLst>
              <a:ext uri="{FF2B5EF4-FFF2-40B4-BE49-F238E27FC236}">
                <a16:creationId xmlns:a16="http://schemas.microsoft.com/office/drawing/2014/main" id="{21818B99-E9B2-DA4C-A88B-4F8BE20C003F}"/>
              </a:ext>
            </a:extLst>
          </p:cNvPr>
          <p:cNvSpPr>
            <a:spLocks noGrp="1"/>
          </p:cNvSpPr>
          <p:nvPr>
            <p:ph idx="1"/>
          </p:nvPr>
        </p:nvSpPr>
        <p:spPr>
          <a:xfrm>
            <a:off x="6096000" y="1406511"/>
            <a:ext cx="5486400" cy="4525963"/>
          </a:xfr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Tree>
    <p:extLst>
      <p:ext uri="{BB962C8B-B14F-4D97-AF65-F5344CB8AC3E}">
        <p14:creationId xmlns:p14="http://schemas.microsoft.com/office/powerpoint/2010/main" val="410790283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Midnight - Thank You">
    <p:bg>
      <p:bgPr>
        <a:solidFill>
          <a:srgbClr val="005E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98423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4894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p:spPr>
        <p:txBody>
          <a:bodyPr anchor="b">
            <a:noAutofit/>
          </a:bodyPr>
          <a:lstStyle>
            <a:lvl1pPr>
              <a:lnSpc>
                <a:spcPct val="100000"/>
              </a:lnSpc>
              <a:defRPr sz="4800" b="1" baseline="0">
                <a:solidFill>
                  <a:schemeClr val="tx2"/>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2031600"/>
            <a:ext cx="6773659" cy="864000"/>
          </a:xfrm>
          <a:prstGeom prst="rect">
            <a:avLst/>
          </a:prstGeom>
        </p:spPr>
        <p:txBody>
          <a:bodyPr>
            <a:noAutofit/>
          </a:bodyPr>
          <a:lstStyle>
            <a:lvl1pPr marL="0" indent="0">
              <a:lnSpc>
                <a:spcPct val="100000"/>
              </a:lnSpc>
              <a:buNone/>
              <a:defRPr sz="16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773436"/>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6935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192000"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Thanks!</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cxnSp>
        <p:nvCxnSpPr>
          <p:cNvPr id="12" name="Straight Connector 11">
            <a:extLst>
              <a:ext uri="{FF2B5EF4-FFF2-40B4-BE49-F238E27FC236}">
                <a16:creationId xmlns:a16="http://schemas.microsoft.com/office/drawing/2014/main" id="{7629B5C9-B7D1-4505-9A07-FAF43A3367FB}"/>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b="0" i="0">
              <a:latin typeface="Calibri Light" panose="020F0302020204030204" pitchFamily="34" charset="0"/>
            </a:endParaRPr>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21540676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p:spPr>
        <p:txBody>
          <a:bodyPr tIns="0" anchor="b">
            <a:noAutofit/>
          </a:bodyPr>
          <a:lstStyle>
            <a:lvl1pPr>
              <a:lnSpc>
                <a:spcPct val="100000"/>
              </a:lnSpc>
              <a:defRPr sz="4000" b="1">
                <a:solidFill>
                  <a:schemeClr val="tx2"/>
                </a:solidFill>
                <a:latin typeface="+mj-lt"/>
              </a:defRPr>
            </a:lvl1pPr>
          </a:lstStyle>
          <a:p>
            <a:r>
              <a:rPr lang="en-GB" noProof="0" dirty="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0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68447927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707886"/>
          </a:xfrm>
          <a:prstGeom prst="rect">
            <a:avLst/>
          </a:prstGeom>
          <a:noFill/>
        </p:spPr>
        <p:txBody>
          <a:bodyPr wrap="square" rtlCol="0">
            <a:spAutoFit/>
          </a:bodyPr>
          <a:lstStyle/>
          <a:p>
            <a:r>
              <a:rPr lang="en-US" sz="4000" b="1" dirty="0">
                <a:latin typeface="Amadeus" panose="02000506020000020004" pitchFamily="50" charset="0"/>
              </a:rPr>
              <a:t>Agenda</a:t>
            </a:r>
            <a:endParaRPr lang="es-ES" sz="3200" b="1" dirty="0">
              <a:latin typeface="Amadeus" panose="02000506020000020004" pitchFamily="50" charset="0"/>
            </a:endParaRPr>
          </a:p>
        </p:txBody>
      </p:sp>
    </p:spTree>
    <p:extLst>
      <p:ext uri="{BB962C8B-B14F-4D97-AF65-F5344CB8AC3E}">
        <p14:creationId xmlns:p14="http://schemas.microsoft.com/office/powerpoint/2010/main" val="2155834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3" y="2227939"/>
            <a:ext cx="6031363" cy="1950522"/>
          </a:xfrm>
        </p:spPr>
        <p:txBody>
          <a:bodyPr anchor="t">
            <a:noAutofit/>
          </a:bodyPr>
          <a:lstStyle>
            <a:lvl1pPr>
              <a:lnSpc>
                <a:spcPct val="100000"/>
              </a:lnSpc>
              <a:defRPr sz="4800" b="1" baseline="0">
                <a:solidFill>
                  <a:schemeClr val="tx2"/>
                </a:solidFill>
                <a:latin typeface="+mj-lt"/>
              </a:defRPr>
            </a:lvl1pPr>
          </a:lstStyle>
          <a:p>
            <a:r>
              <a:rPr lang="en-GB" noProof="0" dirty="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dirty="0"/>
              <a:t>1.</a:t>
            </a:r>
          </a:p>
        </p:txBody>
      </p:sp>
    </p:spTree>
    <p:extLst>
      <p:ext uri="{BB962C8B-B14F-4D97-AF65-F5344CB8AC3E}">
        <p14:creationId xmlns:p14="http://schemas.microsoft.com/office/powerpoint/2010/main" val="196306515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0" name="Text Placeholder 19"/>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86192718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8BA132F-2579-4E9F-8FF7-CD2150EEA9B6}"/>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99162914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5" name="Title 1">
            <a:extLst>
              <a:ext uri="{FF2B5EF4-FFF2-40B4-BE49-F238E27FC236}">
                <a16:creationId xmlns:a16="http://schemas.microsoft.com/office/drawing/2014/main" id="{7FF5DC9F-E0B0-47D2-8607-ED9FAEFDF4B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6" name="Text Placeholder 19">
            <a:extLst>
              <a:ext uri="{FF2B5EF4-FFF2-40B4-BE49-F238E27FC236}">
                <a16:creationId xmlns:a16="http://schemas.microsoft.com/office/drawing/2014/main" id="{70825373-49CC-4B7D-988C-6421297B3711}"/>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13547603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6" name="Title 1">
            <a:extLst>
              <a:ext uri="{FF2B5EF4-FFF2-40B4-BE49-F238E27FC236}">
                <a16:creationId xmlns:a16="http://schemas.microsoft.com/office/drawing/2014/main" id="{55D20256-85FC-42C9-9C19-B175EB3154E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7" name="Text Placeholder 19">
            <a:extLst>
              <a:ext uri="{FF2B5EF4-FFF2-40B4-BE49-F238E27FC236}">
                <a16:creationId xmlns:a16="http://schemas.microsoft.com/office/drawing/2014/main" id="{44C8BBB3-3B0A-4EAD-830F-427ADE470E49}"/>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88427077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8"/>
            <a:ext cx="4560866" cy="1415441"/>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6" name="Title 1">
            <a:extLst>
              <a:ext uri="{FF2B5EF4-FFF2-40B4-BE49-F238E27FC236}">
                <a16:creationId xmlns:a16="http://schemas.microsoft.com/office/drawing/2014/main" id="{94BF216E-3978-4A9E-A076-690B8009C6B2}"/>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8" name="Text Placeholder 19">
            <a:extLst>
              <a:ext uri="{FF2B5EF4-FFF2-40B4-BE49-F238E27FC236}">
                <a16:creationId xmlns:a16="http://schemas.microsoft.com/office/drawing/2014/main" id="{78E7C673-4155-4C39-AB39-D0DA12F13E43}"/>
              </a:ext>
            </a:extLst>
          </p:cNvPr>
          <p:cNvSpPr>
            <a:spLocks noGrp="1"/>
          </p:cNvSpPr>
          <p:nvPr>
            <p:ph type="body" sz="quarter" idx="20"/>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77278588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6" name="Title 1"/>
          <p:cNvSpPr>
            <a:spLocks noGrp="1"/>
          </p:cNvSpPr>
          <p:nvPr>
            <p:ph type="title"/>
          </p:nvPr>
        </p:nvSpPr>
        <p:spPr>
          <a:xfrm>
            <a:off x="622570" y="188913"/>
            <a:ext cx="5274264" cy="1535715"/>
          </a:xfrm>
        </p:spPr>
        <p:txBody>
          <a:bodyPr anchor="t">
            <a:noAutofit/>
          </a:bodyPr>
          <a:lstStyle>
            <a:lvl1pPr>
              <a:lnSpc>
                <a:spcPct val="100000"/>
              </a:lnSpc>
              <a:defRPr lang="en-US" sz="4000" b="1" kern="1200" noProof="0" dirty="0" smtClean="0">
                <a:solidFill>
                  <a:schemeClr val="tx2"/>
                </a:solidFill>
                <a:latin typeface="+mj-lt"/>
                <a:ea typeface="+mj-ea"/>
                <a:cs typeface="+mj-cs"/>
              </a:defRPr>
            </a:lvl1pPr>
          </a:lstStyle>
          <a:p>
            <a:r>
              <a:rPr lang="en-US" noProof="0"/>
              <a:t>Click to edit Master title style</a:t>
            </a:r>
            <a:endParaRPr lang="en-GB" noProof="0" dirty="0"/>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240708182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ct val="100000"/>
              </a:lnSpc>
              <a:defRPr lang="en-GB" sz="4000" b="1" kern="1200" noProof="0" dirty="0">
                <a:solidFill>
                  <a:schemeClr val="tx2"/>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10684166" cy="498992"/>
          </a:xfrm>
          <a:prstGeom prst="rect">
            <a:avLst/>
          </a:prstGeom>
        </p:spPr>
        <p:txBody>
          <a:bodyPr>
            <a:noAutofit/>
          </a:bodyPr>
          <a:lstStyle>
            <a:lvl1pPr marL="0" indent="0">
              <a:lnSpc>
                <a:spcPct val="100000"/>
              </a:lnSpc>
              <a:buNone/>
              <a:defRPr sz="160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0389573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16982"/>
          </a:xfrm>
          <a:prstGeom prst="rect">
            <a:avLst/>
          </a:prstGeom>
        </p:spPr>
        <p:txBody>
          <a:bodyPr wrap="none">
            <a:spAutoFit/>
          </a:bodyPr>
          <a:lstStyle>
            <a:lvl1pPr marL="0" indent="0" algn="l">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Tree>
    <p:extLst>
      <p:ext uri="{BB962C8B-B14F-4D97-AF65-F5344CB8AC3E}">
        <p14:creationId xmlns:p14="http://schemas.microsoft.com/office/powerpoint/2010/main" val="3783771586"/>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16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5" name="Title 1">
            <a:extLst>
              <a:ext uri="{FF2B5EF4-FFF2-40B4-BE49-F238E27FC236}">
                <a16:creationId xmlns:a16="http://schemas.microsoft.com/office/drawing/2014/main" id="{F6063FC4-C787-47D0-A2D8-E8FF6FB17AA9}"/>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6" name="Text Placeholder 19">
            <a:extLst>
              <a:ext uri="{FF2B5EF4-FFF2-40B4-BE49-F238E27FC236}">
                <a16:creationId xmlns:a16="http://schemas.microsoft.com/office/drawing/2014/main" id="{CECC1B2E-4EA6-4017-9528-9714ABB64CB0}"/>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71739663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0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8" name="Title 1">
            <a:extLst>
              <a:ext uri="{FF2B5EF4-FFF2-40B4-BE49-F238E27FC236}">
                <a16:creationId xmlns:a16="http://schemas.microsoft.com/office/drawing/2014/main" id="{7C831E38-111F-4B06-9FD4-E286E1D5F8A6}"/>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9" name="Text Placeholder 19">
            <a:extLst>
              <a:ext uri="{FF2B5EF4-FFF2-40B4-BE49-F238E27FC236}">
                <a16:creationId xmlns:a16="http://schemas.microsoft.com/office/drawing/2014/main" id="{7A9848F6-D557-4376-AC53-992072B5D56B}"/>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03862897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2" name="Title 1">
            <a:extLst>
              <a:ext uri="{FF2B5EF4-FFF2-40B4-BE49-F238E27FC236}">
                <a16:creationId xmlns:a16="http://schemas.microsoft.com/office/drawing/2014/main" id="{8F701C59-B9AE-4C45-9E25-F773F06BBF9A}"/>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3" name="Text Placeholder 19">
            <a:extLst>
              <a:ext uri="{FF2B5EF4-FFF2-40B4-BE49-F238E27FC236}">
                <a16:creationId xmlns:a16="http://schemas.microsoft.com/office/drawing/2014/main" id="{04C95F9B-EAE2-4CA0-BF01-907B87A6BB12}"/>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26886263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lnSpc>
                <a:spcPct val="100000"/>
              </a:lnSpc>
              <a:buNone/>
              <a:defRPr sz="4000" b="1">
                <a:solidFill>
                  <a:schemeClr val="accent2"/>
                </a:solidFill>
              </a:defRPr>
            </a:lvl1pPr>
          </a:lstStyle>
          <a:p>
            <a:pPr lvl="0"/>
            <a:r>
              <a:rPr lang="en-GB" noProof="0" dirty="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1" name="Title 1">
            <a:extLst>
              <a:ext uri="{FF2B5EF4-FFF2-40B4-BE49-F238E27FC236}">
                <a16:creationId xmlns:a16="http://schemas.microsoft.com/office/drawing/2014/main" id="{F8A6F8BF-893D-4F30-8304-8BB1C868902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2" name="Text Placeholder 19">
            <a:extLst>
              <a:ext uri="{FF2B5EF4-FFF2-40B4-BE49-F238E27FC236}">
                <a16:creationId xmlns:a16="http://schemas.microsoft.com/office/drawing/2014/main" id="{C17807FE-22AD-4946-8D9F-6678E1F6854F}"/>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28908692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lnSpc>
                <a:spcPct val="100000"/>
              </a:lnSpc>
              <a:buNone/>
              <a:defRPr sz="4800" b="1">
                <a:solidFill>
                  <a:schemeClr val="tx2"/>
                </a:solidFill>
              </a:defRPr>
            </a:lvl1pPr>
          </a:lstStyle>
          <a:p>
            <a:pPr lvl="0"/>
            <a:r>
              <a:rPr lang="en-GB" noProof="0" dirty="0"/>
              <a:t>04</a:t>
            </a:r>
          </a:p>
        </p:txBody>
      </p:sp>
      <p:sp>
        <p:nvSpPr>
          <p:cNvPr id="16" name="Title 1">
            <a:extLst>
              <a:ext uri="{FF2B5EF4-FFF2-40B4-BE49-F238E27FC236}">
                <a16:creationId xmlns:a16="http://schemas.microsoft.com/office/drawing/2014/main" id="{63596344-9948-453A-A86C-4D94FF3C1375}"/>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7" name="Text Placeholder 19">
            <a:extLst>
              <a:ext uri="{FF2B5EF4-FFF2-40B4-BE49-F238E27FC236}">
                <a16:creationId xmlns:a16="http://schemas.microsoft.com/office/drawing/2014/main" id="{00642CB9-D2AD-4BA1-929F-D02A598F8CD3}"/>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91620566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lnSpc>
                <a:spcPct val="100000"/>
              </a:lnSpc>
              <a:buNone/>
              <a:defRPr sz="2000" b="1"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lnSpc>
                <a:spcPct val="100000"/>
              </a:lnSpc>
              <a:buNone/>
              <a:defRPr sz="4800" b="1">
                <a:solidFill>
                  <a:schemeClr val="tx2"/>
                </a:solidFill>
              </a:defRPr>
            </a:lvl1pPr>
          </a:lstStyle>
          <a:p>
            <a:pPr lvl="0"/>
            <a:r>
              <a:rPr lang="en-GB" noProof="0" dirty="0"/>
              <a:t>04</a:t>
            </a:r>
          </a:p>
        </p:txBody>
      </p:sp>
      <p:sp>
        <p:nvSpPr>
          <p:cNvPr id="16" name="Title 1">
            <a:extLst>
              <a:ext uri="{FF2B5EF4-FFF2-40B4-BE49-F238E27FC236}">
                <a16:creationId xmlns:a16="http://schemas.microsoft.com/office/drawing/2014/main" id="{91680D8D-7C48-4B63-868A-1290C778FE87}"/>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7" name="Text Placeholder 19">
            <a:extLst>
              <a:ext uri="{FF2B5EF4-FFF2-40B4-BE49-F238E27FC236}">
                <a16:creationId xmlns:a16="http://schemas.microsoft.com/office/drawing/2014/main" id="{3A691C21-41D9-4635-B3AD-833F62BD0220}"/>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209845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chor="ctr">
            <a:noAutofit/>
          </a:bodyPr>
          <a:lstStyle>
            <a:lvl1pPr marL="0" indent="0" algn="ctr">
              <a:lnSpc>
                <a:spcPct val="100000"/>
              </a:lnSpc>
              <a:buNone/>
              <a:defRPr sz="4800" b="1">
                <a:solidFill>
                  <a:schemeClr val="tx1"/>
                </a:solidFill>
              </a:defRPr>
            </a:lvl1pPr>
          </a:lstStyle>
          <a:p>
            <a:pPr lvl="0"/>
            <a:r>
              <a:rPr lang="en-GB" noProof="0" dirty="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0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10" name="Title 1">
            <a:extLst>
              <a:ext uri="{FF2B5EF4-FFF2-40B4-BE49-F238E27FC236}">
                <a16:creationId xmlns:a16="http://schemas.microsoft.com/office/drawing/2014/main" id="{A7EA5B09-90D3-4956-BC12-B29590E10DF7}"/>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1" name="Text Placeholder 19">
            <a:extLst>
              <a:ext uri="{FF2B5EF4-FFF2-40B4-BE49-F238E27FC236}">
                <a16:creationId xmlns:a16="http://schemas.microsoft.com/office/drawing/2014/main" id="{FD462B29-2EB4-4053-9785-28A1443DBEB1}"/>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51467204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lnSpc>
                <a:spcPct val="100000"/>
              </a:lnSpc>
              <a:buNone/>
              <a:defRPr sz="2000" b="1" baseline="0">
                <a:solidFill>
                  <a:schemeClr val="accent2"/>
                </a:solidFill>
              </a:defRPr>
            </a:lvl1pPr>
          </a:lstStyle>
          <a:p>
            <a:pPr lvl="0"/>
            <a:r>
              <a:rPr lang="en-GB" noProof="0" dirty="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lnSpc>
                <a:spcPct val="100000"/>
              </a:lnSpc>
              <a:buNone/>
              <a:defRPr sz="2000" b="1" baseline="0">
                <a:solidFill>
                  <a:schemeClr val="accent2"/>
                </a:solidFill>
              </a:defRPr>
            </a:lvl1pPr>
          </a:lstStyle>
          <a:p>
            <a:pPr lvl="0"/>
            <a:r>
              <a:rPr lang="en-GB" noProof="0" dirty="0"/>
              <a:t>Title here</a:t>
            </a:r>
          </a:p>
        </p:txBody>
      </p:sp>
      <p:sp>
        <p:nvSpPr>
          <p:cNvPr id="21" name="Marcador de texto 33"/>
          <p:cNvSpPr>
            <a:spLocks noGrp="1"/>
          </p:cNvSpPr>
          <p:nvPr>
            <p:ph type="body" sz="quarter" idx="17" hasCustomPrompt="1"/>
          </p:nvPr>
        </p:nvSpPr>
        <p:spPr>
          <a:xfrm>
            <a:off x="7010400" y="4983391"/>
            <a:ext cx="4491615" cy="1200045"/>
          </a:xfrm>
          <a:prstGeom prst="rect">
            <a:avLst/>
          </a:prstGeom>
        </p:spPr>
        <p:txBody>
          <a:bodyPr>
            <a:normAutofit/>
          </a:bodyPr>
          <a:lstStyle>
            <a:lvl1pPr marL="0" indent="0" algn="r">
              <a:lnSpc>
                <a:spcPct val="100000"/>
              </a:lnSpc>
              <a:buNone/>
              <a:defRPr sz="4000" baseline="0">
                <a:solidFill>
                  <a:schemeClr val="accent2"/>
                </a:solidFill>
              </a:defRPr>
            </a:lvl1pPr>
          </a:lstStyle>
          <a:p>
            <a:pPr lvl="0"/>
            <a:r>
              <a:rPr lang="en-GB" noProof="0" dirty="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10" name="Title 1">
            <a:extLst>
              <a:ext uri="{FF2B5EF4-FFF2-40B4-BE49-F238E27FC236}">
                <a16:creationId xmlns:a16="http://schemas.microsoft.com/office/drawing/2014/main" id="{DDD7E92B-EFE0-4EC4-93BE-DA99D23124DA}"/>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1" name="Text Placeholder 19">
            <a:extLst>
              <a:ext uri="{FF2B5EF4-FFF2-40B4-BE49-F238E27FC236}">
                <a16:creationId xmlns:a16="http://schemas.microsoft.com/office/drawing/2014/main" id="{80B3D884-8356-4939-A594-4E56ADCE9906}"/>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13503451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lnSpc>
                <a:spcPct val="100000"/>
              </a:lnSpc>
              <a:buNone/>
              <a:defRPr sz="2000" b="1">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lnSpc>
                <a:spcPct val="100000"/>
              </a:lnSpc>
              <a:buNone/>
              <a:defRPr sz="2000" b="1"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16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4" name="Title 1">
            <a:extLst>
              <a:ext uri="{FF2B5EF4-FFF2-40B4-BE49-F238E27FC236}">
                <a16:creationId xmlns:a16="http://schemas.microsoft.com/office/drawing/2014/main" id="{29A0B819-3EF6-481C-9375-17F37612FD73}"/>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tx2"/>
                </a:solidFill>
                <a:latin typeface="+mj-lt"/>
              </a:defRPr>
            </a:lvl1pPr>
          </a:lstStyle>
          <a:p>
            <a:r>
              <a:rPr lang="en-US" noProof="0"/>
              <a:t>Click to edit Master title style</a:t>
            </a:r>
            <a:endParaRPr lang="en-GB" noProof="0" dirty="0"/>
          </a:p>
        </p:txBody>
      </p:sp>
      <p:sp>
        <p:nvSpPr>
          <p:cNvPr id="15" name="Text Placeholder 19">
            <a:extLst>
              <a:ext uri="{FF2B5EF4-FFF2-40B4-BE49-F238E27FC236}">
                <a16:creationId xmlns:a16="http://schemas.microsoft.com/office/drawing/2014/main" id="{EF65FC2F-39CA-4C76-96CF-2B19691BA4B2}"/>
              </a:ext>
            </a:extLst>
          </p:cNvPr>
          <p:cNvSpPr>
            <a:spLocks noGrp="1"/>
          </p:cNvSpPr>
          <p:nvPr>
            <p:ph type="body" sz="quarter" idx="13"/>
          </p:nvPr>
        </p:nvSpPr>
        <p:spPr>
          <a:xfrm>
            <a:off x="621824" y="675000"/>
            <a:ext cx="1088474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81951942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ct val="100000"/>
              </a:lnSpc>
              <a:defRPr sz="4800" b="1" baseline="0">
                <a:solidFill>
                  <a:schemeClr val="tx1"/>
                </a:solidFill>
                <a:latin typeface="Amadeus" panose="02000506020000020004" pitchFamily="50" charset="0"/>
                <a:cs typeface="72 Black" panose="020B0A04030603020204" pitchFamily="34" charset="0"/>
              </a:defRPr>
            </a:lvl1pPr>
          </a:lstStyle>
          <a:p>
            <a:r>
              <a:rPr lang="en-GB" noProof="0" dirty="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4096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tx2"/>
                </a:solidFill>
                <a:latin typeface="Calibri Light" panose="020F0302020204030204" pitchFamily="34" charset="0"/>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Tree>
    <p:extLst>
      <p:ext uri="{BB962C8B-B14F-4D97-AF65-F5344CB8AC3E}">
        <p14:creationId xmlns:p14="http://schemas.microsoft.com/office/powerpoint/2010/main" val="19518797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15" name="Group 14"/>
          <p:cNvGrpSpPr/>
          <p:nvPr userDrawn="1"/>
        </p:nvGrpSpPr>
        <p:grpSpPr>
          <a:xfrm>
            <a:off x="11548481" y="73568"/>
            <a:ext cx="409580" cy="338886"/>
            <a:chOff x="10987081" y="138792"/>
            <a:chExt cx="409580" cy="338886"/>
          </a:xfrm>
        </p:grpSpPr>
        <p:grpSp>
          <p:nvGrpSpPr>
            <p:cNvPr id="16" name="Group 26"/>
            <p:cNvGrpSpPr/>
            <p:nvPr userDrawn="1"/>
          </p:nvGrpSpPr>
          <p:grpSpPr>
            <a:xfrm>
              <a:off x="11011908" y="146161"/>
              <a:ext cx="384753" cy="331517"/>
              <a:chOff x="9021034" y="119041"/>
              <a:chExt cx="630093" cy="553987"/>
            </a:xfrm>
          </p:grpSpPr>
          <p:sp>
            <p:nvSpPr>
              <p:cNvPr id="18"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a:solidFill>
                      <a:srgbClr val="E5A912"/>
                    </a:solidFill>
                  </a:rPr>
                  <a:t>RESTRICTED</a:t>
                </a:r>
              </a:p>
            </p:txBody>
          </p:sp>
          <p:grpSp>
            <p:nvGrpSpPr>
              <p:cNvPr id="19" name="Group 30"/>
              <p:cNvGrpSpPr/>
              <p:nvPr userDrawn="1"/>
            </p:nvGrpSpPr>
            <p:grpSpPr>
              <a:xfrm>
                <a:off x="9094418" y="119041"/>
                <a:ext cx="477460" cy="431416"/>
                <a:chOff x="8532895" y="91935"/>
                <a:chExt cx="504900" cy="444531"/>
              </a:xfrm>
            </p:grpSpPr>
            <p:sp>
              <p:nvSpPr>
                <p:cNvPr id="21"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30"/>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31"/>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2" name="Freeform 32"/>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3"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solidFill>
                  <a:srgbClr val="E5A91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grpSp>
        <p:sp>
          <p:nvSpPr>
            <p:cNvPr id="17"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a:solidFill>
                    <a:srgbClr val="7F7F7F"/>
                  </a:solidFill>
                </a:rPr>
                <a:t>Confidential</a:t>
              </a:r>
            </a:p>
          </p:txBody>
        </p:sp>
      </p:grpSp>
    </p:spTree>
    <p:extLst>
      <p:ext uri="{BB962C8B-B14F-4D97-AF65-F5344CB8AC3E}">
        <p14:creationId xmlns:p14="http://schemas.microsoft.com/office/powerpoint/2010/main" val="40676009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16B8D0CF-1A23-4A45-85EE-EF9993D137EF}"/>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321962566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6807258" y="2016688"/>
            <a:ext cx="4602163" cy="1325563"/>
          </a:xfrm>
        </p:spPr>
        <p:txBody>
          <a:bodyPr anchor="b">
            <a:noAutofit/>
          </a:bodyPr>
          <a:lstStyle>
            <a:lvl1pPr algn="r">
              <a:lnSpc>
                <a:spcPct val="100000"/>
              </a:lnSpc>
              <a:defRPr sz="4800" b="1" baseline="0">
                <a:solidFill>
                  <a:schemeClr val="bg1"/>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773436"/>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16B8D0CF-1A23-4A45-85EE-EF9993D137EF}"/>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76595074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2235201" y="1801092"/>
            <a:ext cx="7467796" cy="1913318"/>
          </a:xfrm>
        </p:spPr>
        <p:txBody>
          <a:bodyPr anchor="b">
            <a:normAutofit/>
          </a:bodyPr>
          <a:lstStyle>
            <a:lvl1pPr algn="ctr">
              <a:lnSpc>
                <a:spcPct val="100000"/>
              </a:lnSpc>
              <a:defRPr sz="4800" b="1"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ct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4" name="Text Placeholder 97"/>
          <p:cNvSpPr>
            <a:spLocks noGrp="1"/>
          </p:cNvSpPr>
          <p:nvPr>
            <p:ph type="body" sz="quarter" idx="15" hasCustomPrompt="1"/>
          </p:nvPr>
        </p:nvSpPr>
        <p:spPr>
          <a:xfrm>
            <a:off x="4659028" y="4605968"/>
            <a:ext cx="2619201" cy="1058862"/>
          </a:xfrm>
          <a:prstGeom prst="rect">
            <a:avLst/>
          </a:prstGeom>
        </p:spPr>
        <p:txBody>
          <a:bodyPr anchor="b">
            <a:normAutofit/>
          </a:bodyPr>
          <a:lstStyle>
            <a:lvl1pPr marL="0" indent="0" algn="ct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11" name="Freeform 5">
            <a:extLst>
              <a:ext uri="{FF2B5EF4-FFF2-40B4-BE49-F238E27FC236}">
                <a16:creationId xmlns:a16="http://schemas.microsoft.com/office/drawing/2014/main" id="{5609C935-2A2D-4209-BDBE-8DE116D72742}"/>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357481528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Agenda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946F17CF-5057-4C3B-A7DB-F99275971837}"/>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1">
            <a:extLst>
              <a:ext uri="{FF2B5EF4-FFF2-40B4-BE49-F238E27FC236}">
                <a16:creationId xmlns:a16="http://schemas.microsoft.com/office/drawing/2014/main" id="{1B291B39-93DD-4AA3-92EF-EC06680D6D2E}"/>
              </a:ext>
            </a:extLst>
          </p:cNvPr>
          <p:cNvSpPr>
            <a:spLocks noGrp="1"/>
          </p:cNvSpPr>
          <p:nvPr>
            <p:ph type="title" hasCustomPrompt="1"/>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dirty="0"/>
              <a:t>Agenda</a:t>
            </a:r>
            <a:endParaRPr lang="en-GB" noProof="0" dirty="0"/>
          </a:p>
        </p:txBody>
      </p:sp>
      <p:sp>
        <p:nvSpPr>
          <p:cNvPr id="6" name="Marcador de texto 4">
            <a:extLst>
              <a:ext uri="{FF2B5EF4-FFF2-40B4-BE49-F238E27FC236}">
                <a16:creationId xmlns:a16="http://schemas.microsoft.com/office/drawing/2014/main" id="{B82ED736-665C-480B-8B4D-2B51B0C4DB4A}"/>
              </a:ext>
            </a:extLst>
          </p:cNvPr>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000" baseline="0">
                <a:solidFill>
                  <a:schemeClr val="bg1"/>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26428023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ivider (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p:spPr>
        <p:txBody>
          <a:bodyPr anchor="t">
            <a:noAutofit/>
          </a:bodyPr>
          <a:lstStyle>
            <a:lvl1pPr>
              <a:lnSpc>
                <a:spcPct val="100000"/>
              </a:lnSpc>
              <a:defRPr sz="4800" b="1" baseline="0">
                <a:solidFill>
                  <a:schemeClr val="bg2"/>
                </a:solidFill>
                <a:latin typeface="+mj-lt"/>
              </a:defRPr>
            </a:lvl1pPr>
          </a:lstStyle>
          <a:p>
            <a:r>
              <a:rPr lang="en-GB" noProof="0" dirty="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1">
                <a:solidFill>
                  <a:schemeClr val="accent3"/>
                </a:solidFill>
              </a:defRPr>
            </a:lvl1pPr>
          </a:lstStyle>
          <a:p>
            <a:pPr lvl="0"/>
            <a:r>
              <a:rPr lang="en-GB" noProof="0" dirty="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70A2B1E2-3A84-46CE-A679-E7A834276049}"/>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259411608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54D79634-E01E-4490-BCE6-1A47A62999F5}"/>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11" name="Title 1">
            <a:extLst>
              <a:ext uri="{FF2B5EF4-FFF2-40B4-BE49-F238E27FC236}">
                <a16:creationId xmlns:a16="http://schemas.microsoft.com/office/drawing/2014/main" id="{B570EDEF-827A-40C3-A9DE-9C1E988A49B3}"/>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a:t>Click to edit Master title style</a:t>
            </a:r>
            <a:endParaRPr lang="en-GB" noProof="0" dirty="0"/>
          </a:p>
        </p:txBody>
      </p:sp>
      <p:sp>
        <p:nvSpPr>
          <p:cNvPr id="12" name="Text Placeholder 19">
            <a:extLst>
              <a:ext uri="{FF2B5EF4-FFF2-40B4-BE49-F238E27FC236}">
                <a16:creationId xmlns:a16="http://schemas.microsoft.com/office/drawing/2014/main" id="{06FD2F86-BA43-4455-A370-0340F50D33A1}"/>
              </a:ext>
            </a:extLst>
          </p:cNvPr>
          <p:cNvSpPr>
            <a:spLocks noGrp="1"/>
          </p:cNvSpPr>
          <p:nvPr>
            <p:ph type="body" sz="quarter" idx="14"/>
          </p:nvPr>
        </p:nvSpPr>
        <p:spPr>
          <a:xfrm>
            <a:off x="621824" y="675000"/>
            <a:ext cx="10884747" cy="468000"/>
          </a:xfrm>
          <a:prstGeom prst="rect">
            <a:avLst/>
          </a:prstGeom>
        </p:spPr>
        <p:txBody>
          <a:bodyPr>
            <a:noAutofit/>
          </a:bodyPr>
          <a:lstStyle>
            <a:lvl1pPr marL="0" indent="0">
              <a:lnSpc>
                <a:spcPct val="100000"/>
              </a:lnSpc>
              <a:buNone/>
              <a:defRPr lang="en-US" sz="2000" kern="1200" noProof="0" dirty="0">
                <a:solidFill>
                  <a:schemeClr val="accent3"/>
                </a:solidFill>
                <a:latin typeface="+mj-lt"/>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90195044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946F17CF-5057-4C3B-A7DB-F99275971837}"/>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1">
            <a:extLst>
              <a:ext uri="{FF2B5EF4-FFF2-40B4-BE49-F238E27FC236}">
                <a16:creationId xmlns:a16="http://schemas.microsoft.com/office/drawing/2014/main" id="{1B291B39-93DD-4AA3-92EF-EC06680D6D2E}"/>
              </a:ext>
            </a:extLst>
          </p:cNvPr>
          <p:cNvSpPr>
            <a:spLocks noGrp="1"/>
          </p:cNvSpPr>
          <p:nvPr>
            <p:ph type="title"/>
          </p:nvPr>
        </p:nvSpPr>
        <p:spPr>
          <a:xfrm>
            <a:off x="622576" y="188914"/>
            <a:ext cx="10908597" cy="468000"/>
          </a:xfrm>
          <a:prstGeom prst="rect">
            <a:avLst/>
          </a:prstGeom>
        </p:spPr>
        <p:txBody>
          <a:bodyPr anchor="t">
            <a:noAutofit/>
          </a:bodyPr>
          <a:lstStyle>
            <a:lvl1pPr>
              <a:defRPr sz="4000" b="1">
                <a:solidFill>
                  <a:schemeClr val="bg1"/>
                </a:solidFill>
                <a:latin typeface="+mj-lt"/>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2860429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p:spPr>
        <p:txBody>
          <a:bodyPr anchor="b">
            <a:normAutofit/>
          </a:bodyPr>
          <a:lstStyle>
            <a:lvl1pPr>
              <a:lnSpc>
                <a:spcPct val="100000"/>
              </a:lnSpc>
              <a:defRPr lang="en-GB" sz="4000" b="1" kern="1200" noProof="0" dirty="0">
                <a:solidFill>
                  <a:schemeClr val="bg1"/>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ct val="100000"/>
              </a:lnSpc>
              <a:buNone/>
              <a:defRPr sz="160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9" name="Freeform 5">
            <a:extLst>
              <a:ext uri="{FF2B5EF4-FFF2-40B4-BE49-F238E27FC236}">
                <a16:creationId xmlns:a16="http://schemas.microsoft.com/office/drawing/2014/main" id="{82456293-F850-4655-8766-6C4852F81F8E}"/>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237169351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chemeClr val="bg1"/>
              </a:solidFill>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ct val="100000"/>
              </a:lnSpc>
              <a:defRPr sz="4800" b="1" baseline="0">
                <a:solidFill>
                  <a:schemeClr val="bg1"/>
                </a:solidFill>
                <a:latin typeface="Amadeus" panose="02000506020000020004" pitchFamily="50" charset="0"/>
                <a:cs typeface="72 Black" panose="020B0A04030603020204" pitchFamily="34" charset="0"/>
              </a:defRPr>
            </a:lvl1pPr>
          </a:lstStyle>
          <a:p>
            <a:r>
              <a:rPr lang="en-GB" noProof="0" dirty="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20" name="Freeform 5">
            <a:extLst>
              <a:ext uri="{FF2B5EF4-FFF2-40B4-BE49-F238E27FC236}">
                <a16:creationId xmlns:a16="http://schemas.microsoft.com/office/drawing/2014/main" id="{4518ABA9-1871-4B8F-AFC3-4BEDB5BBD453}"/>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347977398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9574"/>
          </a:xfrm>
          <a:prstGeom prst="rect">
            <a:avLst/>
          </a:prstGeom>
          <a:solidFill>
            <a:schemeClr val="accent3"/>
          </a:solidFill>
        </p:spPr>
        <p:txBody>
          <a:bodyPr anchor="ctr">
            <a:normAutofit/>
          </a:bodyPr>
          <a:lstStyle>
            <a:lvl1pPr marL="0" indent="0" algn="l">
              <a:lnSpc>
                <a:spcPct val="100000"/>
              </a:lnSpc>
              <a:buNone/>
              <a:defRPr sz="1800" b="1" baseline="0"/>
            </a:lvl1pPr>
          </a:lstStyle>
          <a:p>
            <a:r>
              <a:rPr lang="en-GB" noProof="0" dirty="0"/>
              <a:t>                                       Insert your photo here &gt;</a:t>
            </a:r>
          </a:p>
        </p:txBody>
      </p:sp>
      <p:sp>
        <p:nvSpPr>
          <p:cNvPr id="9" name="Text Placeholder 97"/>
          <p:cNvSpPr>
            <a:spLocks noGrp="1"/>
          </p:cNvSpPr>
          <p:nvPr>
            <p:ph type="body" sz="quarter" idx="15" hasCustomPrompt="1"/>
          </p:nvPr>
        </p:nvSpPr>
        <p:spPr>
          <a:xfrm>
            <a:off x="7970109" y="5495997"/>
            <a:ext cx="3541587" cy="790503"/>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603641" y="2458245"/>
            <a:ext cx="4902559" cy="1727779"/>
          </a:xfrm>
          <a:prstGeom prst="rect">
            <a:avLst/>
          </a:prstGeom>
        </p:spPr>
        <p:txBody>
          <a:bodyPr anchor="b">
            <a:noAutofit/>
          </a:bodyPr>
          <a:lstStyle>
            <a:lvl1pPr algn="r">
              <a:lnSpc>
                <a:spcPct val="100000"/>
              </a:lnSpc>
              <a:defRPr sz="4800" b="1" baseline="0">
                <a:solidFill>
                  <a:schemeClr val="bg1"/>
                </a:solidFill>
                <a:latin typeface="+mj-lt"/>
              </a:defRPr>
            </a:lvl1pPr>
          </a:lstStyle>
          <a:p>
            <a:r>
              <a:rPr lang="en-GB" noProof="0" dirty="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F935C2CD-BB30-454A-A86F-104D7FE3ADD1}"/>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27033146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Tree>
    <p:extLst>
      <p:ext uri="{BB962C8B-B14F-4D97-AF65-F5344CB8AC3E}">
        <p14:creationId xmlns:p14="http://schemas.microsoft.com/office/powerpoint/2010/main" val="29993688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9588"/>
          </a:xfrm>
          <a:prstGeom prst="rect">
            <a:avLst/>
          </a:prstGeom>
          <a:solidFill>
            <a:schemeClr val="accent3"/>
          </a:solidFill>
        </p:spPr>
        <p:txBody>
          <a:bodyPr anchor="ctr">
            <a:normAutofit/>
          </a:bodyPr>
          <a:lstStyle>
            <a:lvl1pPr marL="0" indent="0" algn="ctr">
              <a:lnSpc>
                <a:spcPct val="100000"/>
              </a:lnSpc>
              <a:buNone/>
              <a:defRPr sz="1800" b="1" baseline="0"/>
            </a:lvl1pPr>
          </a:lstStyle>
          <a:p>
            <a:pPr lvl="0"/>
            <a:r>
              <a:rPr lang="en-GB" noProof="0" dirty="0"/>
              <a:t>                                                          &lt;  Insert your picture here</a:t>
            </a: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6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9" name="Text Placeholder 97"/>
          <p:cNvSpPr>
            <a:spLocks noGrp="1"/>
          </p:cNvSpPr>
          <p:nvPr>
            <p:ph type="body" sz="quarter" idx="15" hasCustomPrompt="1"/>
          </p:nvPr>
        </p:nvSpPr>
        <p:spPr>
          <a:xfrm>
            <a:off x="576481" y="5513064"/>
            <a:ext cx="2619201" cy="773436"/>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BAC446A7-3111-407E-AD98-09B44D87EB76}"/>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251421794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lnSpc>
                <a:spcPct val="100000"/>
              </a:lnSpc>
              <a:defRPr/>
            </a:lvl1pPr>
          </a:lstStyle>
          <a:p>
            <a:r>
              <a:rPr lang="en-US"/>
              <a:t>Click icon to add picture</a:t>
            </a:r>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707886"/>
          </a:xfrm>
          <a:prstGeom prst="rect">
            <a:avLst/>
          </a:prstGeom>
          <a:noFill/>
        </p:spPr>
        <p:txBody>
          <a:bodyPr wrap="square" rtlCol="0">
            <a:spAutoFit/>
          </a:bodyPr>
          <a:lstStyle/>
          <a:p>
            <a:pPr algn="r">
              <a:lnSpc>
                <a:spcPct val="100000"/>
              </a:lnSpc>
            </a:pPr>
            <a:r>
              <a:rPr lang="en-US" sz="4000" b="1" dirty="0">
                <a:latin typeface="Amadeus" panose="02000506020000020004" pitchFamily="50" charset="0"/>
              </a:rPr>
              <a:t>Agenda</a:t>
            </a:r>
            <a:endParaRPr lang="es-ES" sz="3600" b="1" dirty="0">
              <a:latin typeface="Amadeus" panose="02000506020000020004" pitchFamily="50"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Tree>
    <p:extLst>
      <p:ext uri="{BB962C8B-B14F-4D97-AF65-F5344CB8AC3E}">
        <p14:creationId xmlns:p14="http://schemas.microsoft.com/office/powerpoint/2010/main" val="269083890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1">
                <a:solidFill>
                  <a:schemeClr val="bg1"/>
                </a:solidFill>
              </a:defRPr>
            </a:lvl1pPr>
          </a:lstStyle>
          <a:p>
            <a:pPr lvl="0"/>
            <a:r>
              <a:rPr lang="en-GB" noProof="0" dirty="0"/>
              <a:t>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038EE6AB-10E6-4B84-9FFE-D7ED552CD20B}"/>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128701382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p>
            <a:r>
              <a:rPr lang="en-US"/>
              <a:t>Click icon to add picture</a:t>
            </a:r>
            <a:endParaRPr lang="en-US" dirty="0"/>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ct val="100000"/>
              </a:lnSpc>
              <a:defRPr sz="4800" b="1" baseline="0">
                <a:solidFill>
                  <a:schemeClr val="bg1"/>
                </a:solidFill>
                <a:latin typeface="+mj-lt"/>
              </a:defRPr>
            </a:lvl1pPr>
          </a:lstStyle>
          <a:p>
            <a:r>
              <a:rPr lang="en-GB" noProof="0" dirty="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1">
                <a:solidFill>
                  <a:schemeClr val="bg1"/>
                </a:solidFill>
              </a:defRPr>
            </a:lvl1pPr>
          </a:lstStyle>
          <a:p>
            <a:pPr lvl="0"/>
            <a:r>
              <a:rPr lang="en-GB" noProof="0" dirty="0"/>
              <a:t>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chemeClr val="bg1"/>
                </a:solidFill>
              </a:rPr>
              <a:t>© Amadeus IT Group and its affiliates and subsidiaries</a:t>
            </a:r>
          </a:p>
        </p:txBody>
      </p:sp>
      <p:sp>
        <p:nvSpPr>
          <p:cNvPr id="8" name="Freeform 5">
            <a:extLst>
              <a:ext uri="{FF2B5EF4-FFF2-40B4-BE49-F238E27FC236}">
                <a16:creationId xmlns:a16="http://schemas.microsoft.com/office/drawing/2014/main" id="{105D3303-E95A-4D83-BB25-0975FB8DEFBD}"/>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Tree>
    <p:extLst>
      <p:ext uri="{BB962C8B-B14F-4D97-AF65-F5344CB8AC3E}">
        <p14:creationId xmlns:p14="http://schemas.microsoft.com/office/powerpoint/2010/main" val="53710893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10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10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lnSpc>
                <a:spcPct val="100000"/>
              </a:lnSpc>
              <a:defRPr lang="en-US" sz="4000" b="1" kern="1200" noProof="0" dirty="0" smtClean="0">
                <a:solidFill>
                  <a:schemeClr val="tx2"/>
                </a:solidFill>
                <a:latin typeface="+mj-lt"/>
                <a:ea typeface="+mj-ea"/>
                <a:cs typeface="+mj-cs"/>
              </a:defRPr>
            </a:lvl1pPr>
          </a:lstStyle>
          <a:p>
            <a:r>
              <a:rPr lang="en-US" noProof="0"/>
              <a:t>Click to edit Master title style</a:t>
            </a:r>
            <a:endParaRPr lang="en-GB" noProof="0" dirty="0"/>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000" baseline="0">
                <a:solidFill>
                  <a:srgbClr val="323232"/>
                </a:solidFill>
              </a:defRPr>
            </a:lvl1pPr>
            <a:lvl2pPr>
              <a:lnSpc>
                <a:spcPct val="100000"/>
              </a:lnSpc>
              <a:buClr>
                <a:schemeClr val="accent2"/>
              </a:buClr>
              <a:defRPr sz="1800" baseline="0">
                <a:solidFill>
                  <a:srgbClr val="323232"/>
                </a:solidFill>
              </a:defRPr>
            </a:lvl2pPr>
            <a:lvl3pPr>
              <a:lnSpc>
                <a:spcPct val="100000"/>
              </a:lnSpc>
              <a:buClr>
                <a:schemeClr val="accent2"/>
              </a:buClr>
              <a:defRPr sz="1600" baseline="0">
                <a:solidFill>
                  <a:srgbClr val="323232"/>
                </a:solidFill>
              </a:defRPr>
            </a:lvl3pPr>
            <a:lvl4pPr>
              <a:lnSpc>
                <a:spcPct val="100000"/>
              </a:lnSpc>
              <a:buClr>
                <a:schemeClr val="accent2"/>
              </a:buClr>
              <a:defRPr sz="1400" baseline="0">
                <a:solidFill>
                  <a:srgbClr val="323232"/>
                </a:solidFill>
              </a:defRPr>
            </a:lvl4pPr>
            <a:lvl5pPr>
              <a:lnSpc>
                <a:spcPct val="100000"/>
              </a:lnSpc>
              <a:buClr>
                <a:schemeClr val="accent2"/>
              </a:buClr>
              <a:defRPr sz="11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lnSpc>
                <a:spcPct val="100000"/>
              </a:lnSpc>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22193131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ct val="100000"/>
              </a:lnSpc>
              <a:defRPr lang="en-GB" sz="4000" b="1" kern="1200" noProof="0" dirty="0">
                <a:solidFill>
                  <a:schemeClr val="bg1"/>
                </a:solidFill>
                <a:latin typeface="+mj-lt"/>
                <a:ea typeface="+mj-ea"/>
                <a:cs typeface="+mj-cs"/>
              </a:defRPr>
            </a:lvl1pPr>
          </a:lstStyle>
          <a:p>
            <a:r>
              <a:rPr lang="en-GB" noProof="0" dirty="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ct val="100000"/>
              </a:lnSpc>
              <a:buNone/>
              <a:defRPr sz="1600" i="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2" name="Freeform 5">
            <a:extLst>
              <a:ext uri="{FF2B5EF4-FFF2-40B4-BE49-F238E27FC236}">
                <a16:creationId xmlns:a16="http://schemas.microsoft.com/office/drawing/2014/main" id="{200A2DCF-6EAF-413A-896C-87A51705E2F4}"/>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63468331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0" y="0"/>
            <a:ext cx="12192000" cy="6858000"/>
          </a:xfrm>
          <a:prstGeom prst="rect">
            <a:avLst/>
          </a:prstGeom>
          <a:solidFill>
            <a:schemeClr val="accent3"/>
          </a:solidFill>
        </p:spPr>
        <p:txBody>
          <a:bodyPr/>
          <a:lstStyle>
            <a:lvl1pPr>
              <a:lnSpc>
                <a:spcPct val="100000"/>
              </a:lnSpc>
              <a:defRPr/>
            </a:lvl1pPr>
          </a:lstStyle>
          <a:p>
            <a:r>
              <a:rPr lang="en-US"/>
              <a:t>Click icon to add picture</a:t>
            </a:r>
            <a:endParaRPr lang="en-US" dirty="0"/>
          </a:p>
        </p:txBody>
      </p:sp>
      <p:sp>
        <p:nvSpPr>
          <p:cNvPr id="10" name="Title 1"/>
          <p:cNvSpPr>
            <a:spLocks noGrp="1"/>
          </p:cNvSpPr>
          <p:nvPr>
            <p:ph type="title"/>
          </p:nvPr>
        </p:nvSpPr>
        <p:spPr>
          <a:xfrm>
            <a:off x="287338" y="3053017"/>
            <a:ext cx="11460377" cy="886766"/>
          </a:xfrm>
          <a:prstGeom prst="rect">
            <a:avLst/>
          </a:prstGeom>
        </p:spPr>
        <p:txBody>
          <a:bodyPr anchor="ctr">
            <a:normAutofit/>
          </a:bodyPr>
          <a:lstStyle>
            <a:lvl1pPr algn="ctr">
              <a:lnSpc>
                <a:spcPct val="100000"/>
              </a:lnSpc>
              <a:defRPr lang="en-GB" sz="4000" b="1" kern="1200" noProof="0" dirty="0">
                <a:solidFill>
                  <a:schemeClr val="bg1"/>
                </a:solidFill>
                <a:latin typeface="+mj-lt"/>
                <a:ea typeface="+mj-ea"/>
                <a:cs typeface="+mj-cs"/>
              </a:defRPr>
            </a:lvl1pPr>
          </a:lstStyle>
          <a:p>
            <a:r>
              <a:rPr lang="en-US" noProof="0"/>
              <a:t>Click to edit Master title style</a:t>
            </a:r>
            <a:endParaRPr lang="en-GB" noProof="0" dirty="0"/>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pPr>
              <a:lnSpc>
                <a:spcPct val="100000"/>
              </a:lnSpc>
            </a:pPr>
            <a:fld id="{E57627FB-D816-4EA7-98E3-793F2D9BC93A}" type="slidenum">
              <a:rPr lang="en-GB" sz="1000" noProof="0" smtClean="0">
                <a:solidFill>
                  <a:schemeClr val="bg1"/>
                </a:solidFill>
                <a:latin typeface="Amadeus" panose="02000506020000020004" pitchFamily="50" charset="0"/>
                <a:cs typeface="Arial" panose="020B0604020202020204" pitchFamily="34" charset="0"/>
              </a:rPr>
              <a:pPr>
                <a:lnSpc>
                  <a:spcPct val="100000"/>
                </a:lnSpc>
              </a:pPr>
              <a:t>‹#›</a:t>
            </a:fld>
            <a:endParaRPr lang="en-GB" sz="1000" noProof="0" dirty="0">
              <a:solidFill>
                <a:schemeClr val="bg1"/>
              </a:solidFill>
              <a:latin typeface="Amadeus" panose="02000506020000020004" pitchFamily="50"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
        <p:nvSpPr>
          <p:cNvPr id="11" name="Freeform 5">
            <a:extLst>
              <a:ext uri="{FF2B5EF4-FFF2-40B4-BE49-F238E27FC236}">
                <a16:creationId xmlns:a16="http://schemas.microsoft.com/office/drawing/2014/main" id="{821469CE-C35D-42CE-B2D7-DEFD6FEB98BB}"/>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dirty="0">
              <a:latin typeface="Amadeus" panose="02000506020000020004" pitchFamily="50" charset="0"/>
            </a:endParaRPr>
          </a:p>
        </p:txBody>
      </p:sp>
    </p:spTree>
    <p:extLst>
      <p:ext uri="{BB962C8B-B14F-4D97-AF65-F5344CB8AC3E}">
        <p14:creationId xmlns:p14="http://schemas.microsoft.com/office/powerpoint/2010/main" val="41398277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201728" cy="6869316"/>
          </a:xfrm>
          <a:prstGeom prst="rect">
            <a:avLst/>
          </a:prstGeom>
          <a:solidFill>
            <a:schemeClr val="accent3"/>
          </a:solidFill>
        </p:spPr>
        <p:txBody>
          <a:bodyPr anchor="ctr">
            <a:normAutofit/>
          </a:bodyPr>
          <a:lstStyle>
            <a:lvl1pPr marL="0" indent="0" algn="ctr">
              <a:lnSpc>
                <a:spcPct val="100000"/>
              </a:lnSpc>
              <a:buNone/>
              <a:defRPr sz="1800" b="1" baseline="0"/>
            </a:lvl1pPr>
          </a:lstStyle>
          <a:p>
            <a:pPr lvl="0"/>
            <a:r>
              <a:rPr lang="en-GB" noProof="0" dirty="0"/>
              <a:t>                                                          &lt;  Insert your picture here</a:t>
            </a: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ct val="100000"/>
              </a:lnSpc>
              <a:defRPr sz="4800" b="1" baseline="0">
                <a:solidFill>
                  <a:schemeClr val="bg1"/>
                </a:solidFill>
                <a:latin typeface="+mj-lt"/>
              </a:defRPr>
            </a:lvl1pPr>
          </a:lstStyle>
          <a:p>
            <a:r>
              <a:rPr lang="en-GB" noProof="0" dirty="0"/>
              <a:t>Thanks!</a:t>
            </a:r>
          </a:p>
        </p:txBody>
      </p: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sz="1800"/>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00000"/>
              </a:lnSpc>
            </a:pPr>
            <a:endParaRPr lang="es-ES"/>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GB"/>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100000"/>
              </a:lnSpc>
            </a:pPr>
            <a:r>
              <a:rPr lang="en-GB" sz="800" b="0" dirty="0">
                <a:solidFill>
                  <a:schemeClr val="bg1"/>
                </a:solidFill>
              </a:rPr>
              <a:t>© Amadeus IT Group and its affiliates and subsidiaries</a:t>
            </a:r>
          </a:p>
        </p:txBody>
      </p:sp>
    </p:spTree>
    <p:extLst>
      <p:ext uri="{BB962C8B-B14F-4D97-AF65-F5344CB8AC3E}">
        <p14:creationId xmlns:p14="http://schemas.microsoft.com/office/powerpoint/2010/main" val="141444283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80796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dirty="0"/>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dirty="0"/>
              <a:t>Footer  I  Credits  I  Links</a:t>
            </a:r>
          </a:p>
        </p:txBody>
      </p:sp>
    </p:spTree>
    <p:extLst>
      <p:ext uri="{BB962C8B-B14F-4D97-AF65-F5344CB8AC3E}">
        <p14:creationId xmlns:p14="http://schemas.microsoft.com/office/powerpoint/2010/main" val="13816817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307847"/>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D413FA-23CB-2D4F-9EE0-FCCE70938C16}"/>
              </a:ext>
            </a:extLst>
          </p:cNvPr>
          <p:cNvSpPr>
            <a:spLocks noGrp="1"/>
          </p:cNvSpPr>
          <p:nvPr>
            <p:ph type="pic" sz="quarter" idx="13"/>
          </p:nvPr>
        </p:nvSpPr>
        <p:spPr>
          <a:xfrm>
            <a:off x="0" y="0"/>
            <a:ext cx="5771408" cy="6858000"/>
          </a:xfrm>
        </p:spPr>
        <p:txBody>
          <a:bodyPr/>
          <a:lstStyle/>
          <a:p>
            <a:endParaRPr lang="es-ES_tradnl"/>
          </a:p>
        </p:txBody>
      </p:sp>
      <p:sp>
        <p:nvSpPr>
          <p:cNvPr id="2" name="Title 1"/>
          <p:cNvSpPr>
            <a:spLocks noGrp="1"/>
          </p:cNvSpPr>
          <p:nvPr>
            <p:ph type="ctrTitle"/>
          </p:nvPr>
        </p:nvSpPr>
        <p:spPr>
          <a:xfrm rot="16200000">
            <a:off x="-2201635" y="2869167"/>
            <a:ext cx="6412716" cy="1291895"/>
          </a:xfrm>
        </p:spPr>
        <p:txBody>
          <a:bodyPr/>
          <a:lstStyle>
            <a:lvl1pPr algn="r">
              <a:lnSpc>
                <a:spcPts val="4300"/>
              </a:lnSpc>
              <a:defRPr>
                <a:solidFill>
                  <a:schemeClr val="bg1"/>
                </a:solidFill>
              </a:defRPr>
            </a:lvl1pPr>
          </a:lstStyle>
          <a:p>
            <a:r>
              <a:rPr lang="x-none"/>
              <a:t>Click to edit Master title style</a:t>
            </a:r>
            <a:endParaRPr lang="en-US"/>
          </a:p>
        </p:txBody>
      </p:sp>
      <p:sp>
        <p:nvSpPr>
          <p:cNvPr id="6" name="Slide Number Placeholder 5"/>
          <p:cNvSpPr>
            <a:spLocks noGrp="1"/>
          </p:cNvSpPr>
          <p:nvPr>
            <p:ph type="sldNum" sz="quarter" idx="12"/>
          </p:nvPr>
        </p:nvSpPr>
        <p:spPr/>
        <p:txBody>
          <a:bodyPr/>
          <a:lstStyle/>
          <a:p>
            <a:fld id="{8AFAC9F5-6142-144E-853D-B104371D383F}" type="slidenum">
              <a:rPr lang="en-US" smtClean="0"/>
              <a:t>‹#›</a:t>
            </a:fld>
            <a:endParaRPr lang="en-US"/>
          </a:p>
        </p:txBody>
      </p:sp>
      <p:sp>
        <p:nvSpPr>
          <p:cNvPr id="7" name="Content Placeholder 2">
            <a:extLst>
              <a:ext uri="{FF2B5EF4-FFF2-40B4-BE49-F238E27FC236}">
                <a16:creationId xmlns:a16="http://schemas.microsoft.com/office/drawing/2014/main" id="{21818B99-E9B2-DA4C-A88B-4F8BE20C003F}"/>
              </a:ext>
            </a:extLst>
          </p:cNvPr>
          <p:cNvSpPr>
            <a:spLocks noGrp="1"/>
          </p:cNvSpPr>
          <p:nvPr>
            <p:ph idx="1"/>
          </p:nvPr>
        </p:nvSpPr>
        <p:spPr>
          <a:xfrm>
            <a:off x="6096000" y="1406511"/>
            <a:ext cx="5486400" cy="4525963"/>
          </a:xfr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Tree>
    <p:extLst>
      <p:ext uri="{BB962C8B-B14F-4D97-AF65-F5344CB8AC3E}">
        <p14:creationId xmlns:p14="http://schemas.microsoft.com/office/powerpoint/2010/main" val="241050509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Midnight - Thank You">
    <p:bg>
      <p:bgPr>
        <a:solidFill>
          <a:srgbClr val="005E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261256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Img Bulle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3AC8D4D-4DF1-4D0B-B09A-A8229AFAE68A}"/>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t="28009" b="-1"/>
          <a:stretch/>
        </p:blipFill>
        <p:spPr>
          <a:xfrm flipH="1">
            <a:off x="0" y="4137986"/>
            <a:ext cx="12192000" cy="2746645"/>
          </a:xfrm>
          <a:prstGeom prst="rect">
            <a:avLst/>
          </a:prstGeom>
        </p:spPr>
      </p:pic>
      <p:sp>
        <p:nvSpPr>
          <p:cNvPr id="4" name="Title 1">
            <a:extLst>
              <a:ext uri="{FF2B5EF4-FFF2-40B4-BE49-F238E27FC236}">
                <a16:creationId xmlns:a16="http://schemas.microsoft.com/office/drawing/2014/main" id="{E34CC959-2D62-41F8-B6AC-D00569305C46}"/>
              </a:ext>
            </a:extLst>
          </p:cNvPr>
          <p:cNvSpPr>
            <a:spLocks noGrp="1"/>
          </p:cNvSpPr>
          <p:nvPr>
            <p:ph type="title" hasCustomPrompt="1"/>
          </p:nvPr>
        </p:nvSpPr>
        <p:spPr>
          <a:xfrm>
            <a:off x="625971" y="453729"/>
            <a:ext cx="11083429" cy="482549"/>
          </a:xfrm>
        </p:spPr>
        <p:txBody>
          <a:bodyPr anchor="t">
            <a:noAutofit/>
          </a:bodyPr>
          <a:lstStyle>
            <a:lvl1pPr>
              <a:defRPr sz="3500" b="0" i="0">
                <a:gradFill flip="none" rotWithShape="1">
                  <a:gsLst>
                    <a:gs pos="0">
                      <a:srgbClr val="004482"/>
                    </a:gs>
                    <a:gs pos="100000">
                      <a:srgbClr val="0489CB"/>
                    </a:gs>
                  </a:gsLst>
                  <a:lin ang="0" scaled="0"/>
                  <a:tileRect/>
                </a:gradFill>
                <a:latin typeface="Amadeus Thin" panose="02000506040000020004" pitchFamily="2" charset="0"/>
              </a:defRPr>
            </a:lvl1pPr>
          </a:lstStyle>
          <a:p>
            <a:r>
              <a:rPr lang="en-US" noProof="0"/>
              <a:t>Click to Edit Master Title Style</a:t>
            </a:r>
            <a:endParaRPr lang="en-GB" noProof="0"/>
          </a:p>
        </p:txBody>
      </p:sp>
      <p:sp>
        <p:nvSpPr>
          <p:cNvPr id="47" name="Text Placeholder 19">
            <a:extLst>
              <a:ext uri="{FF2B5EF4-FFF2-40B4-BE49-F238E27FC236}">
                <a16:creationId xmlns:a16="http://schemas.microsoft.com/office/drawing/2014/main" id="{4A51BB75-7413-4911-9792-8851087FFC0D}"/>
              </a:ext>
            </a:extLst>
          </p:cNvPr>
          <p:cNvSpPr>
            <a:spLocks noGrp="1"/>
          </p:cNvSpPr>
          <p:nvPr>
            <p:ph type="body" sz="quarter" idx="26" hasCustomPrompt="1"/>
          </p:nvPr>
        </p:nvSpPr>
        <p:spPr>
          <a:xfrm>
            <a:off x="625971" y="1053235"/>
            <a:ext cx="11059197" cy="468000"/>
          </a:xfrm>
          <a:prstGeom prst="rect">
            <a:avLst/>
          </a:prstGeom>
        </p:spPr>
        <p:txBody>
          <a:bodyPr>
            <a:noAutofit/>
          </a:bodyPr>
          <a:lstStyle>
            <a:lvl1pPr marL="0" indent="0">
              <a:lnSpc>
                <a:spcPct val="100000"/>
              </a:lnSpc>
              <a:buNone/>
              <a:defRPr sz="2200" b="0" i="0">
                <a:solidFill>
                  <a:schemeClr val="bg1">
                    <a:lumMod val="50000"/>
                  </a:schemeClr>
                </a:solidFill>
                <a:latin typeface="Amadeus Thin" panose="02000506040000020004" pitchFamily="2"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0" name="Text">
            <a:extLst>
              <a:ext uri="{FF2B5EF4-FFF2-40B4-BE49-F238E27FC236}">
                <a16:creationId xmlns:a16="http://schemas.microsoft.com/office/drawing/2014/main" id="{EB89B39F-E8FF-4D64-B4DB-7C7D73590662}"/>
              </a:ext>
            </a:extLst>
          </p:cNvPr>
          <p:cNvSpPr txBox="1">
            <a:spLocks/>
          </p:cNvSpPr>
          <p:nvPr userDrawn="1"/>
        </p:nvSpPr>
        <p:spPr>
          <a:xfrm rot="16200000">
            <a:off x="-204321" y="383142"/>
            <a:ext cx="745491" cy="267380"/>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71437" tIns="71437" rIns="71437" bIns="71437" anchor="t">
            <a:spAutoFit/>
          </a:bodyPr>
          <a:lstStyle>
            <a:lvl1pPr marL="61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1pPr>
            <a:lvl2pPr marL="1245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2pPr>
            <a:lvl3pPr marL="188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3pPr>
            <a:lvl4pPr marL="2515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4pPr>
            <a:lvl5pPr marL="315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5pPr>
            <a:lvl6pPr marL="3785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6pPr>
            <a:lvl7pPr marL="4420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7pPr>
            <a:lvl8pPr marL="5055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8pPr>
            <a:lvl9pPr marL="5690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9pPr>
          </a:lstStyle>
          <a:p>
            <a:pPr marL="0" marR="0" lvl="0" indent="0" algn="r" defTabSz="584200" rtl="0" eaLnBrk="1" fontAlgn="auto" latinLnBrk="0" hangingPunct="1">
              <a:lnSpc>
                <a:spcPct val="100000"/>
              </a:lnSpc>
              <a:spcBef>
                <a:spcPts val="0"/>
              </a:spcBef>
              <a:spcAft>
                <a:spcPts val="0"/>
              </a:spcAft>
              <a:buClrTx/>
              <a:buSzTx/>
              <a:buFontTx/>
              <a:buNone/>
              <a:tabLst/>
              <a:defRPr sz="1000" spc="-19">
                <a:latin typeface="Amadeus-Regular"/>
                <a:ea typeface="Amadeus-Regular"/>
                <a:cs typeface="Amadeus-Regular"/>
                <a:sym typeface="Amadeus-Regular"/>
              </a:defRPr>
            </a:pPr>
            <a:r>
              <a:rPr kumimoji="0" lang="en-US" sz="800" b="0" i="0" u="none" strike="noStrike" kern="0" cap="none" spc="-19" normalizeH="0" baseline="0" noProof="0">
                <a:ln>
                  <a:noFill/>
                </a:ln>
                <a:solidFill>
                  <a:schemeClr val="bg1">
                    <a:lumMod val="50000"/>
                    <a:alpha val="50000"/>
                  </a:schemeClr>
                </a:solidFill>
                <a:effectLst/>
                <a:uLnTx/>
                <a:uFillTx/>
                <a:latin typeface="Amadeus" panose="02000506020000020004" pitchFamily="50" charset="0"/>
                <a:ea typeface="Amadeus-Regular"/>
                <a:cs typeface="Calibri" panose="020F0502020204030204" pitchFamily="34" charset="0"/>
                <a:sym typeface="Amadeus-Regular"/>
              </a:rPr>
              <a:t> </a:t>
            </a:r>
            <a:fld id="{86CB4B4D-7CA3-9044-876B-883B54F8677D}" type="slidenum">
              <a:rPr kumimoji="0" sz="800" b="0" i="0" u="none" strike="noStrike" kern="0" cap="none" spc="-19" normalizeH="0" baseline="0" noProof="0" smtClean="0">
                <a:ln>
                  <a:noFill/>
                </a:ln>
                <a:solidFill>
                  <a:schemeClr val="bg1">
                    <a:lumMod val="50000"/>
                    <a:alpha val="50000"/>
                  </a:schemeClr>
                </a:solidFill>
                <a:effectLst/>
                <a:uLnTx/>
                <a:uFillTx/>
                <a:latin typeface="Amadeus" panose="02000506020000020004" pitchFamily="50" charset="0"/>
                <a:ea typeface="Amadeus-Regular"/>
                <a:cs typeface="Calibri" panose="020F0502020204030204" pitchFamily="34" charset="0"/>
                <a:sym typeface="Amadeus-Regular"/>
              </a:rPr>
              <a:pPr marL="0" marR="0" lvl="0" indent="0" algn="r" defTabSz="584200" rtl="0" eaLnBrk="1" fontAlgn="auto" latinLnBrk="0" hangingPunct="1">
                <a:lnSpc>
                  <a:spcPct val="100000"/>
                </a:lnSpc>
                <a:spcBef>
                  <a:spcPts val="0"/>
                </a:spcBef>
                <a:spcAft>
                  <a:spcPts val="0"/>
                </a:spcAft>
                <a:buClrTx/>
                <a:buSzTx/>
                <a:buFontTx/>
                <a:buNone/>
                <a:tabLst/>
                <a:defRPr sz="1000" spc="-19">
                  <a:latin typeface="Amadeus-Regular"/>
                  <a:ea typeface="Amadeus-Regular"/>
                  <a:cs typeface="Amadeus-Regular"/>
                  <a:sym typeface="Amadeus-Regular"/>
                </a:defRPr>
              </a:pPr>
              <a:t>‹#›</a:t>
            </a:fld>
            <a:endParaRPr kumimoji="0" sz="800" b="0" i="0" u="none" strike="noStrike" kern="0" cap="none" spc="-19" normalizeH="0" baseline="0" noProof="0">
              <a:ln>
                <a:noFill/>
              </a:ln>
              <a:solidFill>
                <a:schemeClr val="bg1">
                  <a:lumMod val="50000"/>
                  <a:alpha val="50000"/>
                </a:schemeClr>
              </a:solidFill>
              <a:effectLst/>
              <a:uLnTx/>
              <a:uFillTx/>
              <a:latin typeface="Amadeus" panose="02000506020000020004" pitchFamily="50" charset="0"/>
              <a:ea typeface="Amadeus-Regular"/>
              <a:cs typeface="Calibri" panose="020F0502020204030204" pitchFamily="34" charset="0"/>
              <a:sym typeface="Amadeus-Regular"/>
            </a:endParaRPr>
          </a:p>
        </p:txBody>
      </p:sp>
      <p:pic>
        <p:nvPicPr>
          <p:cNvPr id="11" name="Image" descr="Image">
            <a:extLst>
              <a:ext uri="{FF2B5EF4-FFF2-40B4-BE49-F238E27FC236}">
                <a16:creationId xmlns:a16="http://schemas.microsoft.com/office/drawing/2014/main" id="{8C2A5B22-3B05-4791-8D98-A6D15BB31E75}"/>
              </a:ext>
            </a:extLst>
          </p:cNvPr>
          <p:cNvPicPr>
            <a:picLocks noChangeAspect="1"/>
          </p:cNvPicPr>
          <p:nvPr userDrawn="1"/>
        </p:nvPicPr>
        <p:blipFill>
          <a:blip r:embed="rId3">
            <a:duotone>
              <a:prstClr val="black"/>
              <a:schemeClr val="tx2">
                <a:tint val="45000"/>
                <a:satMod val="400000"/>
              </a:schemeClr>
            </a:duotone>
          </a:blip>
          <a:stretch>
            <a:fillRect/>
          </a:stretch>
        </p:blipFill>
        <p:spPr>
          <a:xfrm rot="16200000">
            <a:off x="-160598" y="6228612"/>
            <a:ext cx="658045" cy="88019"/>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pic>
      <p:sp>
        <p:nvSpPr>
          <p:cNvPr id="12" name="Confidential  Document">
            <a:extLst>
              <a:ext uri="{FF2B5EF4-FFF2-40B4-BE49-F238E27FC236}">
                <a16:creationId xmlns:a16="http://schemas.microsoft.com/office/drawing/2014/main" id="{BB271C6F-D248-431E-BC98-93ECCC5777E3}"/>
              </a:ext>
            </a:extLst>
          </p:cNvPr>
          <p:cNvSpPr txBox="1"/>
          <p:nvPr userDrawn="1"/>
        </p:nvSpPr>
        <p:spPr>
          <a:xfrm rot="16200000">
            <a:off x="-612971" y="3295310"/>
            <a:ext cx="1562790" cy="267380"/>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71437" tIns="71437" rIns="71437" bIns="71437">
            <a:spAutoFit/>
          </a:bodyPr>
          <a:lstStyle>
            <a:lvl1pPr algn="l">
              <a:buClr>
                <a:srgbClr val="A6AAA9"/>
              </a:buClr>
              <a:defRPr sz="1000" spc="-39">
                <a:solidFill>
                  <a:srgbClr val="FFFFFF"/>
                </a:solidFill>
                <a:latin typeface="Amadeus-Regular"/>
                <a:ea typeface="Amadeus-Regular"/>
                <a:cs typeface="Amadeus-Regular"/>
                <a:sym typeface="Amadeus-Regular"/>
              </a:defRPr>
            </a:lvl1pPr>
          </a:lstStyle>
          <a:p>
            <a:pPr marL="0" marR="0" lvl="0" indent="0" algn="ctr" defTabSz="914400" eaLnBrk="1" fontAlgn="auto" latinLnBrk="0" hangingPunct="0">
              <a:lnSpc>
                <a:spcPct val="100000"/>
              </a:lnSpc>
              <a:spcBef>
                <a:spcPts val="0"/>
              </a:spcBef>
              <a:spcAft>
                <a:spcPts val="0"/>
              </a:spcAft>
              <a:buClr>
                <a:srgbClr val="A6AAA9"/>
              </a:buClr>
              <a:buSzTx/>
              <a:buFontTx/>
              <a:buNone/>
              <a:tabLst/>
              <a:defRPr/>
            </a:pPr>
            <a:r>
              <a:rPr kumimoji="0" sz="800" b="0" i="0" u="none" strike="noStrike" kern="0" cap="none" spc="-39" normalizeH="0" baseline="0" noProof="0">
                <a:ln>
                  <a:noFill/>
                </a:ln>
                <a:solidFill>
                  <a:schemeClr val="bg1">
                    <a:lumMod val="50000"/>
                    <a:alpha val="50000"/>
                  </a:schemeClr>
                </a:solidFill>
                <a:effectLst/>
                <a:uLnTx/>
                <a:uFillTx/>
                <a:latin typeface="Amadeus" panose="02000506020000020004" pitchFamily="50" charset="0"/>
                <a:cs typeface="Calibri" panose="020F0502020204030204" pitchFamily="34" charset="0"/>
                <a:sym typeface="Amadeus-Regular"/>
              </a:rPr>
              <a:t>Confidential  Document</a:t>
            </a:r>
          </a:p>
        </p:txBody>
      </p:sp>
      <p:sp>
        <p:nvSpPr>
          <p:cNvPr id="18" name="Marcador de texto 2">
            <a:extLst>
              <a:ext uri="{FF2B5EF4-FFF2-40B4-BE49-F238E27FC236}">
                <a16:creationId xmlns:a16="http://schemas.microsoft.com/office/drawing/2014/main" id="{DF8D28A9-9F2E-47FB-95E5-0C0898457A77}"/>
              </a:ext>
            </a:extLst>
          </p:cNvPr>
          <p:cNvSpPr>
            <a:spLocks noGrp="1"/>
          </p:cNvSpPr>
          <p:nvPr>
            <p:ph type="body" sz="quarter" idx="28" hasCustomPrompt="1"/>
          </p:nvPr>
        </p:nvSpPr>
        <p:spPr>
          <a:xfrm>
            <a:off x="625971" y="2022263"/>
            <a:ext cx="6380310" cy="4374268"/>
          </a:xfrm>
          <a:prstGeom prst="rect">
            <a:avLst/>
          </a:prstGeom>
        </p:spPr>
        <p:txBody>
          <a:bodyPr>
            <a:normAutofit/>
          </a:bodyPr>
          <a:lstStyle>
            <a:lvl1pPr marL="457200" indent="-457200">
              <a:lnSpc>
                <a:spcPct val="100000"/>
              </a:lnSpc>
              <a:buClrTx/>
              <a:buFont typeface="Roboto Light" panose="02000000000000000000" pitchFamily="2" charset="0"/>
              <a:buChar char="_"/>
              <a:defRPr sz="2000" baseline="0">
                <a:solidFill>
                  <a:schemeClr val="bg1">
                    <a:lumMod val="50000"/>
                  </a:schemeClr>
                </a:solidFill>
                <a:latin typeface="Amadeus Thin" panose="02000506040000020004" pitchFamily="50" charset="0"/>
              </a:defRPr>
            </a:lvl1pPr>
            <a:lvl2pPr marL="800100" indent="-342900">
              <a:lnSpc>
                <a:spcPct val="100000"/>
              </a:lnSpc>
              <a:buClrTx/>
              <a:buFont typeface="Arial" panose="020B0604020202020204" pitchFamily="34" charset="0"/>
              <a:buChar char="•"/>
              <a:defRPr sz="1800" baseline="0">
                <a:solidFill>
                  <a:schemeClr val="bg1">
                    <a:lumMod val="50000"/>
                  </a:schemeClr>
                </a:solidFill>
                <a:latin typeface="Amadeus Thin" panose="02000506040000020004" pitchFamily="50" charset="0"/>
              </a:defRPr>
            </a:lvl2pPr>
            <a:lvl3pPr marL="1257300" indent="-342900">
              <a:lnSpc>
                <a:spcPct val="100000"/>
              </a:lnSpc>
              <a:buClrTx/>
              <a:buFont typeface="Arial" panose="020B0604020202020204" pitchFamily="34" charset="0"/>
              <a:buChar char="•"/>
              <a:defRPr sz="1600" baseline="0">
                <a:solidFill>
                  <a:schemeClr val="bg1">
                    <a:lumMod val="50000"/>
                  </a:schemeClr>
                </a:solidFill>
                <a:latin typeface="Amadeus Thin" panose="02000506040000020004" pitchFamily="50" charset="0"/>
              </a:defRPr>
            </a:lvl3pPr>
            <a:lvl4pPr marL="1657350" indent="-285750">
              <a:lnSpc>
                <a:spcPct val="100000"/>
              </a:lnSpc>
              <a:buClrTx/>
              <a:buFont typeface="Arial" panose="020B0604020202020204" pitchFamily="34" charset="0"/>
              <a:buChar char="•"/>
              <a:defRPr sz="1400" baseline="0">
                <a:solidFill>
                  <a:schemeClr val="bg1">
                    <a:lumMod val="50000"/>
                  </a:schemeClr>
                </a:solidFill>
                <a:latin typeface="Amadeus Thin" panose="02000506040000020004" pitchFamily="50" charset="0"/>
              </a:defRPr>
            </a:lvl4pPr>
            <a:lvl5pPr marL="2114550" indent="-285750">
              <a:lnSpc>
                <a:spcPct val="100000"/>
              </a:lnSpc>
              <a:buClrTx/>
              <a:buFont typeface="Arial" panose="020B0604020202020204" pitchFamily="34" charset="0"/>
              <a:buChar char="•"/>
              <a:defRPr sz="1200" baseline="0">
                <a:solidFill>
                  <a:schemeClr val="bg1">
                    <a:lumMod val="50000"/>
                  </a:schemeClr>
                </a:solidFill>
                <a:latin typeface="Amadeus Thin" panose="02000506040000020004" pitchFamily="50"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21789973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89351"/>
            <a:ext cx="11252997"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Marcador de texto 2"/>
          <p:cNvSpPr>
            <a:spLocks noGrp="1"/>
          </p:cNvSpPr>
          <p:nvPr>
            <p:ph type="body" sz="quarter" idx="18" hasCustomPrompt="1"/>
          </p:nvPr>
        </p:nvSpPr>
        <p:spPr>
          <a:xfrm>
            <a:off x="292609" y="1480159"/>
            <a:ext cx="11228409"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Tree>
    <p:extLst>
      <p:ext uri="{BB962C8B-B14F-4D97-AF65-F5344CB8AC3E}">
        <p14:creationId xmlns:p14="http://schemas.microsoft.com/office/powerpoint/2010/main" val="311031017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US" noProof="0" smtClean="0"/>
              <a:pPr/>
              <a:t>‹#›</a:t>
            </a:fld>
            <a:endParaRPr lang="en-US" noProof="0" dirty="0"/>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7" name="Title 1"/>
          <p:cNvSpPr>
            <a:spLocks noGrp="1"/>
          </p:cNvSpPr>
          <p:nvPr>
            <p:ph type="title"/>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0" name="Text Placeholder 19"/>
          <p:cNvSpPr>
            <a:spLocks noGrp="1"/>
          </p:cNvSpPr>
          <p:nvPr>
            <p:ph type="body" sz="quarter" idx="13"/>
          </p:nvPr>
        </p:nvSpPr>
        <p:spPr>
          <a:xfrm>
            <a:off x="268224" y="795425"/>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342061516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over with photo background l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US"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5" name="Title 1"/>
          <p:cNvSpPr>
            <a:spLocks noGrp="1"/>
          </p:cNvSpPr>
          <p:nvPr>
            <p:ph type="title"/>
          </p:nvPr>
        </p:nvSpPr>
        <p:spPr>
          <a:xfrm>
            <a:off x="576472" y="2670166"/>
            <a:ext cx="4601584" cy="1178168"/>
          </a:xfrm>
        </p:spPr>
        <p:txBody>
          <a:bodyPr anchor="t"/>
          <a:lstStyle>
            <a:lvl1pPr>
              <a:lnSpc>
                <a:spcPct val="100000"/>
              </a:lnSpc>
              <a:defRPr baseline="0">
                <a:solidFill>
                  <a:schemeClr val="tx2"/>
                </a:solidFill>
                <a:latin typeface="+mj-lt"/>
              </a:defRPr>
            </a:lvl1pPr>
          </a:lstStyle>
          <a:p>
            <a:r>
              <a:rPr lang="en-US" noProof="0"/>
              <a:t>Click to edit Master title style</a:t>
            </a:r>
            <a:endParaRPr lang="en-US" noProof="0" dirty="0"/>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grpSp>
        <p:nvGrpSpPr>
          <p:cNvPr id="2" name="Group 1"/>
          <p:cNvGrpSpPr/>
          <p:nvPr userDrawn="1"/>
        </p:nvGrpSpPr>
        <p:grpSpPr>
          <a:xfrm>
            <a:off x="587910" y="380310"/>
            <a:ext cx="1327864" cy="205326"/>
            <a:chOff x="10554900" y="380310"/>
            <a:chExt cx="1327864" cy="205326"/>
          </a:xfrm>
        </p:grpSpPr>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225623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US"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grpSp>
        <p:nvGrpSpPr>
          <p:cNvPr id="10" name="Group 9"/>
          <p:cNvGrpSpPr/>
          <p:nvPr userDrawn="1"/>
        </p:nvGrpSpPr>
        <p:grpSpPr>
          <a:xfrm>
            <a:off x="587910" y="380310"/>
            <a:ext cx="1327864" cy="205326"/>
            <a:chOff x="10554900" y="380310"/>
            <a:chExt cx="1327864" cy="205326"/>
          </a:xfrm>
        </p:grpSpPr>
        <p:sp>
          <p:nvSpPr>
            <p:cNvPr id="13"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1016520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ver with photo l">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5" name="Title 1"/>
          <p:cNvSpPr>
            <a:spLocks noGrp="1"/>
          </p:cNvSpPr>
          <p:nvPr>
            <p:ph type="title" hasCustomPrompt="1"/>
          </p:nvPr>
        </p:nvSpPr>
        <p:spPr>
          <a:xfrm>
            <a:off x="576472" y="1101213"/>
            <a:ext cx="5956600" cy="929735"/>
          </a:xfrm>
        </p:spPr>
        <p:txBody>
          <a:bodyPr anchor="b"/>
          <a:lstStyle>
            <a:lvl1pP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576265" y="2277861"/>
            <a:ext cx="5957349"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Marcador de posición de imagen 17"/>
          <p:cNvSpPr>
            <a:spLocks noGrp="1"/>
          </p:cNvSpPr>
          <p:nvPr>
            <p:ph type="pic" sz="quarter" idx="16" hasCustomPrompt="1"/>
          </p:nvPr>
        </p:nvSpPr>
        <p:spPr>
          <a:xfrm>
            <a:off x="6487016" y="1433383"/>
            <a:ext cx="5708828" cy="542461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9966" h="5750830">
                <a:moveTo>
                  <a:pt x="5637046" y="946"/>
                </a:moveTo>
                <a:cubicBezTo>
                  <a:pt x="6121252" y="-19930"/>
                  <a:pt x="6539307" y="306327"/>
                  <a:pt x="6707626" y="810791"/>
                </a:cubicBezTo>
                <a:cubicBezTo>
                  <a:pt x="6707626" y="810791"/>
                  <a:pt x="6707626" y="810791"/>
                  <a:pt x="7139966" y="2214518"/>
                </a:cubicBezTo>
                <a:lnTo>
                  <a:pt x="7139966" y="5750830"/>
                </a:lnTo>
                <a:cubicBezTo>
                  <a:pt x="7139966" y="5750830"/>
                  <a:pt x="7139966" y="5750830"/>
                  <a:pt x="1951889" y="5750830"/>
                </a:cubicBezTo>
                <a:cubicBezTo>
                  <a:pt x="1357422" y="5633853"/>
                  <a:pt x="555792" y="5543871"/>
                  <a:pt x="384658" y="4842007"/>
                </a:cubicBezTo>
                <a:cubicBezTo>
                  <a:pt x="384658" y="4842007"/>
                  <a:pt x="384658" y="4842007"/>
                  <a:pt x="96431" y="3690231"/>
                </a:cubicBezTo>
                <a:cubicBezTo>
                  <a:pt x="6360" y="3303306"/>
                  <a:pt x="-65696" y="2943376"/>
                  <a:pt x="96431" y="2556452"/>
                </a:cubicBezTo>
                <a:cubicBezTo>
                  <a:pt x="312601" y="2025555"/>
                  <a:pt x="880047" y="1827593"/>
                  <a:pt x="1384443" y="1611635"/>
                </a:cubicBezTo>
                <a:cubicBezTo>
                  <a:pt x="1384443" y="1611635"/>
                  <a:pt x="1384443" y="1611635"/>
                  <a:pt x="5293515" y="72935"/>
                </a:cubicBezTo>
                <a:cubicBezTo>
                  <a:pt x="5410044" y="29068"/>
                  <a:pt x="5525307" y="5764"/>
                  <a:pt x="5637046" y="946"/>
                </a:cubicBezTo>
                <a:close/>
              </a:path>
            </a:pathLst>
          </a:custGeom>
          <a:solidFill>
            <a:schemeClr val="accent4"/>
          </a:solidFill>
        </p:spPr>
        <p:txBody>
          <a:bodyPr wrap="square" anchor="ctr">
            <a:noAutofit/>
          </a:bodyPr>
          <a:lstStyle>
            <a:lvl1pPr marL="0" indent="0" algn="ctr">
              <a:buNone/>
              <a:defRPr/>
            </a:lvl1pPr>
          </a:lstStyle>
          <a:p>
            <a:br>
              <a:rPr lang="en-US" noProof="0" dirty="0"/>
            </a:br>
            <a:br>
              <a:rPr lang="en-US" noProof="0" dirty="0"/>
            </a:br>
            <a:br>
              <a:rPr lang="en-US" noProof="0" dirty="0"/>
            </a:br>
            <a:br>
              <a:rPr lang="en-US" noProof="0" dirty="0"/>
            </a:br>
            <a:r>
              <a:rPr lang="en-US" noProof="0" dirty="0"/>
              <a:t>Insert your picture here</a:t>
            </a:r>
          </a:p>
        </p:txBody>
      </p:sp>
      <p:grpSp>
        <p:nvGrpSpPr>
          <p:cNvPr id="12" name="Group 11"/>
          <p:cNvGrpSpPr/>
          <p:nvPr userDrawn="1"/>
        </p:nvGrpSpPr>
        <p:grpSpPr>
          <a:xfrm>
            <a:off x="587910" y="380310"/>
            <a:ext cx="1327864" cy="205326"/>
            <a:chOff x="10554900" y="380310"/>
            <a:chExt cx="1327864" cy="205326"/>
          </a:xfrm>
        </p:grpSpPr>
        <p:sp>
          <p:nvSpPr>
            <p:cNvPr id="13"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grpSp>
    </p:spTree>
    <p:extLst>
      <p:ext uri="{BB962C8B-B14F-4D97-AF65-F5344CB8AC3E}">
        <p14:creationId xmlns:p14="http://schemas.microsoft.com/office/powerpoint/2010/main" val="254604892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endParaRPr lang="en-US" noProof="0" dirty="0"/>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US" noProof="0" dirty="0"/>
            </a:br>
            <a:br>
              <a:rPr lang="en-US" noProof="0" dirty="0"/>
            </a:br>
            <a:br>
              <a:rPr lang="en-US" noProof="0" dirty="0"/>
            </a:br>
            <a:br>
              <a:rPr lang="en-US" noProof="0" dirty="0"/>
            </a:br>
            <a:r>
              <a:rPr lang="en-US" noProof="0" dirty="0"/>
              <a:t>Insert your picture here</a:t>
            </a:r>
          </a:p>
        </p:txBody>
      </p:sp>
      <p:grpSp>
        <p:nvGrpSpPr>
          <p:cNvPr id="11" name="Group 10"/>
          <p:cNvGrpSpPr/>
          <p:nvPr userDrawn="1"/>
        </p:nvGrpSpPr>
        <p:grpSpPr>
          <a:xfrm>
            <a:off x="587910" y="380310"/>
            <a:ext cx="1327864" cy="205326"/>
            <a:chOff x="10554900" y="380310"/>
            <a:chExt cx="1327864" cy="205326"/>
          </a:xfrm>
        </p:grpSpPr>
        <p:sp>
          <p:nvSpPr>
            <p:cNvPr id="13"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0195817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endParaRPr lang="en-US" noProof="0" dirty="0"/>
          </a:p>
        </p:txBody>
      </p:sp>
      <p:grpSp>
        <p:nvGrpSpPr>
          <p:cNvPr id="12" name="Group 11"/>
          <p:cNvGrpSpPr/>
          <p:nvPr userDrawn="1"/>
        </p:nvGrpSpPr>
        <p:grpSpPr>
          <a:xfrm>
            <a:off x="587910" y="380310"/>
            <a:ext cx="1327864" cy="205326"/>
            <a:chOff x="10554900" y="380310"/>
            <a:chExt cx="1327864" cy="205326"/>
          </a:xfrm>
        </p:grpSpPr>
        <p:sp>
          <p:nvSpPr>
            <p:cNvPr id="13"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748481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with photo background ll">
    <p:bg>
      <p:bgPr>
        <a:solidFill>
          <a:schemeClr val="accent1">
            <a:lumMod val="7500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0956C0D-2630-4235-B3CC-2DA663B2E776}"/>
              </a:ext>
            </a:extLst>
          </p:cNvPr>
          <p:cNvSpPr>
            <a:spLocks noGrp="1"/>
          </p:cNvSpPr>
          <p:nvPr>
            <p:ph type="pic" sz="quarter" idx="16"/>
          </p:nvPr>
        </p:nvSpPr>
        <p:spPr>
          <a:xfrm>
            <a:off x="0" y="0"/>
            <a:ext cx="12192000" cy="6858000"/>
          </a:xfrm>
          <a:prstGeom prst="rect">
            <a:avLst/>
          </a:prstGeom>
        </p:spPr>
        <p:txBody>
          <a:bodyPr/>
          <a:lstStyle/>
          <a:p>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latin typeface="+mj-lt"/>
            </a:endParaRPr>
          </a:p>
        </p:txBody>
      </p:sp>
      <p:sp>
        <p:nvSpPr>
          <p:cNvPr id="95" name="Title 1"/>
          <p:cNvSpPr>
            <a:spLocks noGrp="1"/>
          </p:cNvSpPr>
          <p:nvPr>
            <p:ph type="title" hasCustomPrompt="1"/>
          </p:nvPr>
        </p:nvSpPr>
        <p:spPr>
          <a:xfrm>
            <a:off x="615809" y="1842437"/>
            <a:ext cx="4051441" cy="1178168"/>
          </a:xfrm>
          <a:prstGeom prst="rect">
            <a:avLst/>
          </a:prstGeom>
        </p:spPr>
        <p:txBody>
          <a:bodyPr anchor="t"/>
          <a:lstStyle>
            <a:lvl1pPr>
              <a:lnSpc>
                <a:spcPts val="6000"/>
              </a:lnSpc>
              <a:defRPr sz="6000" b="1" baseline="0">
                <a:solidFill>
                  <a:schemeClr val="bg1"/>
                </a:solidFill>
                <a:latin typeface="Calibri "/>
                <a:cs typeface="72 Black" panose="020B0A0403060302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621541" y="3440577"/>
            <a:ext cx="4121909" cy="498992"/>
          </a:xfrm>
          <a:prstGeom prst="rect">
            <a:avLst/>
          </a:prstGeom>
        </p:spPr>
        <p:txBody>
          <a:bodyPr>
            <a:noAutofit/>
          </a:bodyPr>
          <a:lstStyle>
            <a:lvl1pPr marL="0" indent="0">
              <a:lnSpc>
                <a:spcPct val="100000"/>
              </a:lnSpc>
              <a:buNone/>
              <a:defRPr sz="1800" baseline="0">
                <a:solidFill>
                  <a:schemeClr val="bg1"/>
                </a:solidFill>
                <a:latin typeface="+mj-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616025" y="5466734"/>
            <a:ext cx="2619201" cy="711900"/>
          </a:xfrm>
          <a:prstGeom prst="rect">
            <a:avLst/>
          </a:prstGeom>
        </p:spPr>
        <p:txBody>
          <a:bodyPr anchor="b">
            <a:normAutofit/>
          </a:bodyPr>
          <a:lstStyle>
            <a:lvl1pPr marL="0" indent="0">
              <a:lnSpc>
                <a:spcPct val="100000"/>
              </a:lnSpc>
              <a:spcBef>
                <a:spcPts val="0"/>
              </a:spcBef>
              <a:buNone/>
              <a:defRPr sz="1200" baseline="0">
                <a:solidFill>
                  <a:schemeClr val="bg1"/>
                </a:solidFill>
                <a:latin typeface="+mj-lt"/>
                <a:cs typeface="Arial" panose="020B060402020202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latin typeface="+mj-lt"/>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2" name="Footer Placeholder 4">
            <a:extLst>
              <a:ext uri="{FF2B5EF4-FFF2-40B4-BE49-F238E27FC236}">
                <a16:creationId xmlns:a16="http://schemas.microsoft.com/office/drawing/2014/main" id="{762C6452-C332-445B-9A8C-E42D626372B4}"/>
              </a:ext>
            </a:extLst>
          </p:cNvPr>
          <p:cNvSpPr>
            <a:spLocks noGrp="1"/>
          </p:cNvSpPr>
          <p:nvPr>
            <p:ph type="ftr" sz="quarter" idx="3"/>
          </p:nvPr>
        </p:nvSpPr>
        <p:spPr>
          <a:xfrm rot="16200000">
            <a:off x="10404203" y="4900095"/>
            <a:ext cx="3086100" cy="226487"/>
          </a:xfrm>
          <a:prstGeom prst="rect">
            <a:avLst/>
          </a:prstGeom>
        </p:spPr>
        <p:txBody>
          <a:bodyPr vert="horz" lIns="91440" tIns="45720" rIns="91440" bIns="45720" rtlCol="0" anchor="ctr"/>
          <a:lstStyle>
            <a:lvl1pPr algn="l">
              <a:defRPr sz="700">
                <a:solidFill>
                  <a:schemeClr val="bg1"/>
                </a:solidFill>
                <a:latin typeface="+mj-lt"/>
                <a:cs typeface="Arial" panose="020B0604020202020204" pitchFamily="34" charset="0"/>
              </a:defRPr>
            </a:lvl1pPr>
          </a:lstStyle>
          <a:p>
            <a:r>
              <a:rPr lang="en-GB"/>
              <a:t>© Amadeus IT Group and its affiliates and subsidiaries</a:t>
            </a:r>
          </a:p>
        </p:txBody>
      </p:sp>
    </p:spTree>
    <p:extLst>
      <p:ext uri="{BB962C8B-B14F-4D97-AF65-F5344CB8AC3E}">
        <p14:creationId xmlns:p14="http://schemas.microsoft.com/office/powerpoint/2010/main" val="182386254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US"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grpSp>
        <p:nvGrpSpPr>
          <p:cNvPr id="12" name="Group 11"/>
          <p:cNvGrpSpPr/>
          <p:nvPr userDrawn="1"/>
        </p:nvGrpSpPr>
        <p:grpSpPr>
          <a:xfrm>
            <a:off x="587910" y="380310"/>
            <a:ext cx="1327864" cy="205326"/>
            <a:chOff x="10554900" y="380310"/>
            <a:chExt cx="1327864" cy="205326"/>
          </a:xfrm>
        </p:grpSpPr>
        <p:sp>
          <p:nvSpPr>
            <p:cNvPr id="1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738966"/>
      </p:ext>
    </p:extLst>
  </p:cSld>
  <p:clrMapOvr>
    <a:masterClrMapping/>
  </p:clrMapOvr>
  <p:extLst>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solidFill>
              </a:defRPr>
            </a:lvl1pPr>
          </a:lstStyle>
          <a:p>
            <a:pPr marL="0" lvl="0" algn="ctr" defTabSz="342875">
              <a:lnSpc>
                <a:spcPts val="3075"/>
              </a:lnSpc>
            </a:pPr>
            <a:r>
              <a:rPr lang="en-US"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US" noProof="0" dirty="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endParaRPr lang="en-US" noProof="0" dirty="0"/>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US"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5"/>
          <p:cNvSpPr>
            <a:spLocks noEditPoints="1"/>
          </p:cNvSpPr>
          <p:nvPr userDrawn="1"/>
        </p:nvSpPr>
        <p:spPr bwMode="auto">
          <a:xfrm>
            <a:off x="11584711" y="6520314"/>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2063456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a:solidFill>
                  <a:schemeClr val="tx2"/>
                </a:solidFill>
                <a:latin typeface="+mj-lt"/>
              </a:defRPr>
            </a:lvl1pPr>
          </a:lstStyle>
          <a:p>
            <a:r>
              <a:rPr lang="en-US" noProof="0" dirty="0"/>
              <a:t>Agenda</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Picture Placeholder 10">
            <a:extLst>
              <a:ext uri="{FF2B5EF4-FFF2-40B4-BE49-F238E27FC236}">
                <a16:creationId xmlns:a16="http://schemas.microsoft.com/office/drawing/2014/main" id="{0D351B23-EAE5-465F-B326-D94AE02A6861}"/>
              </a:ext>
            </a:extLst>
          </p:cNvPr>
          <p:cNvSpPr>
            <a:spLocks noGrp="1"/>
          </p:cNvSpPr>
          <p:nvPr>
            <p:ph type="pic" sz="quarter" idx="10"/>
          </p:nvPr>
        </p:nvSpPr>
        <p:spPr>
          <a:xfrm>
            <a:off x="268225" y="1084810"/>
            <a:ext cx="11252792" cy="4312690"/>
          </a:xfrm>
          <a:prstGeom prst="rect">
            <a:avLst/>
          </a:prstGeom>
        </p:spPr>
        <p:style>
          <a:lnRef idx="2">
            <a:schemeClr val="accent1"/>
          </a:lnRef>
          <a:fillRef idx="1">
            <a:schemeClr val="lt1"/>
          </a:fillRef>
          <a:effectRef idx="0">
            <a:schemeClr val="accent1"/>
          </a:effectRef>
          <a:fontRef idx="minor">
            <a:schemeClr val="dk1"/>
          </a:fontRef>
        </p:style>
        <p:txBody>
          <a:bodyPr/>
          <a:lstStyle>
            <a:lvl1pPr marL="0" indent="0">
              <a:buNone/>
              <a:defRPr/>
            </a:lvl1pPr>
          </a:lstStyle>
          <a:p>
            <a:endParaRPr lang="en-US" dirty="0"/>
          </a:p>
        </p:txBody>
      </p:sp>
    </p:spTree>
    <p:extLst>
      <p:ext uri="{BB962C8B-B14F-4D97-AF65-F5344CB8AC3E}">
        <p14:creationId xmlns:p14="http://schemas.microsoft.com/office/powerpoint/2010/main" val="280765210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64010988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7"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8"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8"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Tree>
    <p:extLst>
      <p:ext uri="{BB962C8B-B14F-4D97-AF65-F5344CB8AC3E}">
        <p14:creationId xmlns:p14="http://schemas.microsoft.com/office/powerpoint/2010/main" val="15606058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4886028" cy="1349538"/>
          </a:xfrm>
          <a:prstGeom prst="rect">
            <a:avLst/>
          </a:prstGeom>
        </p:spPr>
        <p:txBody>
          <a:bodyPr>
            <a:noAutofit/>
          </a:bodyPr>
          <a:lstStyle>
            <a:lvl1pPr marL="0" indent="0">
              <a:lnSpc>
                <a:spcPts val="1425"/>
              </a:lnSpc>
              <a:buNone/>
              <a:defRPr sz="240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endParaRPr lang="en-US" noProof="0" dirty="0"/>
          </a:p>
        </p:txBody>
      </p:sp>
      <p:sp>
        <p:nvSpPr>
          <p:cNvPr id="13"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20"/>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US" noProof="0" dirty="0"/>
            </a:br>
            <a:br>
              <a:rPr lang="en-US" noProof="0" dirty="0"/>
            </a:br>
            <a:r>
              <a:rPr lang="en-US" noProof="0" dirty="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Tree>
    <p:extLst>
      <p:ext uri="{BB962C8B-B14F-4D97-AF65-F5344CB8AC3E}">
        <p14:creationId xmlns:p14="http://schemas.microsoft.com/office/powerpoint/2010/main" val="78222662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Edit Master text styles</a:t>
            </a:r>
          </a:p>
        </p:txBody>
      </p:sp>
      <p:sp>
        <p:nvSpPr>
          <p:cNvPr id="22" name="Picture Placeholder 2"/>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6" name="Title 1"/>
          <p:cNvSpPr>
            <a:spLocks noGrp="1"/>
          </p:cNvSpPr>
          <p:nvPr>
            <p:ph type="title"/>
          </p:nvPr>
        </p:nvSpPr>
        <p:spPr>
          <a:xfrm>
            <a:off x="268225" y="296865"/>
            <a:ext cx="5628609"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8" name="Text Placeholder 19"/>
          <p:cNvSpPr>
            <a:spLocks noGrp="1"/>
          </p:cNvSpPr>
          <p:nvPr>
            <p:ph type="body" sz="quarter" idx="13"/>
          </p:nvPr>
        </p:nvSpPr>
        <p:spPr>
          <a:xfrm>
            <a:off x="268225" y="779412"/>
            <a:ext cx="561630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1" name="Marcador de texto 2"/>
          <p:cNvSpPr>
            <a:spLocks noGrp="1"/>
          </p:cNvSpPr>
          <p:nvPr>
            <p:ph type="body" sz="quarter" idx="19" hasCustomPrompt="1"/>
          </p:nvPr>
        </p:nvSpPr>
        <p:spPr>
          <a:xfrm>
            <a:off x="268225" y="1302026"/>
            <a:ext cx="5492496" cy="4999329"/>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Edit Master text styles</a:t>
            </a:r>
          </a:p>
        </p:txBody>
      </p:sp>
    </p:spTree>
    <p:extLst>
      <p:ext uri="{BB962C8B-B14F-4D97-AF65-F5344CB8AC3E}">
        <p14:creationId xmlns:p14="http://schemas.microsoft.com/office/powerpoint/2010/main" val="124043449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US" noProof="0" dirty="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Tree>
    <p:extLst>
      <p:ext uri="{BB962C8B-B14F-4D97-AF65-F5344CB8AC3E}">
        <p14:creationId xmlns:p14="http://schemas.microsoft.com/office/powerpoint/2010/main" val="34930342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24" name="Title 1"/>
          <p:cNvSpPr>
            <a:spLocks noGrp="1"/>
          </p:cNvSpPr>
          <p:nvPr>
            <p:ph type="title"/>
          </p:nvPr>
        </p:nvSpPr>
        <p:spPr>
          <a:xfrm>
            <a:off x="268224" y="296865"/>
            <a:ext cx="5165422"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5" name="Text Placeholder 19"/>
          <p:cNvSpPr>
            <a:spLocks noGrp="1"/>
          </p:cNvSpPr>
          <p:nvPr>
            <p:ph type="body" sz="quarter" idx="13"/>
          </p:nvPr>
        </p:nvSpPr>
        <p:spPr>
          <a:xfrm>
            <a:off x="268224" y="787824"/>
            <a:ext cx="5141038" cy="45151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US" noProof="0" dirty="0"/>
            </a:br>
            <a:br>
              <a:rPr lang="en-US" noProof="0" dirty="0"/>
            </a:br>
            <a:r>
              <a:rPr lang="en-US" noProof="0" dirty="0"/>
              <a:t>Insert your picture here</a:t>
            </a:r>
          </a:p>
        </p:txBody>
      </p:sp>
      <p:sp>
        <p:nvSpPr>
          <p:cNvPr id="17" name="Text Placeholder 68"/>
          <p:cNvSpPr>
            <a:spLocks noGrp="1"/>
          </p:cNvSpPr>
          <p:nvPr>
            <p:ph type="body" sz="quarter" idx="23" hasCustomPrompt="1"/>
          </p:nvPr>
        </p:nvSpPr>
        <p:spPr>
          <a:xfrm>
            <a:off x="5759505" y="1091922"/>
            <a:ext cx="1388744"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6E6E6"/>
          </a:solidFill>
        </p:spPr>
        <p:txBody>
          <a:bodyPr wrap="square" tIns="864000">
            <a:noAutofit/>
          </a:bodyPr>
          <a:lstStyle>
            <a:lvl1pPr marL="0" indent="0" algn="ctr">
              <a:lnSpc>
                <a:spcPct val="50000"/>
              </a:lnSpc>
              <a:spcBef>
                <a:spcPts val="450"/>
              </a:spcBef>
              <a:buNone/>
              <a:defRPr sz="1200" baseline="0">
                <a:solidFill>
                  <a:schemeClr val="accent1"/>
                </a:solidFill>
              </a:defRPr>
            </a:lvl1pPr>
            <a:lvl2pPr algn="ctr">
              <a:defRPr/>
            </a:lvl2pPr>
          </a:lstStyle>
          <a:p>
            <a:pPr lvl="0"/>
            <a:r>
              <a:rPr lang="en-US" noProof="0" dirty="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accent1"/>
                </a:solidFill>
              </a:defRPr>
            </a:lvl1pPr>
          </a:lstStyle>
          <a:p>
            <a:pPr lvl="0"/>
            <a:r>
              <a:rPr lang="en-US" noProof="0" dirty="0"/>
              <a:t>Numb</a:t>
            </a:r>
          </a:p>
        </p:txBody>
      </p:sp>
      <p:sp>
        <p:nvSpPr>
          <p:cNvPr id="19" name="Text Placeholder 71"/>
          <p:cNvSpPr>
            <a:spLocks noGrp="1"/>
          </p:cNvSpPr>
          <p:nvPr>
            <p:ph type="body" sz="quarter" idx="25" hasCustomPrompt="1"/>
          </p:nvPr>
        </p:nvSpPr>
        <p:spPr>
          <a:xfrm>
            <a:off x="6415026" y="3686660"/>
            <a:ext cx="2068498" cy="2142336"/>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US" noProof="0" dirty="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US" noProof="0" dirty="0"/>
              <a:t>Numb</a:t>
            </a:r>
          </a:p>
        </p:txBody>
      </p:sp>
      <p:sp>
        <p:nvSpPr>
          <p:cNvPr id="21" name="Text Placeholder 73"/>
          <p:cNvSpPr>
            <a:spLocks noGrp="1"/>
          </p:cNvSpPr>
          <p:nvPr>
            <p:ph type="body" sz="quarter" idx="27" hasCustomPrompt="1"/>
          </p:nvPr>
        </p:nvSpPr>
        <p:spPr>
          <a:xfrm>
            <a:off x="8897242" y="3533043"/>
            <a:ext cx="1375616" cy="1424721"/>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US" noProof="0" dirty="0"/>
              <a:t>Click to edit</a:t>
            </a:r>
          </a:p>
        </p:txBody>
      </p:sp>
      <p:sp>
        <p:nvSpPr>
          <p:cNvPr id="22" name="Text Placeholder 70"/>
          <p:cNvSpPr>
            <a:spLocks noGrp="1"/>
          </p:cNvSpPr>
          <p:nvPr>
            <p:ph type="body" sz="quarter" idx="28" hasCustomPrompt="1"/>
          </p:nvPr>
        </p:nvSpPr>
        <p:spPr>
          <a:xfrm>
            <a:off x="8950110" y="4001070"/>
            <a:ext cx="1266262" cy="414083"/>
          </a:xfrm>
          <a:prstGeom prst="rect">
            <a:avLst/>
          </a:prstGeom>
        </p:spPr>
        <p:txBody>
          <a:bodyPr>
            <a:noAutofit/>
          </a:bodyPr>
          <a:lstStyle>
            <a:lvl1pPr marL="0" indent="0" algn="ctr">
              <a:buNone/>
              <a:defRPr sz="2700">
                <a:solidFill>
                  <a:schemeClr val="bg1"/>
                </a:solidFill>
              </a:defRPr>
            </a:lvl1pPr>
          </a:lstStyle>
          <a:p>
            <a:pPr lvl="0"/>
            <a:r>
              <a:rPr lang="en-US" noProof="0" dirty="0"/>
              <a:t>Numb</a:t>
            </a:r>
          </a:p>
        </p:txBody>
      </p:sp>
      <p:sp>
        <p:nvSpPr>
          <p:cNvPr id="26" name="Text Placeholder 75"/>
          <p:cNvSpPr>
            <a:spLocks noGrp="1"/>
          </p:cNvSpPr>
          <p:nvPr>
            <p:ph type="body" sz="quarter" idx="29" hasCustomPrompt="1"/>
          </p:nvPr>
        </p:nvSpPr>
        <p:spPr>
          <a:xfrm>
            <a:off x="10520740" y="4644293"/>
            <a:ext cx="998726" cy="103437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4"/>
          </a:solidFill>
        </p:spPr>
        <p:txBody>
          <a:bodyPr wrap="square" tIns="684000">
            <a:noAutofit/>
          </a:bodyPr>
          <a:lstStyle>
            <a:lvl1pPr marL="0" indent="0" algn="ctr">
              <a:lnSpc>
                <a:spcPct val="50000"/>
              </a:lnSpc>
              <a:spcBef>
                <a:spcPts val="450"/>
              </a:spcBef>
              <a:buNone/>
              <a:defRPr sz="1050" baseline="0">
                <a:solidFill>
                  <a:schemeClr val="tx2"/>
                </a:solidFill>
              </a:defRPr>
            </a:lvl1pPr>
            <a:lvl2pPr algn="ctr">
              <a:defRPr/>
            </a:lvl2pPr>
          </a:lstStyle>
          <a:p>
            <a:pPr lvl="0"/>
            <a:r>
              <a:rPr lang="en-US" noProof="0" dirty="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tx2"/>
                </a:solidFill>
              </a:defRPr>
            </a:lvl1pPr>
          </a:lstStyle>
          <a:p>
            <a:pPr lvl="0"/>
            <a:r>
              <a:rPr lang="en-US" noProof="0" dirty="0"/>
              <a:t>Numb</a:t>
            </a:r>
          </a:p>
        </p:txBody>
      </p:sp>
    </p:spTree>
    <p:extLst>
      <p:ext uri="{BB962C8B-B14F-4D97-AF65-F5344CB8AC3E}">
        <p14:creationId xmlns:p14="http://schemas.microsoft.com/office/powerpoint/2010/main" val="96367488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5" name="Title 1"/>
          <p:cNvSpPr>
            <a:spLocks noGrp="1"/>
          </p:cNvSpPr>
          <p:nvPr>
            <p:ph type="title"/>
          </p:nvPr>
        </p:nvSpPr>
        <p:spPr>
          <a:xfrm>
            <a:off x="268223" y="296865"/>
            <a:ext cx="1051859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7" name="Text Placeholder 19"/>
          <p:cNvSpPr>
            <a:spLocks noGrp="1"/>
          </p:cNvSpPr>
          <p:nvPr>
            <p:ph type="body" sz="quarter" idx="13"/>
          </p:nvPr>
        </p:nvSpPr>
        <p:spPr>
          <a:xfrm>
            <a:off x="268223" y="779414"/>
            <a:ext cx="10495600" cy="376146"/>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30894554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with photo l">
    <p:bg>
      <p:bgPr>
        <a:solidFill>
          <a:schemeClr val="bg1"/>
        </a:solidFill>
        <a:effectLst/>
      </p:bgPr>
    </p:bg>
    <p:spTree>
      <p:nvGrpSpPr>
        <p:cNvPr id="1" name=""/>
        <p:cNvGrpSpPr/>
        <p:nvPr/>
      </p:nvGrpSpPr>
      <p:grpSpPr>
        <a:xfrm>
          <a:off x="0" y="0"/>
          <a:ext cx="0" cy="0"/>
          <a:chOff x="0" y="0"/>
          <a:chExt cx="0" cy="0"/>
        </a:xfrm>
      </p:grpSpPr>
      <p:sp>
        <p:nvSpPr>
          <p:cNvPr id="15" name="Marcador de texto 2">
            <a:extLst>
              <a:ext uri="{FF2B5EF4-FFF2-40B4-BE49-F238E27FC236}">
                <a16:creationId xmlns:a16="http://schemas.microsoft.com/office/drawing/2014/main" id="{18BA34A9-2B25-440D-B01C-CABB6046301F}"/>
              </a:ext>
            </a:extLst>
          </p:cNvPr>
          <p:cNvSpPr>
            <a:spLocks noGrp="1"/>
          </p:cNvSpPr>
          <p:nvPr>
            <p:ph type="body" sz="quarter" idx="18" hasCustomPrompt="1"/>
          </p:nvPr>
        </p:nvSpPr>
        <p:spPr>
          <a:xfrm>
            <a:off x="821988" y="1764383"/>
            <a:ext cx="10699031"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5" name="Title 1">
            <a:extLst>
              <a:ext uri="{FF2B5EF4-FFF2-40B4-BE49-F238E27FC236}">
                <a16:creationId xmlns:a16="http://schemas.microsoft.com/office/drawing/2014/main" id="{5BE0BA37-167F-48E0-A9FB-C18FCCE8B1D1}"/>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6" name="Text Placeholder 19">
            <a:extLst>
              <a:ext uri="{FF2B5EF4-FFF2-40B4-BE49-F238E27FC236}">
                <a16:creationId xmlns:a16="http://schemas.microsoft.com/office/drawing/2014/main" id="{5DE8BFF6-7E33-45B5-BFAA-82DA1C726F3F}"/>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0841902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7"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1"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90926650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US" noProof="0" dirty="0"/>
              <a:t>Title </a:t>
            </a:r>
          </a:p>
        </p:txBody>
      </p:sp>
      <p:sp>
        <p:nvSpPr>
          <p:cNvPr id="18" name="Content Placeholder 2"/>
          <p:cNvSpPr>
            <a:spLocks noGrp="1"/>
          </p:cNvSpPr>
          <p:nvPr>
            <p:ph idx="24" hasCustomPrompt="1"/>
          </p:nvPr>
        </p:nvSpPr>
        <p:spPr>
          <a:xfrm>
            <a:off x="8704890" y="4175599"/>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1" name="Text Placeholder 23"/>
          <p:cNvSpPr>
            <a:spLocks noGrp="1"/>
          </p:cNvSpPr>
          <p:nvPr>
            <p:ph type="body" sz="quarter" idx="25"/>
          </p:nvPr>
        </p:nvSpPr>
        <p:spPr>
          <a:xfrm>
            <a:off x="8702635" y="4697061"/>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4" name="Content Placeholder 2"/>
          <p:cNvSpPr>
            <a:spLocks noGrp="1"/>
          </p:cNvSpPr>
          <p:nvPr>
            <p:ph idx="28" hasCustomPrompt="1"/>
          </p:nvPr>
        </p:nvSpPr>
        <p:spPr>
          <a:xfrm>
            <a:off x="320948" y="4228531"/>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5" name="Text Placeholder 23"/>
          <p:cNvSpPr>
            <a:spLocks noGrp="1"/>
          </p:cNvSpPr>
          <p:nvPr>
            <p:ph type="body" sz="quarter" idx="29"/>
          </p:nvPr>
        </p:nvSpPr>
        <p:spPr>
          <a:xfrm>
            <a:off x="318700"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6"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9"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Tree>
    <p:extLst>
      <p:ext uri="{BB962C8B-B14F-4D97-AF65-F5344CB8AC3E}">
        <p14:creationId xmlns:p14="http://schemas.microsoft.com/office/powerpoint/2010/main" val="409507381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9" name="Marcador de texto 4"/>
          <p:cNvSpPr>
            <a:spLocks noGrp="1"/>
          </p:cNvSpPr>
          <p:nvPr>
            <p:ph type="body" sz="quarter" idx="36" hasCustomPrompt="1"/>
          </p:nvPr>
        </p:nvSpPr>
        <p:spPr>
          <a:xfrm>
            <a:off x="1307634" y="2847398"/>
            <a:ext cx="1255923" cy="973138"/>
          </a:xfrm>
          <a:prstGeom prst="rect">
            <a:avLst/>
          </a:prstGeom>
        </p:spPr>
        <p:txBody>
          <a:bodyPr>
            <a:normAutofit/>
          </a:bodyPr>
          <a:lstStyle>
            <a:lvl1pPr marL="0" indent="0" algn="ctr">
              <a:buNone/>
              <a:defRPr sz="4500">
                <a:solidFill>
                  <a:schemeClr val="tx2"/>
                </a:solidFill>
              </a:defRPr>
            </a:lvl1pPr>
          </a:lstStyle>
          <a:p>
            <a:pPr lvl="0"/>
            <a:r>
              <a:rPr lang="en-US" noProof="0" dirty="0"/>
              <a:t>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2" name="Marcador de texto 4"/>
          <p:cNvSpPr>
            <a:spLocks noGrp="1"/>
          </p:cNvSpPr>
          <p:nvPr>
            <p:ph type="body" sz="quarter" idx="39" hasCustomPrompt="1"/>
          </p:nvPr>
        </p:nvSpPr>
        <p:spPr>
          <a:xfrm>
            <a:off x="4117730"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5" name="Marcador de texto 4"/>
          <p:cNvSpPr>
            <a:spLocks noGrp="1"/>
          </p:cNvSpPr>
          <p:nvPr>
            <p:ph type="body" sz="quarter" idx="42" hasCustomPrompt="1"/>
          </p:nvPr>
        </p:nvSpPr>
        <p:spPr>
          <a:xfrm>
            <a:off x="6911748"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8" name="Marcador de texto 4"/>
          <p:cNvSpPr>
            <a:spLocks noGrp="1"/>
          </p:cNvSpPr>
          <p:nvPr>
            <p:ph type="body" sz="quarter" idx="45" hasCustomPrompt="1"/>
          </p:nvPr>
        </p:nvSpPr>
        <p:spPr>
          <a:xfrm>
            <a:off x="9736687"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23"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4"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Tree>
    <p:extLst>
      <p:ext uri="{BB962C8B-B14F-4D97-AF65-F5344CB8AC3E}">
        <p14:creationId xmlns:p14="http://schemas.microsoft.com/office/powerpoint/2010/main" val="405664643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25"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9"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2774166995"/>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5"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US" noProof="0" dirty="0"/>
              <a:t>     </a:t>
            </a:r>
            <a:br>
              <a:rPr lang="en-US" noProof="0" dirty="0"/>
            </a:br>
            <a:br>
              <a:rPr lang="en-US" noProof="0" dirty="0"/>
            </a:br>
            <a:r>
              <a:rPr lang="en-US" noProof="0" dirty="0"/>
              <a:t> Insert your picture here</a:t>
            </a:r>
          </a:p>
        </p:txBody>
      </p:sp>
    </p:spTree>
    <p:extLst>
      <p:ext uri="{BB962C8B-B14F-4D97-AF65-F5344CB8AC3E}">
        <p14:creationId xmlns:p14="http://schemas.microsoft.com/office/powerpoint/2010/main" val="284269953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aseline="0">
                <a:solidFill>
                  <a:schemeClr val="accent2"/>
                </a:solidFill>
              </a:defRPr>
            </a:lvl1pPr>
          </a:lstStyle>
          <a:p>
            <a:pPr lvl="0"/>
            <a:r>
              <a:rPr lang="en-US" noProof="0" dirty="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800" baseline="0">
                <a:solidFill>
                  <a:schemeClr val="accent2"/>
                </a:solidFill>
              </a:defRPr>
            </a:lvl1pPr>
          </a:lstStyle>
          <a:p>
            <a:pPr lvl="0"/>
            <a:r>
              <a:rPr lang="en-US" noProof="0" dirty="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aseline="0">
                <a:solidFill>
                  <a:schemeClr val="accent2"/>
                </a:solidFill>
              </a:defRPr>
            </a:lvl1pPr>
          </a:lstStyle>
          <a:p>
            <a:pPr lvl="0"/>
            <a:r>
              <a:rPr lang="en-US" noProof="0" dirty="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400">
                <a:solidFill>
                  <a:srgbClr val="323232"/>
                </a:solidFill>
              </a:defRPr>
            </a:lvl1pPr>
            <a:lvl2pPr marL="538163" indent="-139700">
              <a:lnSpc>
                <a:spcPct val="100000"/>
              </a:lnSpc>
              <a:defRPr sz="2400">
                <a:solidFill>
                  <a:srgbClr val="323232"/>
                </a:solidFill>
              </a:defRPr>
            </a:lvl2pPr>
            <a:lvl3pPr marL="985838" indent="-138113">
              <a:lnSpc>
                <a:spcPct val="100000"/>
              </a:lnSpc>
              <a:defRPr sz="2400">
                <a:solidFill>
                  <a:srgbClr val="323232"/>
                </a:solidFill>
              </a:defRPr>
            </a:lvl3pPr>
            <a:lvl4pPr>
              <a:lnSpc>
                <a:spcPct val="100000"/>
              </a:lnSpc>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400">
                <a:solidFill>
                  <a:srgbClr val="323232"/>
                </a:solidFill>
              </a:defRPr>
            </a:lvl2pPr>
            <a:lvl3pPr marL="1076325" indent="-161925">
              <a:lnSpc>
                <a:spcPct val="100000"/>
              </a:lnSpc>
              <a:defRPr sz="2400">
                <a:solidFill>
                  <a:srgbClr val="323232"/>
                </a:solidFill>
              </a:defRPr>
            </a:lvl3pPr>
            <a:lvl4pPr>
              <a:lnSpc>
                <a:spcPct val="100000"/>
              </a:lnSpc>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000">
                <a:solidFill>
                  <a:srgbClr val="323232"/>
                </a:solidFill>
              </a:defRPr>
            </a:lvl2pPr>
            <a:lvl3pPr marL="1076325" indent="-228600">
              <a:lnSpc>
                <a:spcPct val="100000"/>
              </a:lnSpc>
              <a:defRPr sz="1600">
                <a:solidFill>
                  <a:srgbClr val="323232"/>
                </a:solidFill>
              </a:defRPr>
            </a:lvl3pPr>
            <a:lvl4pPr marL="1371600" indent="0">
              <a:lnSpc>
                <a:spcPct val="100000"/>
              </a:lnSpc>
              <a:buNone/>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4"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369875809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9" name="Title 1"/>
          <p:cNvSpPr>
            <a:spLocks noGrp="1"/>
          </p:cNvSpPr>
          <p:nvPr>
            <p:ph type="title"/>
          </p:nvPr>
        </p:nvSpPr>
        <p:spPr>
          <a:xfrm>
            <a:off x="268224" y="296865"/>
            <a:ext cx="10915493"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Tree>
    <p:extLst>
      <p:ext uri="{BB962C8B-B14F-4D97-AF65-F5344CB8AC3E}">
        <p14:creationId xmlns:p14="http://schemas.microsoft.com/office/powerpoint/2010/main" val="24242600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n-US" sz="1350" dirty="0"/>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a:t>You can follow us on:</a:t>
            </a:r>
            <a:br>
              <a:rPr lang="en-US" noProof="0" dirty="0"/>
            </a:br>
            <a:endParaRPr lang="en-US"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err="1"/>
              <a:t>AmadeusITgroup</a:t>
            </a:r>
            <a:endParaRPr lang="en-US" noProof="0" dirty="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a:t>amadeus.com</a:t>
            </a:r>
            <a:br>
              <a:rPr lang="en-US" noProof="0" dirty="0"/>
            </a:br>
            <a:r>
              <a:rPr lang="en-US"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47302729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ank you slide ll">
    <p:bg>
      <p:bgPr>
        <a:solidFill>
          <a:schemeClr val="tx2"/>
        </a:solidFill>
        <a:effectLst/>
      </p:bgPr>
    </p:bg>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a:gsLst>
              <a:gs pos="0">
                <a:schemeClr val="accent1"/>
              </a:gs>
              <a:gs pos="100000">
                <a:schemeClr val="accent2"/>
              </a:gs>
            </a:gsLst>
            <a:lin ang="5400000" scaled="1"/>
          </a:gradFill>
          <a:ln>
            <a:noFill/>
          </a:ln>
        </p:spPr>
        <p:txBody>
          <a:bodyPr vert="horz" wrap="square" lIns="189000" tIns="378000" rIns="108000" bIns="34290" numCol="1" anchor="ctr" anchorCtr="0" compatLnSpc="1">
            <a:prstTxWarp prst="textNoShape">
              <a:avLst/>
            </a:prstTxWarp>
          </a:bodyPr>
          <a:lstStyle/>
          <a:p>
            <a:pPr lvl="0" algn="ctr">
              <a:lnSpc>
                <a:spcPts val="3075"/>
              </a:lnSpc>
            </a:pPr>
            <a:endParaRPr lang="en-US" sz="3300" dirty="0">
              <a:solidFill>
                <a:schemeClr val="bg1"/>
              </a:solidFill>
              <a:latin typeface="+mj-lt"/>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n-US" sz="1350" dirty="0"/>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endParaRPr lang="en-US" noProof="0" dirty="0"/>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a:t>You can follow us on:</a:t>
            </a:r>
            <a:br>
              <a:rPr lang="en-US" noProof="0" dirty="0"/>
            </a:br>
            <a:endParaRPr lang="en-US" noProof="0" dirty="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err="1"/>
              <a:t>AmadeusITgroup</a:t>
            </a:r>
            <a:endParaRPr lang="en-US" noProof="0" dirty="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dirty="0"/>
              <a:t>amadeus.com</a:t>
            </a:r>
            <a:br>
              <a:rPr lang="en-US" noProof="0" dirty="0"/>
            </a:br>
            <a:r>
              <a:rPr lang="en-US" noProof="0" dirty="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5"/>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9"/>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0"/>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5"/>
          <p:cNvSpPr>
            <a:spLocks noEditPoints="1"/>
          </p:cNvSpPr>
          <p:nvPr userDrawn="1"/>
        </p:nvSpPr>
        <p:spPr bwMode="auto">
          <a:xfrm>
            <a:off x="11584711" y="6520314"/>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3834845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US" noProof="0" dirty="0"/>
              <a:t>Insert your photo</a:t>
            </a:r>
          </a:p>
        </p:txBody>
      </p:sp>
    </p:spTree>
    <p:extLst>
      <p:ext uri="{BB962C8B-B14F-4D97-AF65-F5344CB8AC3E}">
        <p14:creationId xmlns:p14="http://schemas.microsoft.com/office/powerpoint/2010/main" val="5963438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4B98AE-FDF8-4240-819C-9B167684D7D0}"/>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0" name="Text Placeholder 19">
            <a:extLst>
              <a:ext uri="{FF2B5EF4-FFF2-40B4-BE49-F238E27FC236}">
                <a16:creationId xmlns:a16="http://schemas.microsoft.com/office/drawing/2014/main" id="{4C5046C4-C38D-40FA-B358-CAB4EAC3AAB5}"/>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82427575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US" noProof="0" dirty="0"/>
              <a:t>     </a:t>
            </a:r>
            <a:br>
              <a:rPr lang="en-US" noProof="0" dirty="0"/>
            </a:br>
            <a:br>
              <a:rPr lang="en-US" noProof="0" dirty="0"/>
            </a:br>
            <a:r>
              <a:rPr lang="en-US" noProof="0" dirty="0"/>
              <a:t> Insert your picture here</a:t>
            </a:r>
          </a:p>
        </p:txBody>
      </p:sp>
    </p:spTree>
    <p:extLst>
      <p:ext uri="{BB962C8B-B14F-4D97-AF65-F5344CB8AC3E}">
        <p14:creationId xmlns:p14="http://schemas.microsoft.com/office/powerpoint/2010/main" val="15557904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US" noProof="0" dirty="0"/>
              <a:t>Insert your photo</a:t>
            </a:r>
          </a:p>
        </p:txBody>
      </p:sp>
    </p:spTree>
    <p:extLst>
      <p:ext uri="{BB962C8B-B14F-4D97-AF65-F5344CB8AC3E}">
        <p14:creationId xmlns:p14="http://schemas.microsoft.com/office/powerpoint/2010/main" val="360335265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EA8F8-6597-4A8A-8BF9-40D9C7D532EC}"/>
              </a:ext>
            </a:extLst>
          </p:cNvPr>
          <p:cNvSpPr>
            <a:spLocks noGrp="1"/>
          </p:cNvSpPr>
          <p:nvPr>
            <p:ph type="dt" sz="half" idx="10"/>
          </p:nvPr>
        </p:nvSpPr>
        <p:spPr/>
        <p:txBody>
          <a:bodyPr/>
          <a:lstStyle/>
          <a:p>
            <a:fld id="{FCD5C9A9-EAFE-49D2-A102-34D96C585CBF}" type="datetimeFigureOut">
              <a:rPr lang="en-US" smtClean="0"/>
              <a:t>9/23/2023</a:t>
            </a:fld>
            <a:endParaRPr lang="en-US"/>
          </a:p>
        </p:txBody>
      </p:sp>
      <p:sp>
        <p:nvSpPr>
          <p:cNvPr id="3" name="Footer Placeholder 2">
            <a:extLst>
              <a:ext uri="{FF2B5EF4-FFF2-40B4-BE49-F238E27FC236}">
                <a16:creationId xmlns:a16="http://schemas.microsoft.com/office/drawing/2014/main" id="{1F6D557B-B70C-47F2-B4D3-6A048A8363E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44F9C0-8966-432F-8348-02AA6846100A}"/>
              </a:ext>
            </a:extLst>
          </p:cNvPr>
          <p:cNvSpPr>
            <a:spLocks noGrp="1"/>
          </p:cNvSpPr>
          <p:nvPr>
            <p:ph type="sldNum" sz="quarter" idx="12"/>
          </p:nvPr>
        </p:nvSpPr>
        <p:spPr/>
        <p:txBody>
          <a:bodyPr/>
          <a:lstStyle/>
          <a:p>
            <a:fld id="{636C7718-9C66-4956-BC51-A6DE18AEFE82}" type="slidenum">
              <a:rPr lang="en-US" smtClean="0"/>
              <a:t>‹#›</a:t>
            </a:fld>
            <a:endParaRPr lang="en-US"/>
          </a:p>
        </p:txBody>
      </p:sp>
    </p:spTree>
    <p:extLst>
      <p:ext uri="{BB962C8B-B14F-4D97-AF65-F5344CB8AC3E}">
        <p14:creationId xmlns:p14="http://schemas.microsoft.com/office/powerpoint/2010/main" val="337838226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C6611-2D8E-776F-88BD-A0E585CDFA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089B5-DB84-D66F-4939-97FEDF5F4D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F788DD-55BA-A72A-132B-70C950EC75C3}"/>
              </a:ext>
            </a:extLst>
          </p:cNvPr>
          <p:cNvSpPr>
            <a:spLocks noGrp="1"/>
          </p:cNvSpPr>
          <p:nvPr>
            <p:ph type="dt" sz="half" idx="10"/>
          </p:nvPr>
        </p:nvSpPr>
        <p:spPr/>
        <p:txBody>
          <a:bodyPr/>
          <a:lstStyle/>
          <a:p>
            <a:fld id="{E79D16AE-6958-404C-AD20-C7F028D19947}" type="datetimeFigureOut">
              <a:rPr lang="en-US" smtClean="0"/>
              <a:t>9/23/2023</a:t>
            </a:fld>
            <a:endParaRPr lang="en-US"/>
          </a:p>
        </p:txBody>
      </p:sp>
      <p:sp>
        <p:nvSpPr>
          <p:cNvPr id="5" name="Footer Placeholder 4">
            <a:extLst>
              <a:ext uri="{FF2B5EF4-FFF2-40B4-BE49-F238E27FC236}">
                <a16:creationId xmlns:a16="http://schemas.microsoft.com/office/drawing/2014/main" id="{E8EA044D-6781-17BE-EA3C-56C949AFA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AE057-0537-A19F-F50A-F1BD8CB15634}"/>
              </a:ext>
            </a:extLst>
          </p:cNvPr>
          <p:cNvSpPr>
            <a:spLocks noGrp="1"/>
          </p:cNvSpPr>
          <p:nvPr>
            <p:ph type="sldNum" sz="quarter" idx="12"/>
          </p:nvPr>
        </p:nvSpPr>
        <p:spPr/>
        <p:txBody>
          <a:bodyPr/>
          <a:lstStyle/>
          <a:p>
            <a:fld id="{5529B4C6-19DB-2846-8475-5ADFCA899EEA}" type="slidenum">
              <a:rPr lang="en-US" smtClean="0"/>
              <a:t>‹#›</a:t>
            </a:fld>
            <a:endParaRPr lang="en-US"/>
          </a:p>
        </p:txBody>
      </p:sp>
    </p:spTree>
    <p:extLst>
      <p:ext uri="{BB962C8B-B14F-4D97-AF65-F5344CB8AC3E}">
        <p14:creationId xmlns:p14="http://schemas.microsoft.com/office/powerpoint/2010/main" val="3297274423"/>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45038036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tx2"/>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80177038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Cover with photo background l">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98463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0" name="Freeform 5">
            <a:extLst>
              <a:ext uri="{FF2B5EF4-FFF2-40B4-BE49-F238E27FC236}">
                <a16:creationId xmlns:a16="http://schemas.microsoft.com/office/drawing/2014/main" id="{CB8B61E2-F248-4CDF-9AE7-8F4BCEB1A5CA}"/>
              </a:ext>
            </a:extLst>
          </p:cNvPr>
          <p:cNvSpPr>
            <a:spLocks noEditPoints="1"/>
          </p:cNvSpPr>
          <p:nvPr userDrawn="1"/>
        </p:nvSpPr>
        <p:spPr bwMode="auto">
          <a:xfrm>
            <a:off x="10554902" y="39125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s-ES">
              <a:latin typeface="Amadeus" panose="02000506020000020004" pitchFamily="50" charset="0"/>
            </a:endParaRPr>
          </a:p>
        </p:txBody>
      </p:sp>
    </p:spTree>
    <p:extLst>
      <p:ext uri="{BB962C8B-B14F-4D97-AF65-F5344CB8AC3E}">
        <p14:creationId xmlns:p14="http://schemas.microsoft.com/office/powerpoint/2010/main" val="334387160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Img Bullet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4CC959-2D62-41F8-B6AC-D00569305C46}"/>
              </a:ext>
            </a:extLst>
          </p:cNvPr>
          <p:cNvSpPr>
            <a:spLocks noGrp="1"/>
          </p:cNvSpPr>
          <p:nvPr>
            <p:ph type="title" hasCustomPrompt="1"/>
          </p:nvPr>
        </p:nvSpPr>
        <p:spPr>
          <a:xfrm>
            <a:off x="625971" y="453729"/>
            <a:ext cx="11083429" cy="482549"/>
          </a:xfrm>
        </p:spPr>
        <p:txBody>
          <a:bodyPr anchor="t">
            <a:noAutofit/>
          </a:bodyPr>
          <a:lstStyle>
            <a:lvl1pPr>
              <a:defRPr sz="4000" b="0" i="0">
                <a:gradFill flip="none" rotWithShape="1">
                  <a:gsLst>
                    <a:gs pos="0">
                      <a:srgbClr val="004482"/>
                    </a:gs>
                    <a:gs pos="100000">
                      <a:srgbClr val="0489CB"/>
                    </a:gs>
                  </a:gsLst>
                  <a:lin ang="0" scaled="0"/>
                  <a:tileRect/>
                </a:gradFill>
                <a:latin typeface="Calibri Light" panose="020F0302020204030204" pitchFamily="34" charset="0"/>
                <a:cs typeface="Calibri Light" panose="020F0302020204030204" pitchFamily="34" charset="0"/>
              </a:defRPr>
            </a:lvl1pPr>
          </a:lstStyle>
          <a:p>
            <a:r>
              <a:rPr lang="en-US" noProof="0"/>
              <a:t>Click to Edit Master Title Style</a:t>
            </a:r>
            <a:endParaRPr lang="en-GB" noProof="0"/>
          </a:p>
        </p:txBody>
      </p:sp>
      <p:sp>
        <p:nvSpPr>
          <p:cNvPr id="47" name="Text Placeholder 19">
            <a:extLst>
              <a:ext uri="{FF2B5EF4-FFF2-40B4-BE49-F238E27FC236}">
                <a16:creationId xmlns:a16="http://schemas.microsoft.com/office/drawing/2014/main" id="{4A51BB75-7413-4911-9792-8851087FFC0D}"/>
              </a:ext>
            </a:extLst>
          </p:cNvPr>
          <p:cNvSpPr>
            <a:spLocks noGrp="1"/>
          </p:cNvSpPr>
          <p:nvPr>
            <p:ph type="body" sz="quarter" idx="26" hasCustomPrompt="1"/>
          </p:nvPr>
        </p:nvSpPr>
        <p:spPr>
          <a:xfrm>
            <a:off x="625971" y="1053235"/>
            <a:ext cx="11059197" cy="468000"/>
          </a:xfrm>
          <a:prstGeom prst="rect">
            <a:avLst/>
          </a:prstGeom>
        </p:spPr>
        <p:txBody>
          <a:bodyPr>
            <a:noAutofit/>
          </a:bodyPr>
          <a:lstStyle>
            <a:lvl1pPr marL="0" indent="0">
              <a:lnSpc>
                <a:spcPct val="100000"/>
              </a:lnSpc>
              <a:buNone/>
              <a:defRPr sz="2200" b="0" i="0">
                <a:solidFill>
                  <a:schemeClr val="bg1">
                    <a:lumMod val="50000"/>
                  </a:schemeClr>
                </a:solidFill>
                <a:latin typeface="Calibri Light" panose="020F0302020204030204" pitchFamily="34" charset="0"/>
                <a:cs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Edit Master Text Styles</a:t>
            </a:r>
          </a:p>
        </p:txBody>
      </p:sp>
      <p:sp>
        <p:nvSpPr>
          <p:cNvPr id="18" name="Marcador de texto 2">
            <a:extLst>
              <a:ext uri="{FF2B5EF4-FFF2-40B4-BE49-F238E27FC236}">
                <a16:creationId xmlns:a16="http://schemas.microsoft.com/office/drawing/2014/main" id="{DF8D28A9-9F2E-47FB-95E5-0C0898457A77}"/>
              </a:ext>
            </a:extLst>
          </p:cNvPr>
          <p:cNvSpPr>
            <a:spLocks noGrp="1"/>
          </p:cNvSpPr>
          <p:nvPr>
            <p:ph type="body" sz="quarter" idx="28" hasCustomPrompt="1"/>
          </p:nvPr>
        </p:nvSpPr>
        <p:spPr>
          <a:xfrm>
            <a:off x="625971" y="2022263"/>
            <a:ext cx="6380310" cy="4374268"/>
          </a:xfrm>
          <a:prstGeom prst="rect">
            <a:avLst/>
          </a:prstGeom>
        </p:spPr>
        <p:txBody>
          <a:bodyPr>
            <a:normAutofit/>
          </a:bodyPr>
          <a:lstStyle>
            <a:lvl1pPr marL="457200" indent="-457200">
              <a:lnSpc>
                <a:spcPct val="100000"/>
              </a:lnSpc>
              <a:buClrTx/>
              <a:buFont typeface="Roboto Light" panose="02000000000000000000" pitchFamily="2" charset="0"/>
              <a:buChar char="_"/>
              <a:defRPr sz="2000" baseline="0">
                <a:solidFill>
                  <a:schemeClr val="bg1">
                    <a:lumMod val="50000"/>
                  </a:schemeClr>
                </a:solidFill>
                <a:latin typeface="Amadeus Thin" panose="02000506040000020004" pitchFamily="50" charset="0"/>
              </a:defRPr>
            </a:lvl1pPr>
            <a:lvl2pPr marL="800100" indent="-342900">
              <a:lnSpc>
                <a:spcPct val="100000"/>
              </a:lnSpc>
              <a:buClrTx/>
              <a:buFont typeface="Arial" panose="020B0604020202020204" pitchFamily="34" charset="0"/>
              <a:buChar char="•"/>
              <a:defRPr sz="1800" baseline="0">
                <a:solidFill>
                  <a:schemeClr val="bg1">
                    <a:lumMod val="50000"/>
                  </a:schemeClr>
                </a:solidFill>
                <a:latin typeface="Amadeus Thin" panose="02000506040000020004" pitchFamily="50" charset="0"/>
              </a:defRPr>
            </a:lvl2pPr>
            <a:lvl3pPr marL="1257300" indent="-342900">
              <a:lnSpc>
                <a:spcPct val="100000"/>
              </a:lnSpc>
              <a:buClrTx/>
              <a:buFont typeface="Arial" panose="020B0604020202020204" pitchFamily="34" charset="0"/>
              <a:buChar char="•"/>
              <a:defRPr sz="1600" baseline="0">
                <a:solidFill>
                  <a:schemeClr val="bg1">
                    <a:lumMod val="50000"/>
                  </a:schemeClr>
                </a:solidFill>
                <a:latin typeface="Amadeus Thin" panose="02000506040000020004" pitchFamily="50" charset="0"/>
              </a:defRPr>
            </a:lvl3pPr>
            <a:lvl4pPr marL="1657350" indent="-285750">
              <a:lnSpc>
                <a:spcPct val="100000"/>
              </a:lnSpc>
              <a:buClrTx/>
              <a:buFont typeface="Arial" panose="020B0604020202020204" pitchFamily="34" charset="0"/>
              <a:buChar char="•"/>
              <a:defRPr sz="1400" baseline="0">
                <a:solidFill>
                  <a:schemeClr val="bg1">
                    <a:lumMod val="50000"/>
                  </a:schemeClr>
                </a:solidFill>
                <a:latin typeface="Amadeus Thin" panose="02000506040000020004" pitchFamily="50" charset="0"/>
              </a:defRPr>
            </a:lvl4pPr>
            <a:lvl5pPr marL="2114550" indent="-285750">
              <a:lnSpc>
                <a:spcPct val="100000"/>
              </a:lnSpc>
              <a:buClrTx/>
              <a:buFont typeface="Arial" panose="020B0604020202020204" pitchFamily="34" charset="0"/>
              <a:buChar char="•"/>
              <a:defRPr sz="1200" baseline="0">
                <a:solidFill>
                  <a:schemeClr val="bg1">
                    <a:lumMod val="50000"/>
                  </a:schemeClr>
                </a:solidFill>
                <a:latin typeface="Amadeus Thin" panose="02000506040000020004" pitchFamily="50"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51227850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titleOnly">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Tree>
    <p:extLst>
      <p:ext uri="{BB962C8B-B14F-4D97-AF65-F5344CB8AC3E}">
        <p14:creationId xmlns:p14="http://schemas.microsoft.com/office/powerpoint/2010/main" val="3009418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72DA99-CEA7-43F0-9907-19F87063CA97}"/>
              </a:ext>
            </a:extLst>
          </p:cNvPr>
          <p:cNvSpPr>
            <a:spLocks noGrp="1"/>
          </p:cNvSpPr>
          <p:nvPr>
            <p:ph type="ftr" sz="quarter" idx="10"/>
          </p:nvPr>
        </p:nvSpPr>
        <p:spPr/>
        <p:txBody>
          <a:bodyPr/>
          <a:lstStyle/>
          <a:p>
            <a:r>
              <a:rPr lang="en-GB"/>
              <a:t>© Amadeus IT Group and its affiliates and subsidiaries</a:t>
            </a:r>
          </a:p>
        </p:txBody>
      </p:sp>
      <p:sp>
        <p:nvSpPr>
          <p:cNvPr id="4" name="CuadroTexto 1">
            <a:extLst>
              <a:ext uri="{FF2B5EF4-FFF2-40B4-BE49-F238E27FC236}">
                <a16:creationId xmlns:a16="http://schemas.microsoft.com/office/drawing/2014/main" id="{F8BFDAF9-F070-4B64-B981-3958E8FE6915}"/>
              </a:ext>
            </a:extLst>
          </p:cNvPr>
          <p:cNvSpPr txBox="1"/>
          <p:nvPr userDrawn="1"/>
        </p:nvSpPr>
        <p:spPr>
          <a:xfrm>
            <a:off x="842285" y="453433"/>
            <a:ext cx="4492725" cy="707886"/>
          </a:xfrm>
          <a:prstGeom prst="rect">
            <a:avLst/>
          </a:prstGeom>
          <a:noFill/>
        </p:spPr>
        <p:txBody>
          <a:bodyPr wrap="square" rtlCol="0">
            <a:spAutoFit/>
          </a:bodyPr>
          <a:lstStyle/>
          <a:p>
            <a:r>
              <a:rPr lang="en-US" sz="4000" b="1"/>
              <a:t>Agenda</a:t>
            </a:r>
            <a:endParaRPr lang="es-ES" sz="4000" b="1"/>
          </a:p>
        </p:txBody>
      </p:sp>
      <p:sp>
        <p:nvSpPr>
          <p:cNvPr id="5" name="CuadroTexto 23">
            <a:extLst>
              <a:ext uri="{FF2B5EF4-FFF2-40B4-BE49-F238E27FC236}">
                <a16:creationId xmlns:a16="http://schemas.microsoft.com/office/drawing/2014/main" id="{197C33A1-7647-4A82-B31C-3EFB6D9B0440}"/>
              </a:ext>
            </a:extLst>
          </p:cNvPr>
          <p:cNvSpPr txBox="1"/>
          <p:nvPr userDrawn="1"/>
        </p:nvSpPr>
        <p:spPr>
          <a:xfrm>
            <a:off x="6134822" y="438129"/>
            <a:ext cx="622761" cy="584775"/>
          </a:xfrm>
          <a:prstGeom prst="rect">
            <a:avLst/>
          </a:prstGeom>
          <a:noFill/>
        </p:spPr>
        <p:txBody>
          <a:bodyPr wrap="square" rtlCol="0">
            <a:spAutoFit/>
          </a:bodyPr>
          <a:lstStyle/>
          <a:p>
            <a:r>
              <a:rPr lang="en-US" sz="3200" b="1">
                <a:solidFill>
                  <a:schemeClr val="accent2"/>
                </a:solidFill>
              </a:rPr>
              <a:t>01</a:t>
            </a:r>
          </a:p>
        </p:txBody>
      </p:sp>
      <p:cxnSp>
        <p:nvCxnSpPr>
          <p:cNvPr id="6" name="Conector recto 33">
            <a:extLst>
              <a:ext uri="{FF2B5EF4-FFF2-40B4-BE49-F238E27FC236}">
                <a16:creationId xmlns:a16="http://schemas.microsoft.com/office/drawing/2014/main" id="{BAC69A5A-0F2B-47B6-B3E4-0460322F5777}"/>
              </a:ext>
            </a:extLst>
          </p:cNvPr>
          <p:cNvCxnSpPr>
            <a:cxnSpLocks/>
          </p:cNvCxnSpPr>
          <p:nvPr userDrawn="1"/>
        </p:nvCxnSpPr>
        <p:spPr>
          <a:xfrm>
            <a:off x="6134822" y="1144137"/>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uadroTexto 5">
            <a:extLst>
              <a:ext uri="{FF2B5EF4-FFF2-40B4-BE49-F238E27FC236}">
                <a16:creationId xmlns:a16="http://schemas.microsoft.com/office/drawing/2014/main" id="{0E1E9D27-DDB5-4F39-B74B-D53331456F26}"/>
              </a:ext>
            </a:extLst>
          </p:cNvPr>
          <p:cNvSpPr txBox="1"/>
          <p:nvPr userDrawn="1"/>
        </p:nvSpPr>
        <p:spPr>
          <a:xfrm>
            <a:off x="6766193" y="587944"/>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8" name="CuadroTexto 66">
            <a:extLst>
              <a:ext uri="{FF2B5EF4-FFF2-40B4-BE49-F238E27FC236}">
                <a16:creationId xmlns:a16="http://schemas.microsoft.com/office/drawing/2014/main" id="{CA5F251D-4563-442F-849E-BE5DC906F708}"/>
              </a:ext>
            </a:extLst>
          </p:cNvPr>
          <p:cNvSpPr txBox="1"/>
          <p:nvPr userDrawn="1"/>
        </p:nvSpPr>
        <p:spPr>
          <a:xfrm>
            <a:off x="6134822" y="1327720"/>
            <a:ext cx="622761" cy="584775"/>
          </a:xfrm>
          <a:prstGeom prst="rect">
            <a:avLst/>
          </a:prstGeom>
          <a:noFill/>
        </p:spPr>
        <p:txBody>
          <a:bodyPr wrap="square" rtlCol="0">
            <a:spAutoFit/>
          </a:bodyPr>
          <a:lstStyle/>
          <a:p>
            <a:r>
              <a:rPr lang="en-US" sz="3200" b="1">
                <a:solidFill>
                  <a:schemeClr val="accent2"/>
                </a:solidFill>
              </a:rPr>
              <a:t>02</a:t>
            </a:r>
          </a:p>
        </p:txBody>
      </p:sp>
      <p:cxnSp>
        <p:nvCxnSpPr>
          <p:cNvPr id="9" name="Conector recto 67">
            <a:extLst>
              <a:ext uri="{FF2B5EF4-FFF2-40B4-BE49-F238E27FC236}">
                <a16:creationId xmlns:a16="http://schemas.microsoft.com/office/drawing/2014/main" id="{BFE4B5CA-FF36-414E-B78B-039615A36219}"/>
              </a:ext>
            </a:extLst>
          </p:cNvPr>
          <p:cNvCxnSpPr>
            <a:cxnSpLocks/>
          </p:cNvCxnSpPr>
          <p:nvPr userDrawn="1"/>
        </p:nvCxnSpPr>
        <p:spPr>
          <a:xfrm>
            <a:off x="6134822" y="2017515"/>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CuadroTexto 68">
            <a:extLst>
              <a:ext uri="{FF2B5EF4-FFF2-40B4-BE49-F238E27FC236}">
                <a16:creationId xmlns:a16="http://schemas.microsoft.com/office/drawing/2014/main" id="{AC31BA57-8577-4172-8ADD-3AD0CA5B11B4}"/>
              </a:ext>
            </a:extLst>
          </p:cNvPr>
          <p:cNvSpPr txBox="1"/>
          <p:nvPr userDrawn="1"/>
        </p:nvSpPr>
        <p:spPr>
          <a:xfrm>
            <a:off x="6766193" y="1461322"/>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1" name="CuadroTexto 69">
            <a:extLst>
              <a:ext uri="{FF2B5EF4-FFF2-40B4-BE49-F238E27FC236}">
                <a16:creationId xmlns:a16="http://schemas.microsoft.com/office/drawing/2014/main" id="{B8B9A0F6-C7D6-4ECE-B83D-59F52BD8B767}"/>
              </a:ext>
            </a:extLst>
          </p:cNvPr>
          <p:cNvSpPr txBox="1"/>
          <p:nvPr userDrawn="1"/>
        </p:nvSpPr>
        <p:spPr>
          <a:xfrm>
            <a:off x="6134822" y="2326224"/>
            <a:ext cx="622761" cy="584775"/>
          </a:xfrm>
          <a:prstGeom prst="rect">
            <a:avLst/>
          </a:prstGeom>
          <a:noFill/>
        </p:spPr>
        <p:txBody>
          <a:bodyPr wrap="square" rtlCol="0">
            <a:spAutoFit/>
          </a:bodyPr>
          <a:lstStyle/>
          <a:p>
            <a:r>
              <a:rPr lang="en-US" sz="3200" b="1">
                <a:solidFill>
                  <a:schemeClr val="accent2"/>
                </a:solidFill>
              </a:rPr>
              <a:t>03</a:t>
            </a:r>
          </a:p>
        </p:txBody>
      </p:sp>
      <p:cxnSp>
        <p:nvCxnSpPr>
          <p:cNvPr id="12" name="Conector recto 70">
            <a:extLst>
              <a:ext uri="{FF2B5EF4-FFF2-40B4-BE49-F238E27FC236}">
                <a16:creationId xmlns:a16="http://schemas.microsoft.com/office/drawing/2014/main" id="{68B236D8-7B60-4BD5-A87D-6D7D764478F6}"/>
              </a:ext>
            </a:extLst>
          </p:cNvPr>
          <p:cNvCxnSpPr>
            <a:cxnSpLocks/>
          </p:cNvCxnSpPr>
          <p:nvPr userDrawn="1"/>
        </p:nvCxnSpPr>
        <p:spPr>
          <a:xfrm>
            <a:off x="6134822" y="3023310"/>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uadroTexto 71">
            <a:extLst>
              <a:ext uri="{FF2B5EF4-FFF2-40B4-BE49-F238E27FC236}">
                <a16:creationId xmlns:a16="http://schemas.microsoft.com/office/drawing/2014/main" id="{DDC504B2-10A4-4B6C-AFF9-2A5FE80614B6}"/>
              </a:ext>
            </a:extLst>
          </p:cNvPr>
          <p:cNvSpPr txBox="1"/>
          <p:nvPr userDrawn="1"/>
        </p:nvSpPr>
        <p:spPr>
          <a:xfrm>
            <a:off x="6766193" y="2467117"/>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4" name="CuadroTexto 72">
            <a:extLst>
              <a:ext uri="{FF2B5EF4-FFF2-40B4-BE49-F238E27FC236}">
                <a16:creationId xmlns:a16="http://schemas.microsoft.com/office/drawing/2014/main" id="{8589A8F1-039F-4991-B193-A41AE837577E}"/>
              </a:ext>
            </a:extLst>
          </p:cNvPr>
          <p:cNvSpPr txBox="1"/>
          <p:nvPr userDrawn="1"/>
        </p:nvSpPr>
        <p:spPr>
          <a:xfrm>
            <a:off x="6134822" y="3195745"/>
            <a:ext cx="622761" cy="584775"/>
          </a:xfrm>
          <a:prstGeom prst="rect">
            <a:avLst/>
          </a:prstGeom>
          <a:noFill/>
        </p:spPr>
        <p:txBody>
          <a:bodyPr wrap="square" rtlCol="0">
            <a:spAutoFit/>
          </a:bodyPr>
          <a:lstStyle/>
          <a:p>
            <a:r>
              <a:rPr lang="en-US" sz="3200" b="1">
                <a:solidFill>
                  <a:schemeClr val="accent2"/>
                </a:solidFill>
              </a:rPr>
              <a:t>04</a:t>
            </a:r>
          </a:p>
        </p:txBody>
      </p:sp>
      <p:cxnSp>
        <p:nvCxnSpPr>
          <p:cNvPr id="15" name="Conector recto 73">
            <a:extLst>
              <a:ext uri="{FF2B5EF4-FFF2-40B4-BE49-F238E27FC236}">
                <a16:creationId xmlns:a16="http://schemas.microsoft.com/office/drawing/2014/main" id="{8D7C3823-BAA4-4F03-BBF1-F78B1DD73DD8}"/>
              </a:ext>
            </a:extLst>
          </p:cNvPr>
          <p:cNvCxnSpPr>
            <a:cxnSpLocks/>
          </p:cNvCxnSpPr>
          <p:nvPr userDrawn="1"/>
        </p:nvCxnSpPr>
        <p:spPr>
          <a:xfrm>
            <a:off x="6134822" y="3892832"/>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CuadroTexto 74">
            <a:extLst>
              <a:ext uri="{FF2B5EF4-FFF2-40B4-BE49-F238E27FC236}">
                <a16:creationId xmlns:a16="http://schemas.microsoft.com/office/drawing/2014/main" id="{8A32F910-9D38-4647-9668-330B07A062F0}"/>
              </a:ext>
            </a:extLst>
          </p:cNvPr>
          <p:cNvSpPr txBox="1"/>
          <p:nvPr userDrawn="1"/>
        </p:nvSpPr>
        <p:spPr>
          <a:xfrm>
            <a:off x="6766193" y="3336639"/>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7" name="CuadroTexto 75">
            <a:extLst>
              <a:ext uri="{FF2B5EF4-FFF2-40B4-BE49-F238E27FC236}">
                <a16:creationId xmlns:a16="http://schemas.microsoft.com/office/drawing/2014/main" id="{2CA764F7-9D4C-44CE-BD17-83A5FE9888B9}"/>
              </a:ext>
            </a:extLst>
          </p:cNvPr>
          <p:cNvSpPr txBox="1"/>
          <p:nvPr userDrawn="1"/>
        </p:nvSpPr>
        <p:spPr>
          <a:xfrm>
            <a:off x="6134822" y="4106746"/>
            <a:ext cx="622761" cy="584775"/>
          </a:xfrm>
          <a:prstGeom prst="rect">
            <a:avLst/>
          </a:prstGeom>
          <a:noFill/>
        </p:spPr>
        <p:txBody>
          <a:bodyPr wrap="square" rtlCol="0">
            <a:spAutoFit/>
          </a:bodyPr>
          <a:lstStyle/>
          <a:p>
            <a:r>
              <a:rPr lang="en-US" sz="3200" b="1">
                <a:solidFill>
                  <a:schemeClr val="accent2"/>
                </a:solidFill>
              </a:rPr>
              <a:t>05</a:t>
            </a:r>
          </a:p>
        </p:txBody>
      </p:sp>
      <p:cxnSp>
        <p:nvCxnSpPr>
          <p:cNvPr id="18" name="Conector recto 76">
            <a:extLst>
              <a:ext uri="{FF2B5EF4-FFF2-40B4-BE49-F238E27FC236}">
                <a16:creationId xmlns:a16="http://schemas.microsoft.com/office/drawing/2014/main" id="{2EBE4CB2-B692-4613-B76F-C8B8743D2FD2}"/>
              </a:ext>
            </a:extLst>
          </p:cNvPr>
          <p:cNvCxnSpPr>
            <a:cxnSpLocks/>
          </p:cNvCxnSpPr>
          <p:nvPr userDrawn="1"/>
        </p:nvCxnSpPr>
        <p:spPr>
          <a:xfrm>
            <a:off x="6134822" y="4795356"/>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CuadroTexto 77">
            <a:extLst>
              <a:ext uri="{FF2B5EF4-FFF2-40B4-BE49-F238E27FC236}">
                <a16:creationId xmlns:a16="http://schemas.microsoft.com/office/drawing/2014/main" id="{395C91E7-653B-44A4-9BD5-8946AB5FF184}"/>
              </a:ext>
            </a:extLst>
          </p:cNvPr>
          <p:cNvSpPr txBox="1"/>
          <p:nvPr userDrawn="1"/>
        </p:nvSpPr>
        <p:spPr>
          <a:xfrm>
            <a:off x="6766193" y="4239163"/>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20" name="CuadroTexto 78">
            <a:extLst>
              <a:ext uri="{FF2B5EF4-FFF2-40B4-BE49-F238E27FC236}">
                <a16:creationId xmlns:a16="http://schemas.microsoft.com/office/drawing/2014/main" id="{BD21EC6A-1E53-407F-AB38-21F243F6B9C1}"/>
              </a:ext>
            </a:extLst>
          </p:cNvPr>
          <p:cNvSpPr txBox="1"/>
          <p:nvPr userDrawn="1"/>
        </p:nvSpPr>
        <p:spPr>
          <a:xfrm>
            <a:off x="6134822" y="4970477"/>
            <a:ext cx="622761" cy="584775"/>
          </a:xfrm>
          <a:prstGeom prst="rect">
            <a:avLst/>
          </a:prstGeom>
          <a:noFill/>
        </p:spPr>
        <p:txBody>
          <a:bodyPr wrap="square" rtlCol="0">
            <a:spAutoFit/>
          </a:bodyPr>
          <a:lstStyle/>
          <a:p>
            <a:r>
              <a:rPr lang="en-US" sz="3200" b="1">
                <a:solidFill>
                  <a:schemeClr val="accent2"/>
                </a:solidFill>
              </a:rPr>
              <a:t>06</a:t>
            </a:r>
          </a:p>
        </p:txBody>
      </p:sp>
      <p:cxnSp>
        <p:nvCxnSpPr>
          <p:cNvPr id="21" name="Conector recto 79">
            <a:extLst>
              <a:ext uri="{FF2B5EF4-FFF2-40B4-BE49-F238E27FC236}">
                <a16:creationId xmlns:a16="http://schemas.microsoft.com/office/drawing/2014/main" id="{19F9EB74-C199-471F-82DD-F58BD1AD5946}"/>
              </a:ext>
            </a:extLst>
          </p:cNvPr>
          <p:cNvCxnSpPr>
            <a:cxnSpLocks/>
          </p:cNvCxnSpPr>
          <p:nvPr userDrawn="1"/>
        </p:nvCxnSpPr>
        <p:spPr>
          <a:xfrm>
            <a:off x="6134822" y="5660258"/>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CuadroTexto 80">
            <a:extLst>
              <a:ext uri="{FF2B5EF4-FFF2-40B4-BE49-F238E27FC236}">
                <a16:creationId xmlns:a16="http://schemas.microsoft.com/office/drawing/2014/main" id="{1B0BB0A8-8989-444C-AC45-79D95010048A}"/>
              </a:ext>
            </a:extLst>
          </p:cNvPr>
          <p:cNvSpPr txBox="1"/>
          <p:nvPr userDrawn="1"/>
        </p:nvSpPr>
        <p:spPr>
          <a:xfrm>
            <a:off x="6766193" y="5104065"/>
            <a:ext cx="5225938"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23" name="CuadroTexto 81">
            <a:extLst>
              <a:ext uri="{FF2B5EF4-FFF2-40B4-BE49-F238E27FC236}">
                <a16:creationId xmlns:a16="http://schemas.microsoft.com/office/drawing/2014/main" id="{6D7E5DB7-994F-4C02-97B2-92DE71FFF7CA}"/>
              </a:ext>
            </a:extLst>
          </p:cNvPr>
          <p:cNvSpPr txBox="1"/>
          <p:nvPr userDrawn="1"/>
        </p:nvSpPr>
        <p:spPr>
          <a:xfrm>
            <a:off x="6134822" y="5736681"/>
            <a:ext cx="622761" cy="584775"/>
          </a:xfrm>
          <a:prstGeom prst="rect">
            <a:avLst/>
          </a:prstGeom>
          <a:noFill/>
        </p:spPr>
        <p:txBody>
          <a:bodyPr wrap="square" rtlCol="0">
            <a:spAutoFit/>
          </a:bodyPr>
          <a:lstStyle/>
          <a:p>
            <a:r>
              <a:rPr lang="en-US" sz="3200" b="1">
                <a:solidFill>
                  <a:schemeClr val="accent2"/>
                </a:solidFill>
              </a:rPr>
              <a:t>07</a:t>
            </a:r>
          </a:p>
        </p:txBody>
      </p:sp>
      <p:cxnSp>
        <p:nvCxnSpPr>
          <p:cNvPr id="24" name="Conector recto 82">
            <a:extLst>
              <a:ext uri="{FF2B5EF4-FFF2-40B4-BE49-F238E27FC236}">
                <a16:creationId xmlns:a16="http://schemas.microsoft.com/office/drawing/2014/main" id="{F2C214EC-7C7C-484C-A6C2-7E650DEFA024}"/>
              </a:ext>
            </a:extLst>
          </p:cNvPr>
          <p:cNvCxnSpPr>
            <a:cxnSpLocks/>
          </p:cNvCxnSpPr>
          <p:nvPr userDrawn="1"/>
        </p:nvCxnSpPr>
        <p:spPr>
          <a:xfrm>
            <a:off x="6134822" y="6426463"/>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CuadroTexto 83">
            <a:extLst>
              <a:ext uri="{FF2B5EF4-FFF2-40B4-BE49-F238E27FC236}">
                <a16:creationId xmlns:a16="http://schemas.microsoft.com/office/drawing/2014/main" id="{D0521258-AE07-4F7D-B230-9FE741C18173}"/>
              </a:ext>
            </a:extLst>
          </p:cNvPr>
          <p:cNvSpPr txBox="1"/>
          <p:nvPr userDrawn="1"/>
        </p:nvSpPr>
        <p:spPr>
          <a:xfrm>
            <a:off x="6766193" y="5870270"/>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303172069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89351"/>
            <a:ext cx="11252997"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29" name="Marcador de texto 2"/>
          <p:cNvSpPr>
            <a:spLocks noGrp="1"/>
          </p:cNvSpPr>
          <p:nvPr>
            <p:ph type="body" sz="quarter" idx="18" hasCustomPrompt="1"/>
          </p:nvPr>
        </p:nvSpPr>
        <p:spPr>
          <a:xfrm>
            <a:off x="292609" y="1480159"/>
            <a:ext cx="11228409"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2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199949767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7" name="Title 1"/>
          <p:cNvSpPr>
            <a:spLocks noGrp="1"/>
          </p:cNvSpPr>
          <p:nvPr>
            <p:ph type="title"/>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0" name="Text Placeholder 19"/>
          <p:cNvSpPr>
            <a:spLocks noGrp="1"/>
          </p:cNvSpPr>
          <p:nvPr>
            <p:ph type="body" sz="quarter" idx="13"/>
          </p:nvPr>
        </p:nvSpPr>
        <p:spPr>
          <a:xfrm>
            <a:off x="268224" y="795425"/>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06771112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STRICTLY CONFIDENTIAL)">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rot="16200000">
            <a:off x="10404203" y="4652434"/>
            <a:ext cx="3086100" cy="226487"/>
          </a:xfrm>
          <a:prstGeom prst="rect">
            <a:avLst/>
          </a:prstGeom>
        </p:spPr>
        <p:txBody>
          <a:bodyPr vert="horz" lIns="91438" tIns="45719" rIns="91438" bIns="45719"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63909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ver with photo background l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US"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p:nvPr>
        </p:nvSpPr>
        <p:spPr>
          <a:xfrm>
            <a:off x="576472" y="2670166"/>
            <a:ext cx="4601584" cy="1178168"/>
          </a:xfrm>
        </p:spPr>
        <p:txBody>
          <a:bodyPr anchor="t"/>
          <a:lstStyle>
            <a:lvl1pPr>
              <a:lnSpc>
                <a:spcPct val="100000"/>
              </a:lnSpc>
              <a:defRPr baseline="0">
                <a:solidFill>
                  <a:schemeClr val="tx2"/>
                </a:solidFill>
                <a:latin typeface="+mj-lt"/>
              </a:defRPr>
            </a:lvl1pPr>
          </a:lstStyle>
          <a:p>
            <a:r>
              <a:rPr lang="en-US" noProof="0"/>
              <a:t>Click to edit Master title style</a:t>
            </a:r>
            <a:endParaRPr lang="en-US" noProof="0" dirty="0"/>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66766143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US"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2"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48339519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ver with photo l">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576472" y="705385"/>
            <a:ext cx="5956600" cy="1325563"/>
          </a:xfrm>
        </p:spPr>
        <p:txBody>
          <a:bodyPr anchor="b"/>
          <a:lstStyle>
            <a:lvl1pP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576265" y="2277861"/>
            <a:ext cx="5957349"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6487016" y="1433383"/>
            <a:ext cx="5708828" cy="542461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9966" h="5750830">
                <a:moveTo>
                  <a:pt x="5637046" y="946"/>
                </a:moveTo>
                <a:cubicBezTo>
                  <a:pt x="6121252" y="-19930"/>
                  <a:pt x="6539307" y="306327"/>
                  <a:pt x="6707626" y="810791"/>
                </a:cubicBezTo>
                <a:cubicBezTo>
                  <a:pt x="6707626" y="810791"/>
                  <a:pt x="6707626" y="810791"/>
                  <a:pt x="7139966" y="2214518"/>
                </a:cubicBezTo>
                <a:lnTo>
                  <a:pt x="7139966" y="5750830"/>
                </a:lnTo>
                <a:cubicBezTo>
                  <a:pt x="7139966" y="5750830"/>
                  <a:pt x="7139966" y="5750830"/>
                  <a:pt x="1951889" y="5750830"/>
                </a:cubicBezTo>
                <a:cubicBezTo>
                  <a:pt x="1357422" y="5633853"/>
                  <a:pt x="555792" y="5543871"/>
                  <a:pt x="384658" y="4842007"/>
                </a:cubicBezTo>
                <a:cubicBezTo>
                  <a:pt x="384658" y="4842007"/>
                  <a:pt x="384658" y="4842007"/>
                  <a:pt x="96431" y="3690231"/>
                </a:cubicBezTo>
                <a:cubicBezTo>
                  <a:pt x="6360" y="3303306"/>
                  <a:pt x="-65696" y="2943376"/>
                  <a:pt x="96431" y="2556452"/>
                </a:cubicBezTo>
                <a:cubicBezTo>
                  <a:pt x="312601" y="2025555"/>
                  <a:pt x="880047" y="1827593"/>
                  <a:pt x="1384443" y="1611635"/>
                </a:cubicBezTo>
                <a:cubicBezTo>
                  <a:pt x="1384443" y="1611635"/>
                  <a:pt x="1384443" y="1611635"/>
                  <a:pt x="5293515" y="72935"/>
                </a:cubicBezTo>
                <a:cubicBezTo>
                  <a:pt x="5410044" y="29068"/>
                  <a:pt x="5525307" y="5764"/>
                  <a:pt x="5637046" y="946"/>
                </a:cubicBezTo>
                <a:close/>
              </a:path>
            </a:pathLst>
          </a:custGeom>
          <a:solidFill>
            <a:schemeClr val="accent4"/>
          </a:solidFill>
        </p:spPr>
        <p:txBody>
          <a:bodyPr wrap="square" anchor="ctr">
            <a:noAutofit/>
          </a:bodyPr>
          <a:lstStyle>
            <a:lvl1pPr marL="0" indent="0" algn="ctr">
              <a:buNone/>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33"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4498080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ver with photo  and TItles">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10"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8" tIns="34290" rIns="68578" bIns="34290" numCol="1" anchor="t" anchorCtr="0" compatLnSpc="1">
            <a:prstTxWarp prst="textNoShape">
              <a:avLst/>
            </a:prstTxWarp>
          </a:bodyPr>
          <a:lstStyle/>
          <a:p>
            <a:endParaRPr lang="es-ES" sz="1300" dirty="0"/>
          </a:p>
        </p:txBody>
      </p:sp>
      <p:sp>
        <p:nvSpPr>
          <p:cNvPr id="19" name="Footer Placeholder 4"/>
          <p:cNvSpPr>
            <a:spLocks noGrp="1"/>
          </p:cNvSpPr>
          <p:nvPr>
            <p:ph type="ftr" sz="quarter" idx="3"/>
          </p:nvPr>
        </p:nvSpPr>
        <p:spPr>
          <a:xfrm rot="16200000">
            <a:off x="10404203" y="4652434"/>
            <a:ext cx="3086100" cy="226487"/>
          </a:xfrm>
          <a:prstGeom prst="rect">
            <a:avLst/>
          </a:prstGeom>
        </p:spPr>
        <p:txBody>
          <a:bodyPr vert="horz" lIns="91438" tIns="45719" rIns="91438" bIns="45719"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5740925" y="724436"/>
            <a:ext cx="6454920" cy="6133563"/>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9966" h="5750830">
                <a:moveTo>
                  <a:pt x="5637046" y="946"/>
                </a:moveTo>
                <a:cubicBezTo>
                  <a:pt x="6121252" y="-19930"/>
                  <a:pt x="6539307" y="306327"/>
                  <a:pt x="6707626" y="810791"/>
                </a:cubicBezTo>
                <a:cubicBezTo>
                  <a:pt x="6707626" y="810791"/>
                  <a:pt x="6707626" y="810791"/>
                  <a:pt x="7139966" y="2214518"/>
                </a:cubicBezTo>
                <a:lnTo>
                  <a:pt x="7139966" y="5750830"/>
                </a:lnTo>
                <a:cubicBezTo>
                  <a:pt x="7139966" y="5750830"/>
                  <a:pt x="7139966" y="5750830"/>
                  <a:pt x="1951889" y="5750830"/>
                </a:cubicBezTo>
                <a:cubicBezTo>
                  <a:pt x="1357422" y="5633853"/>
                  <a:pt x="555792" y="5543871"/>
                  <a:pt x="384658" y="4842007"/>
                </a:cubicBezTo>
                <a:cubicBezTo>
                  <a:pt x="384658" y="4842007"/>
                  <a:pt x="384658" y="4842007"/>
                  <a:pt x="96431" y="3690231"/>
                </a:cubicBezTo>
                <a:cubicBezTo>
                  <a:pt x="6360" y="3303306"/>
                  <a:pt x="-65696" y="2943376"/>
                  <a:pt x="96431" y="2556452"/>
                </a:cubicBezTo>
                <a:cubicBezTo>
                  <a:pt x="312601" y="2025555"/>
                  <a:pt x="880047" y="1827593"/>
                  <a:pt x="1384443" y="1611635"/>
                </a:cubicBezTo>
                <a:cubicBezTo>
                  <a:pt x="1384443" y="1611635"/>
                  <a:pt x="1384443" y="1611635"/>
                  <a:pt x="5293515" y="72935"/>
                </a:cubicBezTo>
                <a:cubicBezTo>
                  <a:pt x="5410044" y="29068"/>
                  <a:pt x="5525307" y="5764"/>
                  <a:pt x="5637046" y="946"/>
                </a:cubicBezTo>
                <a:close/>
              </a:path>
            </a:pathLst>
          </a:custGeom>
          <a:solidFill>
            <a:schemeClr val="accent4"/>
          </a:solidFill>
        </p:spPr>
        <p:txBody>
          <a:bodyPr wrap="square" lIns="91438" tIns="45719" rIns="91438" bIns="45719" anchor="ctr">
            <a:noAutofit/>
          </a:bodyPr>
          <a:lstStyle>
            <a:lvl1pPr marL="0" indent="0" algn="ctr">
              <a:buNone/>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32" name="Title 1"/>
          <p:cNvSpPr>
            <a:spLocks noGrp="1"/>
          </p:cNvSpPr>
          <p:nvPr>
            <p:ph type="title"/>
          </p:nvPr>
        </p:nvSpPr>
        <p:spPr>
          <a:xfrm>
            <a:off x="268224" y="296866"/>
            <a:ext cx="9065277" cy="482549"/>
          </a:xfrm>
        </p:spPr>
        <p:txBody>
          <a:bodyPr lIns="0" anchor="t">
            <a:noAutofit/>
          </a:bodyPr>
          <a:lstStyle>
            <a:lvl1pPr>
              <a:defRPr sz="3200">
                <a:solidFill>
                  <a:schemeClr val="tx2"/>
                </a:solidFill>
                <a:latin typeface="+mj-lt"/>
              </a:defRPr>
            </a:lvl1pPr>
          </a:lstStyle>
          <a:p>
            <a:r>
              <a:rPr lang="en-US" noProof="0" dirty="0"/>
              <a:t>Click to edit Master title style</a:t>
            </a:r>
          </a:p>
        </p:txBody>
      </p:sp>
      <p:sp>
        <p:nvSpPr>
          <p:cNvPr id="34" name="Text Placeholder 19"/>
          <p:cNvSpPr>
            <a:spLocks noGrp="1"/>
          </p:cNvSpPr>
          <p:nvPr>
            <p:ph type="body" sz="quarter" idx="13" hasCustomPrompt="1"/>
          </p:nvPr>
        </p:nvSpPr>
        <p:spPr>
          <a:xfrm>
            <a:off x="268225" y="779412"/>
            <a:ext cx="9045459" cy="468000"/>
          </a:xfrm>
          <a:prstGeom prst="rect">
            <a:avLst/>
          </a:prstGeom>
        </p:spPr>
        <p:txBody>
          <a:bodyPr lIns="0" tIns="45719" rIns="91438" bIns="45719">
            <a:noAutofit/>
          </a:bodyPr>
          <a:lstStyle>
            <a:lvl1pPr marL="0" indent="0">
              <a:lnSpc>
                <a:spcPct val="100000"/>
              </a:lnSpc>
              <a:buNone/>
              <a:defRPr sz="2400">
                <a:solidFill>
                  <a:schemeClr val="accent2"/>
                </a:solidFill>
                <a:latin typeface="+mj-lt"/>
              </a:defRPr>
            </a:lvl1pPr>
            <a:lvl2pPr marL="342866" indent="0">
              <a:buNone/>
              <a:defRPr sz="1200">
                <a:solidFill>
                  <a:schemeClr val="accent2"/>
                </a:solidFill>
                <a:latin typeface="+mj-lt"/>
              </a:defRPr>
            </a:lvl2pPr>
            <a:lvl3pPr marL="685732" indent="0">
              <a:buNone/>
              <a:defRPr sz="1100">
                <a:solidFill>
                  <a:schemeClr val="accent2"/>
                </a:solidFill>
                <a:latin typeface="+mj-lt"/>
              </a:defRPr>
            </a:lvl3pPr>
            <a:lvl4pPr marL="1028598" indent="0">
              <a:buNone/>
              <a:defRPr sz="900">
                <a:solidFill>
                  <a:schemeClr val="accent2"/>
                </a:solidFill>
                <a:latin typeface="+mj-lt"/>
              </a:defRPr>
            </a:lvl4pPr>
            <a:lvl5pPr marL="1371464"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83733004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Hybrid Template - Laptop Product">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10"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8" tIns="34290" rIns="68578" bIns="34290" numCol="1" anchor="t" anchorCtr="0" compatLnSpc="1">
            <a:prstTxWarp prst="textNoShape">
              <a:avLst/>
            </a:prstTxWarp>
          </a:bodyPr>
          <a:lstStyle/>
          <a:p>
            <a:endParaRPr lang="es-ES" sz="1300" dirty="0"/>
          </a:p>
        </p:txBody>
      </p:sp>
      <p:sp>
        <p:nvSpPr>
          <p:cNvPr id="32" name="Title 1"/>
          <p:cNvSpPr>
            <a:spLocks noGrp="1"/>
          </p:cNvSpPr>
          <p:nvPr>
            <p:ph type="title"/>
          </p:nvPr>
        </p:nvSpPr>
        <p:spPr>
          <a:xfrm>
            <a:off x="268224" y="296866"/>
            <a:ext cx="9065277" cy="482549"/>
          </a:xfrm>
        </p:spPr>
        <p:txBody>
          <a:bodyPr lIns="0" anchor="t">
            <a:noAutofit/>
          </a:bodyPr>
          <a:lstStyle>
            <a:lvl1pPr>
              <a:defRPr sz="3200">
                <a:solidFill>
                  <a:schemeClr val="tx2"/>
                </a:solidFill>
                <a:latin typeface="+mj-lt"/>
              </a:defRPr>
            </a:lvl1pPr>
          </a:lstStyle>
          <a:p>
            <a:r>
              <a:rPr lang="en-US" noProof="0" dirty="0"/>
              <a:t>Click to edit Master title style</a:t>
            </a:r>
          </a:p>
        </p:txBody>
      </p:sp>
      <p:sp>
        <p:nvSpPr>
          <p:cNvPr id="34" name="Text Placeholder 19"/>
          <p:cNvSpPr>
            <a:spLocks noGrp="1"/>
          </p:cNvSpPr>
          <p:nvPr>
            <p:ph type="body" sz="quarter" idx="13" hasCustomPrompt="1"/>
          </p:nvPr>
        </p:nvSpPr>
        <p:spPr>
          <a:xfrm>
            <a:off x="268225" y="779412"/>
            <a:ext cx="9045459" cy="468000"/>
          </a:xfrm>
          <a:prstGeom prst="rect">
            <a:avLst/>
          </a:prstGeom>
        </p:spPr>
        <p:txBody>
          <a:bodyPr lIns="0" tIns="45719" rIns="91438" bIns="45719">
            <a:noAutofit/>
          </a:bodyPr>
          <a:lstStyle>
            <a:lvl1pPr marL="0" indent="0">
              <a:lnSpc>
                <a:spcPct val="100000"/>
              </a:lnSpc>
              <a:buNone/>
              <a:defRPr sz="2400">
                <a:solidFill>
                  <a:schemeClr val="accent2"/>
                </a:solidFill>
                <a:latin typeface="+mj-lt"/>
              </a:defRPr>
            </a:lvl1pPr>
            <a:lvl2pPr marL="342866" indent="0">
              <a:buNone/>
              <a:defRPr sz="1200">
                <a:solidFill>
                  <a:schemeClr val="accent2"/>
                </a:solidFill>
                <a:latin typeface="+mj-lt"/>
              </a:defRPr>
            </a:lvl2pPr>
            <a:lvl3pPr marL="685732" indent="0">
              <a:buNone/>
              <a:defRPr sz="1100">
                <a:solidFill>
                  <a:schemeClr val="accent2"/>
                </a:solidFill>
                <a:latin typeface="+mj-lt"/>
              </a:defRPr>
            </a:lvl3pPr>
            <a:lvl4pPr marL="1028598" indent="0">
              <a:buNone/>
              <a:defRPr sz="900">
                <a:solidFill>
                  <a:schemeClr val="accent2"/>
                </a:solidFill>
                <a:latin typeface="+mj-lt"/>
              </a:defRPr>
            </a:lvl4pPr>
            <a:lvl5pPr marL="1371464" indent="0">
              <a:buNone/>
              <a:defRPr sz="900">
                <a:solidFill>
                  <a:schemeClr val="accent2"/>
                </a:solidFill>
                <a:latin typeface="+mj-lt"/>
              </a:defRPr>
            </a:lvl5pPr>
          </a:lstStyle>
          <a:p>
            <a:pPr lvl="0"/>
            <a:r>
              <a:rPr lang="en-US" noProof="0"/>
              <a:t>Click to edit Master text styles</a:t>
            </a:r>
          </a:p>
        </p:txBody>
      </p:sp>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r="16169"/>
          <a:stretch/>
        </p:blipFill>
        <p:spPr>
          <a:xfrm>
            <a:off x="5244147" y="1988827"/>
            <a:ext cx="6952627" cy="4105387"/>
          </a:xfrm>
          <a:prstGeom prst="rect">
            <a:avLst/>
          </a:prstGeom>
        </p:spPr>
      </p:pic>
      <p:sp>
        <p:nvSpPr>
          <p:cNvPr id="3" name="Picture Placeholder 2"/>
          <p:cNvSpPr>
            <a:spLocks noGrp="1"/>
          </p:cNvSpPr>
          <p:nvPr>
            <p:ph type="pic" sz="quarter" idx="14"/>
          </p:nvPr>
        </p:nvSpPr>
        <p:spPr>
          <a:xfrm>
            <a:off x="6825326" y="2165655"/>
            <a:ext cx="5208191" cy="2898901"/>
          </a:xfrm>
          <a:prstGeom prst="rect">
            <a:avLst/>
          </a:prstGeom>
          <a:solidFill>
            <a:schemeClr val="tx2"/>
          </a:solidFill>
        </p:spPr>
        <p:txBody>
          <a:bodyPr lIns="91438" tIns="45719" rIns="91438" bIns="45719"/>
          <a:lstStyle>
            <a:lvl1pPr>
              <a:defRPr>
                <a:solidFill>
                  <a:schemeClr val="bg2"/>
                </a:solidFill>
              </a:defRPr>
            </a:lvl1pPr>
          </a:lstStyle>
          <a:p>
            <a:endParaRPr lang="en-US" dirty="0"/>
          </a:p>
        </p:txBody>
      </p:sp>
      <p:sp>
        <p:nvSpPr>
          <p:cNvPr id="19" name="Footer Placeholder 4"/>
          <p:cNvSpPr>
            <a:spLocks noGrp="1"/>
          </p:cNvSpPr>
          <p:nvPr>
            <p:ph type="ftr" sz="quarter" idx="3"/>
          </p:nvPr>
        </p:nvSpPr>
        <p:spPr>
          <a:xfrm rot="16200000">
            <a:off x="11087203" y="5335433"/>
            <a:ext cx="1720101" cy="226487"/>
          </a:xfrm>
          <a:prstGeom prst="rect">
            <a:avLst/>
          </a:prstGeom>
        </p:spPr>
        <p:txBody>
          <a:bodyPr vert="horz" lIns="91438" tIns="45719" rIns="91438" bIns="45719"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Tree>
    <p:extLst>
      <p:ext uri="{BB962C8B-B14F-4D97-AF65-F5344CB8AC3E}">
        <p14:creationId xmlns:p14="http://schemas.microsoft.com/office/powerpoint/2010/main" val="64108219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Hybrid Template - Mobile Product">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10"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8" tIns="34290" rIns="68578" bIns="34290" numCol="1" anchor="t" anchorCtr="0" compatLnSpc="1">
            <a:prstTxWarp prst="textNoShape">
              <a:avLst/>
            </a:prstTxWarp>
          </a:bodyPr>
          <a:lstStyle/>
          <a:p>
            <a:endParaRPr lang="es-ES" sz="1300" dirty="0"/>
          </a:p>
        </p:txBody>
      </p:sp>
      <p:sp>
        <p:nvSpPr>
          <p:cNvPr id="32" name="Title 1"/>
          <p:cNvSpPr>
            <a:spLocks noGrp="1"/>
          </p:cNvSpPr>
          <p:nvPr>
            <p:ph type="title"/>
          </p:nvPr>
        </p:nvSpPr>
        <p:spPr>
          <a:xfrm>
            <a:off x="268224" y="296866"/>
            <a:ext cx="8347269" cy="482549"/>
          </a:xfrm>
        </p:spPr>
        <p:txBody>
          <a:bodyPr lIns="0" anchor="t">
            <a:noAutofit/>
          </a:bodyPr>
          <a:lstStyle>
            <a:lvl1pPr>
              <a:defRPr sz="3200">
                <a:solidFill>
                  <a:schemeClr val="tx2"/>
                </a:solidFill>
                <a:latin typeface="+mj-lt"/>
              </a:defRPr>
            </a:lvl1pPr>
          </a:lstStyle>
          <a:p>
            <a:r>
              <a:rPr lang="en-US" noProof="0" dirty="0"/>
              <a:t>Click to edit Master title style</a:t>
            </a:r>
          </a:p>
        </p:txBody>
      </p:sp>
      <p:sp>
        <p:nvSpPr>
          <p:cNvPr id="34" name="Text Placeholder 19"/>
          <p:cNvSpPr>
            <a:spLocks noGrp="1"/>
          </p:cNvSpPr>
          <p:nvPr>
            <p:ph type="body" sz="quarter" idx="13" hasCustomPrompt="1"/>
          </p:nvPr>
        </p:nvSpPr>
        <p:spPr>
          <a:xfrm>
            <a:off x="268226" y="779412"/>
            <a:ext cx="8329020" cy="468000"/>
          </a:xfrm>
          <a:prstGeom prst="rect">
            <a:avLst/>
          </a:prstGeom>
        </p:spPr>
        <p:txBody>
          <a:bodyPr lIns="0" tIns="45719" rIns="91438" bIns="45719">
            <a:noAutofit/>
          </a:bodyPr>
          <a:lstStyle>
            <a:lvl1pPr marL="0" indent="0">
              <a:lnSpc>
                <a:spcPct val="100000"/>
              </a:lnSpc>
              <a:buNone/>
              <a:defRPr sz="2400">
                <a:solidFill>
                  <a:schemeClr val="accent2"/>
                </a:solidFill>
                <a:latin typeface="+mj-lt"/>
              </a:defRPr>
            </a:lvl1pPr>
            <a:lvl2pPr marL="342866" indent="0">
              <a:buNone/>
              <a:defRPr sz="1200">
                <a:solidFill>
                  <a:schemeClr val="accent2"/>
                </a:solidFill>
                <a:latin typeface="+mj-lt"/>
              </a:defRPr>
            </a:lvl2pPr>
            <a:lvl3pPr marL="685732" indent="0">
              <a:buNone/>
              <a:defRPr sz="1100">
                <a:solidFill>
                  <a:schemeClr val="accent2"/>
                </a:solidFill>
                <a:latin typeface="+mj-lt"/>
              </a:defRPr>
            </a:lvl3pPr>
            <a:lvl4pPr marL="1028598" indent="0">
              <a:buNone/>
              <a:defRPr sz="900">
                <a:solidFill>
                  <a:schemeClr val="accent2"/>
                </a:solidFill>
                <a:latin typeface="+mj-lt"/>
              </a:defRPr>
            </a:lvl4pPr>
            <a:lvl5pPr marL="1371464" indent="0">
              <a:buNone/>
              <a:defRPr sz="900">
                <a:solidFill>
                  <a:schemeClr val="accent2"/>
                </a:solidFill>
                <a:latin typeface="+mj-lt"/>
              </a:defRPr>
            </a:lvl5pPr>
          </a:lstStyle>
          <a:p>
            <a:pPr lvl="0"/>
            <a:r>
              <a:rPr lang="en-US" noProof="0"/>
              <a:t>Click to edit Master text styles</a:t>
            </a:r>
          </a:p>
        </p:txBody>
      </p:sp>
      <p:grpSp>
        <p:nvGrpSpPr>
          <p:cNvPr id="27" name="Group 26"/>
          <p:cNvGrpSpPr/>
          <p:nvPr userDrawn="1"/>
        </p:nvGrpSpPr>
        <p:grpSpPr>
          <a:xfrm>
            <a:off x="8719795" y="740867"/>
            <a:ext cx="2809188" cy="5593509"/>
            <a:chOff x="3429000" y="1428750"/>
            <a:chExt cx="1348996" cy="2686050"/>
          </a:xfrm>
        </p:grpSpPr>
        <p:pic>
          <p:nvPicPr>
            <p:cNvPr id="28" name="Picture 27"/>
            <p:cNvPicPr>
              <a:picLocks noChangeAspect="1"/>
            </p:cNvPicPr>
            <p:nvPr/>
          </p:nvPicPr>
          <p:blipFill>
            <a:blip r:embed="rId2"/>
            <a:stretch>
              <a:fillRect/>
            </a:stretch>
          </p:blipFill>
          <p:spPr>
            <a:xfrm>
              <a:off x="3429000" y="1428750"/>
              <a:ext cx="1348996" cy="2686050"/>
            </a:xfrm>
            <a:prstGeom prst="rect">
              <a:avLst/>
            </a:prstGeom>
          </p:spPr>
        </p:pic>
        <p:sp>
          <p:nvSpPr>
            <p:cNvPr id="29" name="Rounded Rectangle 36"/>
            <p:cNvSpPr/>
            <p:nvPr/>
          </p:nvSpPr>
          <p:spPr>
            <a:xfrm>
              <a:off x="3927978" y="1565910"/>
              <a:ext cx="351040" cy="45720"/>
            </a:xfrm>
            <a:prstGeom prst="roundRect">
              <a:avLst>
                <a:gd name="adj" fmla="val 50000"/>
              </a:avLst>
            </a:prstGeom>
            <a:solidFill>
              <a:schemeClr val="bg2">
                <a:alpha val="50000"/>
              </a:schemeClr>
            </a:solidFill>
            <a:ln w="12700" cmpd="sng">
              <a:gradFill flip="none" rotWithShape="1">
                <a:gsLst>
                  <a:gs pos="0">
                    <a:schemeClr val="tx1">
                      <a:lumMod val="50000"/>
                    </a:schemeClr>
                  </a:gs>
                  <a:gs pos="100000">
                    <a:schemeClr val="bg1">
                      <a:lumMod val="50000"/>
                    </a:schemeClr>
                  </a:gs>
                </a:gsLst>
                <a:lin ang="5400000" scaled="0"/>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30" name="Oval 29"/>
            <p:cNvSpPr/>
            <p:nvPr userDrawn="1"/>
          </p:nvSpPr>
          <p:spPr>
            <a:xfrm>
              <a:off x="3989519" y="3811360"/>
              <a:ext cx="215720" cy="215720"/>
            </a:xfrm>
            <a:prstGeom prst="ellipse">
              <a:avLst/>
            </a:prstGeom>
            <a:solidFill>
              <a:schemeClr val="bg2">
                <a:alpha val="50000"/>
              </a:schemeClr>
            </a:solidFill>
            <a:ln w="3175" cmpd="sng">
              <a:gradFill flip="none" rotWithShape="1">
                <a:gsLst>
                  <a:gs pos="0">
                    <a:schemeClr val="tx1">
                      <a:lumMod val="50000"/>
                    </a:schemeClr>
                  </a:gs>
                  <a:gs pos="100000">
                    <a:schemeClr val="bg1">
                      <a:lumMod val="50000"/>
                      <a:alpha val="40000"/>
                    </a:schemeClr>
                  </a:gs>
                </a:gsLst>
                <a:lin ang="5400000" scaled="0"/>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grpSp>
      <p:sp>
        <p:nvSpPr>
          <p:cNvPr id="3" name="Picture Placeholder 2"/>
          <p:cNvSpPr>
            <a:spLocks noGrp="1"/>
          </p:cNvSpPr>
          <p:nvPr>
            <p:ph type="pic" sz="quarter" idx="14"/>
          </p:nvPr>
        </p:nvSpPr>
        <p:spPr>
          <a:xfrm>
            <a:off x="8936612" y="1376314"/>
            <a:ext cx="2394409" cy="4157221"/>
          </a:xfrm>
          <a:prstGeom prst="rect">
            <a:avLst/>
          </a:prstGeom>
          <a:solidFill>
            <a:schemeClr val="tx2"/>
          </a:solidFill>
        </p:spPr>
        <p:txBody>
          <a:bodyPr lIns="91438" tIns="45719" rIns="91438" bIns="45719"/>
          <a:lstStyle>
            <a:lvl1pPr>
              <a:defRPr>
                <a:solidFill>
                  <a:schemeClr val="bg2"/>
                </a:solidFill>
              </a:defRPr>
            </a:lvl1pPr>
          </a:lstStyle>
          <a:p>
            <a:endParaRPr lang="en-US" dirty="0"/>
          </a:p>
        </p:txBody>
      </p:sp>
      <p:sp>
        <p:nvSpPr>
          <p:cNvPr id="19" name="Footer Placeholder 4"/>
          <p:cNvSpPr>
            <a:spLocks noGrp="1"/>
          </p:cNvSpPr>
          <p:nvPr>
            <p:ph type="ftr" sz="quarter" idx="3"/>
          </p:nvPr>
        </p:nvSpPr>
        <p:spPr>
          <a:xfrm rot="16200000">
            <a:off x="11087203" y="5335433"/>
            <a:ext cx="1720101" cy="226487"/>
          </a:xfrm>
          <a:prstGeom prst="rect">
            <a:avLst/>
          </a:prstGeom>
        </p:spPr>
        <p:txBody>
          <a:bodyPr vert="horz" lIns="91438" tIns="45719" rIns="91438" bIns="45719"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Tree>
    <p:extLst>
      <p:ext uri="{BB962C8B-B14F-4D97-AF65-F5344CB8AC3E}">
        <p14:creationId xmlns:p14="http://schemas.microsoft.com/office/powerpoint/2010/main" val="307862303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US" noProof="0"/>
              <a:t>© Amadeus IT Group and its affiliates and subsidiaries</a:t>
            </a:r>
            <a:endParaRPr lang="en-US" noProof="0" dirty="0"/>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US" noProof="0" dirty="0"/>
            </a:br>
            <a:br>
              <a:rPr lang="en-US" noProof="0" dirty="0"/>
            </a:br>
            <a:br>
              <a:rPr lang="en-US" noProof="0" dirty="0"/>
            </a:br>
            <a:br>
              <a:rPr lang="en-US" noProof="0" dirty="0"/>
            </a:br>
            <a:r>
              <a:rPr lang="en-US" noProof="0" dirty="0"/>
              <a:t>Insert your picture here</a:t>
            </a:r>
          </a:p>
        </p:txBody>
      </p:sp>
      <p:grpSp>
        <p:nvGrpSpPr>
          <p:cNvPr id="10" name="Group 9"/>
          <p:cNvGrpSpPr/>
          <p:nvPr userDrawn="1"/>
        </p:nvGrpSpPr>
        <p:grpSpPr>
          <a:xfrm>
            <a:off x="173409" y="80193"/>
            <a:ext cx="409580" cy="338886"/>
            <a:chOff x="10987081" y="138792"/>
            <a:chExt cx="409580" cy="338886"/>
          </a:xfrm>
          <a:solidFill>
            <a:schemeClr val="bg1"/>
          </a:solidFill>
        </p:grpSpPr>
        <p:grpSp>
          <p:nvGrpSpPr>
            <p:cNvPr id="13" name="Group 26"/>
            <p:cNvGrpSpPr/>
            <p:nvPr userDrawn="1"/>
          </p:nvGrpSpPr>
          <p:grpSpPr>
            <a:xfrm>
              <a:off x="11011908" y="146161"/>
              <a:ext cx="384753" cy="331517"/>
              <a:chOff x="9021034" y="119041"/>
              <a:chExt cx="630093" cy="553987"/>
            </a:xfrm>
            <a:grpFill/>
          </p:grpSpPr>
          <p:sp>
            <p:nvSpPr>
              <p:cNvPr id="17"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dirty="0">
                    <a:solidFill>
                      <a:schemeClr val="bg1"/>
                    </a:solidFill>
                  </a:rPr>
                  <a:t>RESTRICTED</a:t>
                </a:r>
              </a:p>
            </p:txBody>
          </p:sp>
          <p:grpSp>
            <p:nvGrpSpPr>
              <p:cNvPr id="18" name="Group 30"/>
              <p:cNvGrpSpPr/>
              <p:nvPr userDrawn="1"/>
            </p:nvGrpSpPr>
            <p:grpSpPr>
              <a:xfrm>
                <a:off x="9094418" y="119041"/>
                <a:ext cx="477460" cy="431416"/>
                <a:chOff x="8532895" y="91935"/>
                <a:chExt cx="504900" cy="444531"/>
              </a:xfrm>
              <a:grpFill/>
            </p:grpSpPr>
            <p:sp>
              <p:nvSpPr>
                <p:cNvPr id="20"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7"/>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9"/>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6"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dirty="0">
                  <a:solidFill>
                    <a:schemeClr val="bg1"/>
                  </a:solidFill>
                </a:rPr>
                <a:t>Confidential</a:t>
              </a:r>
            </a:p>
          </p:txBody>
        </p:sp>
      </p:gr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34"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810640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766915" y="310463"/>
            <a:ext cx="10818101" cy="596766"/>
          </a:xfrm>
          <a:prstGeom prst="rect">
            <a:avLst/>
          </a:prstGeom>
        </p:spPr>
        <p:txBody>
          <a:bodyPr tIns="0" anchor="b"/>
          <a:lstStyle>
            <a:lvl1pPr>
              <a:lnSpc>
                <a:spcPct val="100000"/>
              </a:lnSpc>
              <a:defRPr b="1">
                <a:solidFill>
                  <a:schemeClr val="tx2"/>
                </a:solidFill>
                <a:latin typeface="+mn-lt"/>
                <a:cs typeface="72 Black" panose="020B0A04030603020204" pitchFamily="34" charset="0"/>
              </a:defRPr>
            </a:lvl1pPr>
          </a:lstStyle>
          <a:p>
            <a:r>
              <a:rPr lang="en-GB" noProof="0"/>
              <a:t>Agenda</a:t>
            </a:r>
          </a:p>
        </p:txBody>
      </p:sp>
      <p:sp>
        <p:nvSpPr>
          <p:cNvPr id="5" name="Marcador de texto 4"/>
          <p:cNvSpPr>
            <a:spLocks noGrp="1"/>
          </p:cNvSpPr>
          <p:nvPr>
            <p:ph type="body" sz="quarter" idx="14" hasCustomPrompt="1"/>
          </p:nvPr>
        </p:nvSpPr>
        <p:spPr>
          <a:xfrm>
            <a:off x="801418" y="1470991"/>
            <a:ext cx="10783598" cy="4613152"/>
          </a:xfrm>
          <a:prstGeom prst="rect">
            <a:avLst/>
          </a:prstGeom>
        </p:spPr>
        <p:txBody>
          <a:bodyPr>
            <a:normAutofit/>
          </a:bodyPr>
          <a:lstStyle>
            <a:lvl1pPr marL="514350" indent="-514350">
              <a:lnSpc>
                <a:spcPct val="100000"/>
              </a:lnSpc>
              <a:buClr>
                <a:schemeClr val="accent2"/>
              </a:buClr>
              <a:buSzPct val="100000"/>
              <a:buFont typeface="+mj-lt"/>
              <a:buAutoNum type="arabicPeriod"/>
              <a:defRPr sz="2800" baseline="0">
                <a:solidFill>
                  <a:schemeClr val="tx2"/>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3892319941"/>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US" noProof="0"/>
              <a:t>© Amadeus IT Group and its affiliates and subsidiaries</a:t>
            </a:r>
            <a:endParaRPr lang="en-US" noProof="0" dirty="0"/>
          </a:p>
        </p:txBody>
      </p:sp>
      <p:grpSp>
        <p:nvGrpSpPr>
          <p:cNvPr id="12" name="Group 11"/>
          <p:cNvGrpSpPr/>
          <p:nvPr userDrawn="1"/>
        </p:nvGrpSpPr>
        <p:grpSpPr>
          <a:xfrm>
            <a:off x="173409" y="80193"/>
            <a:ext cx="409580" cy="338886"/>
            <a:chOff x="10987081" y="138792"/>
            <a:chExt cx="409580" cy="338886"/>
          </a:xfrm>
          <a:solidFill>
            <a:schemeClr val="bg1"/>
          </a:solidFill>
        </p:grpSpPr>
        <p:grpSp>
          <p:nvGrpSpPr>
            <p:cNvPr id="13" name="Group 26"/>
            <p:cNvGrpSpPr/>
            <p:nvPr userDrawn="1"/>
          </p:nvGrpSpPr>
          <p:grpSpPr>
            <a:xfrm>
              <a:off x="11011908" y="146161"/>
              <a:ext cx="384753" cy="331517"/>
              <a:chOff x="9021034" y="119041"/>
              <a:chExt cx="630093" cy="553987"/>
            </a:xfrm>
            <a:grpFill/>
          </p:grpSpPr>
          <p:sp>
            <p:nvSpPr>
              <p:cNvPr id="16"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dirty="0">
                    <a:solidFill>
                      <a:schemeClr val="bg1"/>
                    </a:solidFill>
                  </a:rPr>
                  <a:t>RESTRICTED</a:t>
                </a:r>
              </a:p>
            </p:txBody>
          </p:sp>
          <p:grpSp>
            <p:nvGrpSpPr>
              <p:cNvPr id="17" name="Group 30"/>
              <p:cNvGrpSpPr/>
              <p:nvPr userDrawn="1"/>
            </p:nvGrpSpPr>
            <p:grpSpPr>
              <a:xfrm>
                <a:off x="9094418" y="119041"/>
                <a:ext cx="477460" cy="431416"/>
                <a:chOff x="8532895" y="91935"/>
                <a:chExt cx="504900" cy="444531"/>
              </a:xfrm>
              <a:grpFill/>
            </p:grpSpPr>
            <p:sp>
              <p:nvSpPr>
                <p:cNvPr id="18"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6"/>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7"/>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5"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dirty="0">
                  <a:solidFill>
                    <a:schemeClr val="bg1"/>
                  </a:solidFill>
                </a:rPr>
                <a:t>Confidential</a:t>
              </a:r>
            </a:p>
          </p:txBody>
        </p:sp>
      </p:gr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33"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878304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US"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grpSp>
        <p:nvGrpSpPr>
          <p:cNvPr id="12" name="Group 11"/>
          <p:cNvGrpSpPr/>
          <p:nvPr userDrawn="1"/>
        </p:nvGrpSpPr>
        <p:grpSpPr>
          <a:xfrm>
            <a:off x="173409" y="80193"/>
            <a:ext cx="409580" cy="338886"/>
            <a:chOff x="10987081" y="138792"/>
            <a:chExt cx="409580" cy="338886"/>
          </a:xfrm>
          <a:solidFill>
            <a:schemeClr val="bg1"/>
          </a:solidFill>
        </p:grpSpPr>
        <p:grpSp>
          <p:nvGrpSpPr>
            <p:cNvPr id="14" name="Group 26"/>
            <p:cNvGrpSpPr/>
            <p:nvPr userDrawn="1"/>
          </p:nvGrpSpPr>
          <p:grpSpPr>
            <a:xfrm>
              <a:off x="11011908" y="146161"/>
              <a:ext cx="384753" cy="331517"/>
              <a:chOff x="9021034" y="119041"/>
              <a:chExt cx="630093" cy="553987"/>
            </a:xfrm>
            <a:grpFill/>
          </p:grpSpPr>
          <p:sp>
            <p:nvSpPr>
              <p:cNvPr id="19"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dirty="0">
                    <a:solidFill>
                      <a:schemeClr val="bg1"/>
                    </a:solidFill>
                  </a:rPr>
                  <a:t>RESTRICTED</a:t>
                </a:r>
              </a:p>
            </p:txBody>
          </p:sp>
          <p:grpSp>
            <p:nvGrpSpPr>
              <p:cNvPr id="21" name="Group 30"/>
              <p:cNvGrpSpPr/>
              <p:nvPr userDrawn="1"/>
            </p:nvGrpSpPr>
            <p:grpSpPr>
              <a:xfrm>
                <a:off x="9094418" y="119041"/>
                <a:ext cx="477460" cy="431416"/>
                <a:chOff x="8532895" y="91935"/>
                <a:chExt cx="504900" cy="444531"/>
              </a:xfrm>
              <a:grpFill/>
            </p:grpSpPr>
            <p:sp>
              <p:nvSpPr>
                <p:cNvPr id="22"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9"/>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30"/>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1"/>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5"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dirty="0">
                  <a:solidFill>
                    <a:schemeClr val="bg1"/>
                  </a:solidFill>
                </a:rPr>
                <a:t>Confidential</a:t>
              </a:r>
            </a:p>
          </p:txBody>
        </p:sp>
      </p:gr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36"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31974839"/>
      </p:ext>
    </p:extLst>
  </p:cSld>
  <p:clrMapOvr>
    <a:masterClrMapping/>
  </p:clrMapOvr>
  <p:extLst>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00" name="Picture Placeholder 99"/>
          <p:cNvSpPr>
            <a:spLocks noGrp="1"/>
          </p:cNvSpPr>
          <p:nvPr>
            <p:ph type="pic" sz="quarter" idx="14" hasCustomPrompt="1"/>
          </p:nvPr>
        </p:nvSpPr>
        <p:spPr>
          <a:xfrm>
            <a:off x="-6348" y="1453388"/>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solidFill>
              </a:defRPr>
            </a:lvl1pPr>
          </a:lstStyle>
          <a:p>
            <a:pPr marL="0" lvl="0" algn="ctr" defTabSz="342875">
              <a:lnSpc>
                <a:spcPts val="3075"/>
              </a:lnSpc>
            </a:pPr>
            <a:r>
              <a:rPr lang="en-US"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US" noProof="0" dirty="0"/>
              <a:t>Divider title here</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US"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5"/>
          <p:cNvSpPr>
            <a:spLocks noEditPoints="1"/>
          </p:cNvSpPr>
          <p:nvPr userDrawn="1"/>
        </p:nvSpPr>
        <p:spPr bwMode="auto">
          <a:xfrm>
            <a:off x="11584711" y="6520314"/>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297779138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Full Bleed Photo with Title">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lIns="91438" tIns="45719" rIns="91438" bIns="45719" anchor="ctr">
            <a:normAutofit/>
          </a:bodyPr>
          <a:lstStyle>
            <a:lvl1pPr marL="0" indent="0" algn="ctr">
              <a:buNone/>
              <a:defRPr sz="1900" b="1" baseline="0"/>
            </a:lvl1pPr>
          </a:lstStyle>
          <a:p>
            <a:pPr lvl="0"/>
            <a:r>
              <a:rPr lang="en-US" noProof="0" dirty="0"/>
              <a:t>                                                          &lt;  Insert your picture here</a:t>
            </a:r>
          </a:p>
        </p:txBody>
      </p:sp>
      <p:sp>
        <p:nvSpPr>
          <p:cNvPr id="86" name="Freeform 31"/>
          <p:cNvSpPr>
            <a:spLocks/>
          </p:cNvSpPr>
          <p:nvPr userDrawn="1"/>
        </p:nvSpPr>
        <p:spPr bwMode="auto">
          <a:xfrm>
            <a:off x="38110"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8" tIns="34290" rIns="68578" bIns="34290" numCol="1" anchor="t" anchorCtr="0" compatLnSpc="1">
            <a:prstTxWarp prst="textNoShape">
              <a:avLst/>
            </a:prstTxWarp>
          </a:bodyPr>
          <a:lstStyle/>
          <a:p>
            <a:endParaRPr lang="es-ES" sz="1300" dirty="0"/>
          </a:p>
        </p:txBody>
      </p:sp>
      <p:sp>
        <p:nvSpPr>
          <p:cNvPr id="4" name="AutoShape 3"/>
          <p:cNvSpPr>
            <a:spLocks noChangeAspect="1" noChangeArrowheads="1" noTextEdit="1"/>
          </p:cNvSpPr>
          <p:nvPr userDrawn="1"/>
        </p:nvSpPr>
        <p:spPr bwMode="auto">
          <a:xfrm>
            <a:off x="4151323"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8" tIns="34290" rIns="68578" bIns="34290" numCol="1" anchor="t" anchorCtr="0" compatLnSpc="1">
            <a:prstTxWarp prst="textNoShape">
              <a:avLst/>
            </a:prstTxWarp>
          </a:bodyPr>
          <a:lstStyle/>
          <a:p>
            <a:endParaRPr lang="es-ES" sz="1300" dirty="0"/>
          </a:p>
        </p:txBody>
      </p:sp>
      <p:sp>
        <p:nvSpPr>
          <p:cNvPr id="21" name="Footer Placeholder 4"/>
          <p:cNvSpPr>
            <a:spLocks noGrp="1"/>
          </p:cNvSpPr>
          <p:nvPr>
            <p:ph type="ftr" sz="quarter" idx="3"/>
          </p:nvPr>
        </p:nvSpPr>
        <p:spPr>
          <a:xfrm rot="16200000">
            <a:off x="10404203" y="4652434"/>
            <a:ext cx="3086100" cy="226487"/>
          </a:xfrm>
          <a:prstGeom prst="rect">
            <a:avLst/>
          </a:prstGeom>
        </p:spPr>
        <p:txBody>
          <a:bodyPr vert="horz" lIns="91438" tIns="45719" rIns="91438" bIns="45719"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38" tIns="45719" rIns="91438" bIns="45719" numCol="1" anchor="t" anchorCtr="0" compatLnSpc="1">
            <a:prstTxWarp prst="textNoShape">
              <a:avLst/>
            </a:prstTxWarp>
          </a:bodyPr>
          <a:lstStyle/>
          <a:p>
            <a:endParaRPr lang="es-ES" dirty="0"/>
          </a:p>
        </p:txBody>
      </p:sp>
      <p:sp>
        <p:nvSpPr>
          <p:cNvPr id="12" name="Freeform 5"/>
          <p:cNvSpPr>
            <a:spLocks noEditPoints="1"/>
          </p:cNvSpPr>
          <p:nvPr userDrawn="1"/>
        </p:nvSpPr>
        <p:spPr bwMode="auto">
          <a:xfrm>
            <a:off x="11831964" y="380311"/>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38" tIns="45719" rIns="91438" bIns="45719" numCol="1" anchor="t" anchorCtr="0" compatLnSpc="1">
            <a:prstTxWarp prst="textNoShape">
              <a:avLst/>
            </a:prstTxWarp>
          </a:bodyPr>
          <a:lstStyle/>
          <a:p>
            <a:endParaRPr lang="en-US" dirty="0"/>
          </a:p>
        </p:txBody>
      </p:sp>
      <p:sp>
        <p:nvSpPr>
          <p:cNvPr id="13" name="Title 1"/>
          <p:cNvSpPr>
            <a:spLocks noGrp="1"/>
          </p:cNvSpPr>
          <p:nvPr>
            <p:ph type="title"/>
          </p:nvPr>
        </p:nvSpPr>
        <p:spPr>
          <a:xfrm>
            <a:off x="268224" y="296866"/>
            <a:ext cx="11253216" cy="482549"/>
          </a:xfrm>
        </p:spPr>
        <p:txBody>
          <a:bodyPr lIns="0" anchor="t">
            <a:noAutofit/>
          </a:bodyPr>
          <a:lstStyle>
            <a:lvl1pPr>
              <a:defRPr sz="3200">
                <a:solidFill>
                  <a:schemeClr val="tx2"/>
                </a:solidFill>
                <a:latin typeface="+mj-lt"/>
              </a:defRPr>
            </a:lvl1pPr>
          </a:lstStyle>
          <a:p>
            <a:r>
              <a:rPr lang="en-US" noProof="0" dirty="0"/>
              <a:t>Click to edit Master title style</a:t>
            </a:r>
          </a:p>
        </p:txBody>
      </p:sp>
      <p:sp>
        <p:nvSpPr>
          <p:cNvPr id="14" name="Text Placeholder 19"/>
          <p:cNvSpPr>
            <a:spLocks noGrp="1"/>
          </p:cNvSpPr>
          <p:nvPr>
            <p:ph type="body" sz="quarter" idx="13" hasCustomPrompt="1"/>
          </p:nvPr>
        </p:nvSpPr>
        <p:spPr>
          <a:xfrm>
            <a:off x="268224" y="779412"/>
            <a:ext cx="11228613" cy="468000"/>
          </a:xfrm>
          <a:prstGeom prst="rect">
            <a:avLst/>
          </a:prstGeom>
        </p:spPr>
        <p:txBody>
          <a:bodyPr lIns="0" tIns="45719" rIns="91438" bIns="45719">
            <a:noAutofit/>
          </a:bodyPr>
          <a:lstStyle>
            <a:lvl1pPr marL="0" indent="0">
              <a:lnSpc>
                <a:spcPct val="100000"/>
              </a:lnSpc>
              <a:buNone/>
              <a:defRPr sz="2400">
                <a:solidFill>
                  <a:schemeClr val="accent2"/>
                </a:solidFill>
                <a:latin typeface="+mj-lt"/>
              </a:defRPr>
            </a:lvl1pPr>
            <a:lvl2pPr marL="342866" indent="0">
              <a:buNone/>
              <a:defRPr sz="1200">
                <a:solidFill>
                  <a:schemeClr val="accent2"/>
                </a:solidFill>
                <a:latin typeface="+mj-lt"/>
              </a:defRPr>
            </a:lvl2pPr>
            <a:lvl3pPr marL="685732" indent="0">
              <a:buNone/>
              <a:defRPr sz="1100">
                <a:solidFill>
                  <a:schemeClr val="accent2"/>
                </a:solidFill>
                <a:latin typeface="+mj-lt"/>
              </a:defRPr>
            </a:lvl3pPr>
            <a:lvl4pPr marL="1028598" indent="0">
              <a:buNone/>
              <a:defRPr sz="900">
                <a:solidFill>
                  <a:schemeClr val="accent2"/>
                </a:solidFill>
                <a:latin typeface="+mj-lt"/>
              </a:defRPr>
            </a:lvl4pPr>
            <a:lvl5pPr marL="1371464" indent="0">
              <a:buNone/>
              <a:defRPr sz="900">
                <a:solidFill>
                  <a:schemeClr val="accent2"/>
                </a:solidFill>
                <a:latin typeface="+mj-lt"/>
              </a:defRPr>
            </a:lvl5pPr>
          </a:lstStyle>
          <a:p>
            <a:pPr lvl="0"/>
            <a:r>
              <a:rPr lang="en-US" noProof="0" dirty="0"/>
              <a:t>Click to edit Master text styles</a:t>
            </a:r>
          </a:p>
        </p:txBody>
      </p:sp>
      <p:sp>
        <p:nvSpPr>
          <p:cNvPr id="10" name="Freeform 5"/>
          <p:cNvSpPr>
            <a:spLocks noEditPoints="1"/>
          </p:cNvSpPr>
          <p:nvPr userDrawn="1"/>
        </p:nvSpPr>
        <p:spPr bwMode="auto">
          <a:xfrm>
            <a:off x="10833518" y="6533899"/>
            <a:ext cx="742135" cy="102871"/>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38" tIns="45719" rIns="91438" bIns="45719" numCol="1" anchor="t" anchorCtr="0" compatLnSpc="1">
            <a:prstTxWarp prst="textNoShape">
              <a:avLst/>
            </a:prstTxWarp>
          </a:bodyPr>
          <a:lstStyle/>
          <a:p>
            <a:endParaRPr lang="en-GB" noProof="0" dirty="0"/>
          </a:p>
        </p:txBody>
      </p:sp>
      <p:sp>
        <p:nvSpPr>
          <p:cNvPr id="15" name="Freeform 5"/>
          <p:cNvSpPr>
            <a:spLocks noEditPoints="1"/>
          </p:cNvSpPr>
          <p:nvPr userDrawn="1"/>
        </p:nvSpPr>
        <p:spPr bwMode="auto">
          <a:xfrm>
            <a:off x="11584712" y="6520315"/>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38" tIns="45719" rIns="91438" bIns="4571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70113133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a:solidFill>
                  <a:schemeClr val="tx2"/>
                </a:solidFill>
                <a:latin typeface="+mj-lt"/>
              </a:defRPr>
            </a:lvl1pPr>
          </a:lstStyle>
          <a:p>
            <a:r>
              <a:rPr lang="en-US" noProof="0" dirty="0"/>
              <a:t>Agenda</a:t>
            </a:r>
          </a:p>
        </p:txBody>
      </p:sp>
      <p:sp>
        <p:nvSpPr>
          <p:cNvPr id="5" name="Marcador de texto 4"/>
          <p:cNvSpPr>
            <a:spLocks noGrp="1"/>
          </p:cNvSpPr>
          <p:nvPr>
            <p:ph type="body" sz="quarter" idx="14" hasCustomPrompt="1"/>
          </p:nvPr>
        </p:nvSpPr>
        <p:spPr>
          <a:xfrm>
            <a:off x="302728" y="1470991"/>
            <a:ext cx="1125279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Index 1</a:t>
            </a:r>
          </a:p>
          <a:p>
            <a:pPr lvl="0"/>
            <a:r>
              <a:rPr lang="en-US" noProof="0" dirty="0"/>
              <a:t>Index 2</a:t>
            </a:r>
          </a:p>
          <a:p>
            <a:pPr lvl="0"/>
            <a:r>
              <a:rPr lang="en-US" noProof="0" dirty="0"/>
              <a:t>Index 3</a:t>
            </a: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Tree>
    <p:extLst>
      <p:ext uri="{BB962C8B-B14F-4D97-AF65-F5344CB8AC3E}">
        <p14:creationId xmlns:p14="http://schemas.microsoft.com/office/powerpoint/2010/main" val="244587986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52453734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7"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8"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8"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Tree>
    <p:extLst>
      <p:ext uri="{BB962C8B-B14F-4D97-AF65-F5344CB8AC3E}">
        <p14:creationId xmlns:p14="http://schemas.microsoft.com/office/powerpoint/2010/main" val="17945213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4886028" cy="1349538"/>
          </a:xfrm>
          <a:prstGeom prst="rect">
            <a:avLst/>
          </a:prstGeom>
        </p:spPr>
        <p:txBody>
          <a:bodyPr>
            <a:noAutofit/>
          </a:bodyPr>
          <a:lstStyle>
            <a:lvl1pPr marL="0" indent="0">
              <a:lnSpc>
                <a:spcPts val="1425"/>
              </a:lnSpc>
              <a:buNone/>
              <a:defRPr sz="240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US" noProof="0"/>
              <a:t>© Amadeus IT Group and its affiliates and subsidiaries</a:t>
            </a:r>
            <a:endParaRPr lang="en-US" noProof="0" dirty="0"/>
          </a:p>
        </p:txBody>
      </p:sp>
      <p:sp>
        <p:nvSpPr>
          <p:cNvPr id="13"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20"/>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US" noProof="0" dirty="0"/>
            </a:br>
            <a:br>
              <a:rPr lang="en-US" noProof="0" dirty="0"/>
            </a:br>
            <a:r>
              <a:rPr lang="en-US" noProof="0" dirty="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Tree>
    <p:extLst>
      <p:ext uri="{BB962C8B-B14F-4D97-AF65-F5344CB8AC3E}">
        <p14:creationId xmlns:p14="http://schemas.microsoft.com/office/powerpoint/2010/main" val="175675040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6" name="Title 1"/>
          <p:cNvSpPr>
            <a:spLocks noGrp="1"/>
          </p:cNvSpPr>
          <p:nvPr>
            <p:ph type="title"/>
          </p:nvPr>
        </p:nvSpPr>
        <p:spPr>
          <a:xfrm>
            <a:off x="268225" y="296865"/>
            <a:ext cx="5628609" cy="482549"/>
          </a:xfrm>
        </p:spPr>
        <p:txBody>
          <a:bodyPr anchor="t">
            <a:noAutofit/>
          </a:bodyPr>
          <a:lstStyle>
            <a:lvl1pPr>
              <a:defRPr sz="3200">
                <a:solidFill>
                  <a:schemeClr val="tx2"/>
                </a:solidFill>
                <a:latin typeface="+mj-lt"/>
              </a:defRPr>
            </a:lvl1pPr>
          </a:lstStyle>
          <a:p>
            <a:r>
              <a:rPr lang="en-US" noProof="0"/>
              <a:t>Click to edit Master title style</a:t>
            </a:r>
            <a:endParaRPr lang="en-GB" noProof="0" dirty="0"/>
          </a:p>
        </p:txBody>
      </p:sp>
      <p:sp>
        <p:nvSpPr>
          <p:cNvPr id="18" name="Text Placeholder 19"/>
          <p:cNvSpPr>
            <a:spLocks noGrp="1"/>
          </p:cNvSpPr>
          <p:nvPr>
            <p:ph type="body" sz="quarter" idx="13"/>
          </p:nvPr>
        </p:nvSpPr>
        <p:spPr>
          <a:xfrm>
            <a:off x="268225" y="779412"/>
            <a:ext cx="5616304"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texto 2"/>
          <p:cNvSpPr>
            <a:spLocks noGrp="1"/>
          </p:cNvSpPr>
          <p:nvPr>
            <p:ph type="body" sz="quarter" idx="19" hasCustomPrompt="1"/>
          </p:nvPr>
        </p:nvSpPr>
        <p:spPr>
          <a:xfrm>
            <a:off x="268225" y="1302026"/>
            <a:ext cx="5492496" cy="4999329"/>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4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325820626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US" noProof="0" dirty="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4408540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89284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24" name="Title 1"/>
          <p:cNvSpPr>
            <a:spLocks noGrp="1"/>
          </p:cNvSpPr>
          <p:nvPr>
            <p:ph type="title"/>
          </p:nvPr>
        </p:nvSpPr>
        <p:spPr>
          <a:xfrm>
            <a:off x="268224" y="296865"/>
            <a:ext cx="5165422"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5" name="Text Placeholder 19"/>
          <p:cNvSpPr>
            <a:spLocks noGrp="1"/>
          </p:cNvSpPr>
          <p:nvPr>
            <p:ph type="body" sz="quarter" idx="13"/>
          </p:nvPr>
        </p:nvSpPr>
        <p:spPr>
          <a:xfrm>
            <a:off x="268224" y="787824"/>
            <a:ext cx="5141038" cy="45151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US" noProof="0" dirty="0"/>
            </a:br>
            <a:br>
              <a:rPr lang="en-US" noProof="0" dirty="0"/>
            </a:br>
            <a:r>
              <a:rPr lang="en-US" noProof="0" dirty="0"/>
              <a:t>Insert your picture here</a:t>
            </a:r>
          </a:p>
        </p:txBody>
      </p:sp>
      <p:sp>
        <p:nvSpPr>
          <p:cNvPr id="17" name="Text Placeholder 68"/>
          <p:cNvSpPr>
            <a:spLocks noGrp="1"/>
          </p:cNvSpPr>
          <p:nvPr>
            <p:ph type="body" sz="quarter" idx="23" hasCustomPrompt="1"/>
          </p:nvPr>
        </p:nvSpPr>
        <p:spPr>
          <a:xfrm>
            <a:off x="5759505" y="1091922"/>
            <a:ext cx="1388744"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6E6E6"/>
          </a:solidFill>
        </p:spPr>
        <p:txBody>
          <a:bodyPr wrap="square" tIns="864000">
            <a:noAutofit/>
          </a:bodyPr>
          <a:lstStyle>
            <a:lvl1pPr marL="0" indent="0" algn="ctr">
              <a:lnSpc>
                <a:spcPct val="50000"/>
              </a:lnSpc>
              <a:spcBef>
                <a:spcPts val="450"/>
              </a:spcBef>
              <a:buNone/>
              <a:defRPr sz="1200" baseline="0">
                <a:solidFill>
                  <a:schemeClr val="accent1"/>
                </a:solidFill>
              </a:defRPr>
            </a:lvl1pPr>
            <a:lvl2pPr algn="ctr">
              <a:defRPr/>
            </a:lvl2pPr>
          </a:lstStyle>
          <a:p>
            <a:pPr lvl="0"/>
            <a:r>
              <a:rPr lang="en-GB" noProof="0" dirty="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accent1"/>
                </a:solidFill>
              </a:defRPr>
            </a:lvl1pPr>
          </a:lstStyle>
          <a:p>
            <a:pPr lvl="0"/>
            <a:r>
              <a:rPr lang="en-US" noProof="0" dirty="0"/>
              <a:t>Numb</a:t>
            </a:r>
          </a:p>
        </p:txBody>
      </p:sp>
      <p:sp>
        <p:nvSpPr>
          <p:cNvPr id="19" name="Text Placeholder 71"/>
          <p:cNvSpPr>
            <a:spLocks noGrp="1"/>
          </p:cNvSpPr>
          <p:nvPr>
            <p:ph type="body" sz="quarter" idx="25" hasCustomPrompt="1"/>
          </p:nvPr>
        </p:nvSpPr>
        <p:spPr>
          <a:xfrm>
            <a:off x="6415026" y="3686660"/>
            <a:ext cx="2068498" cy="2142336"/>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dirty="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US" noProof="0" dirty="0"/>
              <a:t>Numb</a:t>
            </a:r>
          </a:p>
        </p:txBody>
      </p:sp>
      <p:sp>
        <p:nvSpPr>
          <p:cNvPr id="21" name="Text Placeholder 73"/>
          <p:cNvSpPr>
            <a:spLocks noGrp="1"/>
          </p:cNvSpPr>
          <p:nvPr>
            <p:ph type="body" sz="quarter" idx="27" hasCustomPrompt="1"/>
          </p:nvPr>
        </p:nvSpPr>
        <p:spPr>
          <a:xfrm>
            <a:off x="8897242" y="3533043"/>
            <a:ext cx="1375616" cy="1424721"/>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2" name="Text Placeholder 70"/>
          <p:cNvSpPr>
            <a:spLocks noGrp="1"/>
          </p:cNvSpPr>
          <p:nvPr>
            <p:ph type="body" sz="quarter" idx="28" hasCustomPrompt="1"/>
          </p:nvPr>
        </p:nvSpPr>
        <p:spPr>
          <a:xfrm>
            <a:off x="8950110" y="4001070"/>
            <a:ext cx="1266262" cy="414083"/>
          </a:xfrm>
          <a:prstGeom prst="rect">
            <a:avLst/>
          </a:prstGeom>
        </p:spPr>
        <p:txBody>
          <a:bodyPr>
            <a:noAutofit/>
          </a:bodyPr>
          <a:lstStyle>
            <a:lvl1pPr marL="0" indent="0" algn="ctr">
              <a:buNone/>
              <a:defRPr sz="2700">
                <a:solidFill>
                  <a:schemeClr val="bg1"/>
                </a:solidFill>
              </a:defRPr>
            </a:lvl1pPr>
          </a:lstStyle>
          <a:p>
            <a:pPr lvl="0"/>
            <a:r>
              <a:rPr lang="en-US" noProof="0" dirty="0"/>
              <a:t>Numb</a:t>
            </a:r>
          </a:p>
        </p:txBody>
      </p:sp>
      <p:sp>
        <p:nvSpPr>
          <p:cNvPr id="26" name="Text Placeholder 75"/>
          <p:cNvSpPr>
            <a:spLocks noGrp="1"/>
          </p:cNvSpPr>
          <p:nvPr>
            <p:ph type="body" sz="quarter" idx="29" hasCustomPrompt="1"/>
          </p:nvPr>
        </p:nvSpPr>
        <p:spPr>
          <a:xfrm>
            <a:off x="10520740" y="4644293"/>
            <a:ext cx="998726" cy="103437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4"/>
          </a:solidFill>
        </p:spPr>
        <p:txBody>
          <a:bodyPr wrap="square" tIns="684000">
            <a:noAutofit/>
          </a:bodyPr>
          <a:lstStyle>
            <a:lvl1pPr marL="0" indent="0" algn="ctr">
              <a:lnSpc>
                <a:spcPct val="50000"/>
              </a:lnSpc>
              <a:spcBef>
                <a:spcPts val="450"/>
              </a:spcBef>
              <a:buNone/>
              <a:defRPr sz="1050" baseline="0">
                <a:solidFill>
                  <a:schemeClr val="tx2"/>
                </a:solidFill>
              </a:defRPr>
            </a:lvl1pPr>
            <a:lvl2pPr algn="ctr">
              <a:defRPr/>
            </a:lvl2pPr>
          </a:lstStyle>
          <a:p>
            <a:pPr lvl="0"/>
            <a:r>
              <a:rPr lang="en-GB" noProof="0" dirty="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tx2"/>
                </a:solidFill>
              </a:defRPr>
            </a:lvl1pPr>
          </a:lstStyle>
          <a:p>
            <a:pPr lvl="0"/>
            <a:r>
              <a:rPr lang="en-US" noProof="0" dirty="0"/>
              <a:t>Numb</a:t>
            </a:r>
          </a:p>
        </p:txBody>
      </p:sp>
    </p:spTree>
    <p:extLst>
      <p:ext uri="{BB962C8B-B14F-4D97-AF65-F5344CB8AC3E}">
        <p14:creationId xmlns:p14="http://schemas.microsoft.com/office/powerpoint/2010/main" val="109736589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US" noProof="0" dirty="0"/>
              <a:t>Object</a:t>
            </a: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5" name="Title 1"/>
          <p:cNvSpPr>
            <a:spLocks noGrp="1"/>
          </p:cNvSpPr>
          <p:nvPr>
            <p:ph type="title"/>
          </p:nvPr>
        </p:nvSpPr>
        <p:spPr>
          <a:xfrm>
            <a:off x="268223" y="296865"/>
            <a:ext cx="1051859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7" name="Text Placeholder 19"/>
          <p:cNvSpPr>
            <a:spLocks noGrp="1"/>
          </p:cNvSpPr>
          <p:nvPr>
            <p:ph type="body" sz="quarter" idx="13"/>
          </p:nvPr>
        </p:nvSpPr>
        <p:spPr>
          <a:xfrm>
            <a:off x="268223" y="779414"/>
            <a:ext cx="10495600" cy="376146"/>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86640933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7"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1"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5661295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US" noProof="0" dirty="0"/>
              <a:t>Title </a:t>
            </a:r>
          </a:p>
        </p:txBody>
      </p:sp>
      <p:sp>
        <p:nvSpPr>
          <p:cNvPr id="18" name="Content Placeholder 2"/>
          <p:cNvSpPr>
            <a:spLocks noGrp="1"/>
          </p:cNvSpPr>
          <p:nvPr>
            <p:ph idx="24" hasCustomPrompt="1"/>
          </p:nvPr>
        </p:nvSpPr>
        <p:spPr>
          <a:xfrm>
            <a:off x="8704890" y="4175599"/>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1" name="Text Placeholder 23"/>
          <p:cNvSpPr>
            <a:spLocks noGrp="1"/>
          </p:cNvSpPr>
          <p:nvPr>
            <p:ph type="body" sz="quarter" idx="25"/>
          </p:nvPr>
        </p:nvSpPr>
        <p:spPr>
          <a:xfrm>
            <a:off x="8702635" y="4697061"/>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4228531"/>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5" name="Text Placeholder 23"/>
          <p:cNvSpPr>
            <a:spLocks noGrp="1"/>
          </p:cNvSpPr>
          <p:nvPr>
            <p:ph type="body" sz="quarter" idx="29"/>
          </p:nvPr>
        </p:nvSpPr>
        <p:spPr>
          <a:xfrm>
            <a:off x="318700" y="4749993"/>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6"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9"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09434380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847398"/>
            <a:ext cx="1255923" cy="973138"/>
          </a:xfrm>
          <a:prstGeom prst="rect">
            <a:avLst/>
          </a:prstGeom>
        </p:spPr>
        <p:txBody>
          <a:bodyPr>
            <a:normAutofit/>
          </a:bodyPr>
          <a:lstStyle>
            <a:lvl1pPr marL="0" indent="0" algn="ctr">
              <a:buNone/>
              <a:defRPr sz="4500">
                <a:solidFill>
                  <a:schemeClr val="tx2"/>
                </a:solidFill>
              </a:defRPr>
            </a:lvl1pPr>
          </a:lstStyle>
          <a:p>
            <a:pPr lvl="0"/>
            <a:r>
              <a:rPr lang="en-US" noProof="0" dirty="0"/>
              <a:t>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847398"/>
            <a:ext cx="1271279" cy="973138"/>
          </a:xfrm>
          <a:prstGeom prst="rect">
            <a:avLst/>
          </a:prstGeom>
        </p:spPr>
        <p:txBody>
          <a:bodyPr>
            <a:normAutofit/>
          </a:bodyPr>
          <a:lstStyle>
            <a:lvl1pPr marL="0" indent="0" algn="ctr">
              <a:buNone/>
              <a:defRPr sz="4500">
                <a:solidFill>
                  <a:schemeClr val="tx2"/>
                </a:solidFill>
              </a:defRPr>
            </a:lvl1pPr>
          </a:lstStyle>
          <a:p>
            <a:pPr lvl="0"/>
            <a:r>
              <a:rPr lang="en-US" noProof="0" dirty="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23"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4" name="Text Placeholder 19"/>
          <p:cNvSpPr>
            <a:spLocks noGrp="1"/>
          </p:cNvSpPr>
          <p:nvPr>
            <p:ph type="body" sz="quarter" idx="13"/>
          </p:nvPr>
        </p:nvSpPr>
        <p:spPr>
          <a:xfrm>
            <a:off x="268224" y="779413"/>
            <a:ext cx="11228613" cy="300087"/>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0873426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US" noProof="0" dirty="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25"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9"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48647713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US" noProof="0" dirty="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US" noProof="0" dirty="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5"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US" noProof="0" dirty="0"/>
              <a:t>     </a:t>
            </a:r>
            <a:br>
              <a:rPr lang="en-US" noProof="0" dirty="0"/>
            </a:br>
            <a:br>
              <a:rPr lang="en-US" noProof="0" dirty="0"/>
            </a:br>
            <a:r>
              <a:rPr lang="en-US" noProof="0" dirty="0"/>
              <a:t> Insert your picture here</a:t>
            </a:r>
          </a:p>
        </p:txBody>
      </p:sp>
    </p:spTree>
    <p:extLst>
      <p:ext uri="{BB962C8B-B14F-4D97-AF65-F5344CB8AC3E}">
        <p14:creationId xmlns:p14="http://schemas.microsoft.com/office/powerpoint/2010/main" val="242470299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aseline="0">
                <a:solidFill>
                  <a:schemeClr val="accent2"/>
                </a:solidFill>
              </a:defRPr>
            </a:lvl1pPr>
          </a:lstStyle>
          <a:p>
            <a:pPr lvl="0"/>
            <a:r>
              <a:rPr lang="en-US" noProof="0" dirty="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800" baseline="0">
                <a:solidFill>
                  <a:schemeClr val="accent2"/>
                </a:solidFill>
              </a:defRPr>
            </a:lvl1pPr>
          </a:lstStyle>
          <a:p>
            <a:pPr lvl="0"/>
            <a:r>
              <a:rPr lang="en-US" noProof="0" dirty="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aseline="0">
                <a:solidFill>
                  <a:schemeClr val="accent2"/>
                </a:solidFill>
              </a:defRPr>
            </a:lvl1pPr>
          </a:lstStyle>
          <a:p>
            <a:pPr lvl="0"/>
            <a:r>
              <a:rPr lang="en-US" noProof="0" dirty="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400">
                <a:solidFill>
                  <a:srgbClr val="323232"/>
                </a:solidFill>
              </a:defRPr>
            </a:lvl1pPr>
            <a:lvl2pPr marL="538163" indent="-139700">
              <a:lnSpc>
                <a:spcPct val="100000"/>
              </a:lnSpc>
              <a:defRPr sz="2400">
                <a:solidFill>
                  <a:srgbClr val="323232"/>
                </a:solidFill>
              </a:defRPr>
            </a:lvl2pPr>
            <a:lvl3pPr marL="985838" indent="-138113">
              <a:lnSpc>
                <a:spcPct val="100000"/>
              </a:lnSpc>
              <a:defRPr sz="2400">
                <a:solidFill>
                  <a:srgbClr val="323232"/>
                </a:solidFill>
              </a:defRPr>
            </a:lvl3pPr>
            <a:lvl4pPr>
              <a:lnSpc>
                <a:spcPct val="100000"/>
              </a:lnSpc>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400">
                <a:solidFill>
                  <a:srgbClr val="323232"/>
                </a:solidFill>
              </a:defRPr>
            </a:lvl2pPr>
            <a:lvl3pPr marL="1076325" indent="-161925">
              <a:lnSpc>
                <a:spcPct val="100000"/>
              </a:lnSpc>
              <a:defRPr sz="2400">
                <a:solidFill>
                  <a:srgbClr val="323232"/>
                </a:solidFill>
              </a:defRPr>
            </a:lvl3pPr>
            <a:lvl4pPr>
              <a:lnSpc>
                <a:spcPct val="100000"/>
              </a:lnSpc>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a:solidFill>
                  <a:srgbClr val="323232"/>
                </a:solidFill>
              </a:defRPr>
            </a:lvl1pPr>
            <a:lvl2pPr marL="627063" indent="-169863">
              <a:lnSpc>
                <a:spcPct val="100000"/>
              </a:lnSpc>
              <a:defRPr sz="2000">
                <a:solidFill>
                  <a:srgbClr val="323232"/>
                </a:solidFill>
              </a:defRPr>
            </a:lvl2pPr>
            <a:lvl3pPr marL="1076325" indent="-228600">
              <a:lnSpc>
                <a:spcPct val="100000"/>
              </a:lnSpc>
              <a:defRPr sz="1600">
                <a:solidFill>
                  <a:srgbClr val="323232"/>
                </a:solidFill>
              </a:defRPr>
            </a:lvl3pPr>
            <a:lvl4pPr marL="1371600" indent="0">
              <a:lnSpc>
                <a:spcPct val="100000"/>
              </a:lnSpc>
              <a:buNone/>
              <a:defRPr sz="1200"/>
            </a:lvl4pPr>
            <a:lvl5pPr>
              <a:lnSpc>
                <a:spcPct val="100000"/>
              </a:lnSpc>
              <a:defRPr sz="1200"/>
            </a:lvl5pPr>
          </a:lstStyle>
          <a:p>
            <a:pPr lvl="0"/>
            <a:r>
              <a:rPr lang="en-US" noProof="0" dirty="0"/>
              <a:t>Bullet level 1</a:t>
            </a:r>
          </a:p>
          <a:p>
            <a:pPr lvl="1"/>
            <a:r>
              <a:rPr lang="en-US" noProof="0" dirty="0"/>
              <a:t>Bullet level 2</a:t>
            </a:r>
          </a:p>
          <a:p>
            <a:pPr lvl="2"/>
            <a:r>
              <a:rPr lang="en-US" noProof="0" dirty="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4" name="Title 1"/>
          <p:cNvSpPr>
            <a:spLocks noGrp="1"/>
          </p:cNvSpPr>
          <p:nvPr>
            <p:ph type="title"/>
          </p:nvPr>
        </p:nvSpPr>
        <p:spPr>
          <a:xfrm>
            <a:off x="268224" y="296865"/>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54905902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US" noProof="0" dirty="0"/>
              <a:t>Click to add text</a:t>
            </a:r>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9" name="Title 1"/>
          <p:cNvSpPr>
            <a:spLocks noGrp="1"/>
          </p:cNvSpPr>
          <p:nvPr>
            <p:ph type="title"/>
          </p:nvPr>
        </p:nvSpPr>
        <p:spPr>
          <a:xfrm>
            <a:off x="268224" y="296865"/>
            <a:ext cx="10915493"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1535625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US" noProof="0" dirty="0"/>
              <a:t>Insert your photo</a:t>
            </a:r>
          </a:p>
        </p:txBody>
      </p:sp>
    </p:spTree>
    <p:extLst>
      <p:ext uri="{BB962C8B-B14F-4D97-AF65-F5344CB8AC3E}">
        <p14:creationId xmlns:p14="http://schemas.microsoft.com/office/powerpoint/2010/main" val="37172950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ver with photo background l">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2DDBA34-3565-4473-8651-4D0D293C91E1}"/>
              </a:ext>
            </a:extLst>
          </p:cNvPr>
          <p:cNvSpPr>
            <a:spLocks noGrp="1"/>
          </p:cNvSpPr>
          <p:nvPr>
            <p:ph type="pic" sz="quarter" idx="10"/>
          </p:nvPr>
        </p:nvSpPr>
        <p:spPr>
          <a:xfrm>
            <a:off x="6096000" y="0"/>
            <a:ext cx="6096000" cy="6854825"/>
          </a:xfrm>
          <a:prstGeom prst="rect">
            <a:avLst/>
          </a:prstGeom>
        </p:spPr>
        <p:txBody>
          <a:bodyPr/>
          <a:lstStyle/>
          <a:p>
            <a:endParaRPr lang="en-US"/>
          </a:p>
        </p:txBody>
      </p:sp>
      <p:sp>
        <p:nvSpPr>
          <p:cNvPr id="3" name="CuadroTexto 12">
            <a:extLst>
              <a:ext uri="{FF2B5EF4-FFF2-40B4-BE49-F238E27FC236}">
                <a16:creationId xmlns:a16="http://schemas.microsoft.com/office/drawing/2014/main" id="{987889D4-8B80-46D8-B8FA-08AE73051523}"/>
              </a:ext>
            </a:extLst>
          </p:cNvPr>
          <p:cNvSpPr txBox="1"/>
          <p:nvPr userDrawn="1"/>
        </p:nvSpPr>
        <p:spPr>
          <a:xfrm>
            <a:off x="863031" y="957276"/>
            <a:ext cx="4492725" cy="1323439"/>
          </a:xfrm>
          <a:prstGeom prst="rect">
            <a:avLst/>
          </a:prstGeom>
          <a:noFill/>
        </p:spPr>
        <p:txBody>
          <a:bodyPr wrap="square" rtlCol="0">
            <a:spAutoFit/>
          </a:bodyPr>
          <a:lstStyle/>
          <a:p>
            <a:r>
              <a:rPr lang="en-US" sz="4000" b="1"/>
              <a:t>Title for your content slide</a:t>
            </a:r>
            <a:endParaRPr lang="es-ES" sz="4000" b="1"/>
          </a:p>
        </p:txBody>
      </p:sp>
      <p:sp>
        <p:nvSpPr>
          <p:cNvPr id="4" name="CuadroTexto 2">
            <a:extLst>
              <a:ext uri="{FF2B5EF4-FFF2-40B4-BE49-F238E27FC236}">
                <a16:creationId xmlns:a16="http://schemas.microsoft.com/office/drawing/2014/main" id="{00C833A1-8E29-4166-9AAE-F3118196FC11}"/>
              </a:ext>
            </a:extLst>
          </p:cNvPr>
          <p:cNvSpPr txBox="1"/>
          <p:nvPr userDrawn="1"/>
        </p:nvSpPr>
        <p:spPr>
          <a:xfrm>
            <a:off x="863031" y="2830795"/>
            <a:ext cx="4960056" cy="2308324"/>
          </a:xfrm>
          <a:prstGeom prst="rect">
            <a:avLst/>
          </a:prstGeom>
          <a:noFill/>
        </p:spPr>
        <p:txBody>
          <a:bodyPr wrap="square" rtlCol="0">
            <a:spAutoFit/>
          </a:bodyPr>
          <a:lstStyle/>
          <a:p>
            <a:r>
              <a:rPr lang="en-US" sz="2400" b="1">
                <a:solidFill>
                  <a:schemeClr val="accent2"/>
                </a:solidFill>
              </a:rPr>
              <a:t>1.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p>
          <a:p>
            <a:r>
              <a:rPr lang="en-US" sz="2400" b="1">
                <a:solidFill>
                  <a:schemeClr val="accent2"/>
                </a:solidFill>
              </a:rPr>
              <a:t>2.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p>
          <a:p>
            <a:r>
              <a:rPr lang="en-US" sz="2400" b="1">
                <a:solidFill>
                  <a:schemeClr val="accent2"/>
                </a:solidFill>
              </a:rPr>
              <a:t>3.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endParaRPr lang="es-ES" sz="2400"/>
          </a:p>
        </p:txBody>
      </p:sp>
    </p:spTree>
    <p:extLst>
      <p:ext uri="{BB962C8B-B14F-4D97-AF65-F5344CB8AC3E}">
        <p14:creationId xmlns:p14="http://schemas.microsoft.com/office/powerpoint/2010/main" val="4657139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US" noProof="0" dirty="0"/>
              <a:t>     </a:t>
            </a:r>
            <a:br>
              <a:rPr lang="en-US" noProof="0" dirty="0"/>
            </a:br>
            <a:br>
              <a:rPr lang="en-US" noProof="0" dirty="0"/>
            </a:br>
            <a:r>
              <a:rPr lang="en-US" noProof="0" dirty="0"/>
              <a:t> Insert your picture here</a:t>
            </a:r>
          </a:p>
        </p:txBody>
      </p:sp>
    </p:spTree>
    <p:extLst>
      <p:ext uri="{BB962C8B-B14F-4D97-AF65-F5344CB8AC3E}">
        <p14:creationId xmlns:p14="http://schemas.microsoft.com/office/powerpoint/2010/main" val="343301153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800">
                <a:solidFill>
                  <a:srgbClr val="323232"/>
                </a:solidFill>
              </a:defRPr>
            </a:lvl1pPr>
            <a:lvl2pPr>
              <a:lnSpc>
                <a:spcPct val="100000"/>
              </a:lnSpc>
              <a:buClr>
                <a:schemeClr val="accent2"/>
              </a:buClr>
              <a:defRPr sz="2400">
                <a:solidFill>
                  <a:srgbClr val="323232"/>
                </a:solidFill>
              </a:defRPr>
            </a:lvl2pPr>
            <a:lvl3pPr>
              <a:lnSpc>
                <a:spcPct val="100000"/>
              </a:lnSpc>
              <a:buClr>
                <a:schemeClr val="accent2"/>
              </a:buClr>
              <a:defRPr sz="2000">
                <a:solidFill>
                  <a:srgbClr val="323232"/>
                </a:solidFill>
              </a:defRPr>
            </a:lvl3pPr>
            <a:lvl4pPr>
              <a:lnSpc>
                <a:spcPct val="100000"/>
              </a:lnSpc>
              <a:buClr>
                <a:schemeClr val="accent2"/>
              </a:buClr>
              <a:defRPr sz="1800">
                <a:solidFill>
                  <a:srgbClr val="323232"/>
                </a:solidFill>
              </a:defRPr>
            </a:lvl4pPr>
            <a:lvl5pPr>
              <a:lnSpc>
                <a:spcPct val="100000"/>
              </a:lnSpc>
              <a:buClr>
                <a:schemeClr val="accent2"/>
              </a:buClr>
              <a:defRPr sz="160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Title 1"/>
          <p:cNvSpPr>
            <a:spLocks noGrp="1"/>
          </p:cNvSpPr>
          <p:nvPr>
            <p:ph type="title"/>
          </p:nvPr>
        </p:nvSpPr>
        <p:spPr>
          <a:xfrm>
            <a:off x="268224" y="296869"/>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5" name="Text Placeholder 19"/>
          <p:cNvSpPr>
            <a:spLocks noGrp="1"/>
          </p:cNvSpPr>
          <p:nvPr>
            <p:ph type="body" sz="quarter" idx="13"/>
          </p:nvPr>
        </p:nvSpPr>
        <p:spPr>
          <a:xfrm>
            <a:off x="292608" y="779416"/>
            <a:ext cx="11228613" cy="300087"/>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US" noProof="0" dirty="0"/>
              <a:t>Insert your photo</a:t>
            </a:r>
          </a:p>
        </p:txBody>
      </p:sp>
    </p:spTree>
    <p:extLst>
      <p:ext uri="{BB962C8B-B14F-4D97-AF65-F5344CB8AC3E}">
        <p14:creationId xmlns:p14="http://schemas.microsoft.com/office/powerpoint/2010/main" val="358796748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hite Info_2">
    <p:spTree>
      <p:nvGrpSpPr>
        <p:cNvPr id="1" name=""/>
        <p:cNvGrpSpPr/>
        <p:nvPr/>
      </p:nvGrpSpPr>
      <p:grpSpPr>
        <a:xfrm>
          <a:off x="0" y="0"/>
          <a:ext cx="0" cy="0"/>
          <a:chOff x="0" y="0"/>
          <a:chExt cx="0" cy="0"/>
        </a:xfrm>
      </p:grpSpPr>
      <p:grpSp>
        <p:nvGrpSpPr>
          <p:cNvPr id="6" name="Group 5"/>
          <p:cNvGrpSpPr/>
          <p:nvPr userDrawn="1"/>
        </p:nvGrpSpPr>
        <p:grpSpPr>
          <a:xfrm>
            <a:off x="10771769" y="6491733"/>
            <a:ext cx="882779" cy="170360"/>
            <a:chOff x="8078827" y="4868800"/>
            <a:chExt cx="662084" cy="127770"/>
          </a:xfrm>
        </p:grpSpPr>
        <p:pic>
          <p:nvPicPr>
            <p:cNvPr id="7" name="Picture 6" descr="logo-top-righ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78827" y="4868800"/>
              <a:ext cx="662084" cy="127770"/>
            </a:xfrm>
            <a:prstGeom prst="rect">
              <a:avLst/>
            </a:prstGeom>
          </p:spPr>
        </p:pic>
        <p:sp>
          <p:nvSpPr>
            <p:cNvPr id="8" name="Freeform 5"/>
            <p:cNvSpPr>
              <a:spLocks noEditPoints="1"/>
            </p:cNvSpPr>
            <p:nvPr userDrawn="1"/>
          </p:nvSpPr>
          <p:spPr bwMode="auto">
            <a:xfrm>
              <a:off x="8125138" y="4900424"/>
              <a:ext cx="556601" cy="7715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s-ES" sz="1900" dirty="0"/>
            </a:p>
          </p:txBody>
        </p:sp>
        <p:sp>
          <p:nvSpPr>
            <p:cNvPr id="9" name="Freeform 8"/>
            <p:cNvSpPr>
              <a:spLocks noEditPoints="1"/>
            </p:cNvSpPr>
            <p:nvPr userDrawn="1"/>
          </p:nvSpPr>
          <p:spPr bwMode="auto">
            <a:xfrm>
              <a:off x="8688534" y="4890236"/>
              <a:ext cx="34528" cy="34528"/>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900" dirty="0"/>
            </a:p>
          </p:txBody>
        </p:sp>
      </p:grpSp>
      <p:sp>
        <p:nvSpPr>
          <p:cNvPr id="10" name="Title 1"/>
          <p:cNvSpPr>
            <a:spLocks noGrp="1"/>
          </p:cNvSpPr>
          <p:nvPr>
            <p:ph type="title"/>
          </p:nvPr>
        </p:nvSpPr>
        <p:spPr>
          <a:xfrm>
            <a:off x="268224" y="296867"/>
            <a:ext cx="11253216" cy="482549"/>
          </a:xfr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1" name="Text Placeholder 19"/>
          <p:cNvSpPr>
            <a:spLocks noGrp="1"/>
          </p:cNvSpPr>
          <p:nvPr>
            <p:ph type="body" sz="quarter" idx="13"/>
          </p:nvPr>
        </p:nvSpPr>
        <p:spPr>
          <a:xfrm>
            <a:off x="268224" y="779412"/>
            <a:ext cx="11228613" cy="468000"/>
          </a:xfrm>
          <a:prstGeom prst="rect">
            <a:avLst/>
          </a:prstGeom>
        </p:spPr>
        <p:txBody>
          <a:bodyPr lIns="121909" tIns="60954" rIns="121909" bIns="60954">
            <a:noAutofit/>
          </a:bodyPr>
          <a:lstStyle>
            <a:lvl1pPr marL="0" indent="0">
              <a:lnSpc>
                <a:spcPct val="100000"/>
              </a:lnSpc>
              <a:buNone/>
              <a:defRPr sz="2400">
                <a:solidFill>
                  <a:schemeClr val="accent2"/>
                </a:solidFill>
                <a:latin typeface="+mj-lt"/>
              </a:defRPr>
            </a:lvl1pPr>
            <a:lvl2pPr marL="342842" indent="0">
              <a:buNone/>
              <a:defRPr sz="1200">
                <a:solidFill>
                  <a:schemeClr val="accent2"/>
                </a:solidFill>
                <a:latin typeface="+mj-lt"/>
              </a:defRPr>
            </a:lvl2pPr>
            <a:lvl3pPr marL="685682" indent="0">
              <a:buNone/>
              <a:defRPr sz="1100">
                <a:solidFill>
                  <a:schemeClr val="accent2"/>
                </a:solidFill>
                <a:latin typeface="+mj-lt"/>
              </a:defRPr>
            </a:lvl3pPr>
            <a:lvl4pPr marL="1028522" indent="0">
              <a:buNone/>
              <a:defRPr sz="900">
                <a:solidFill>
                  <a:schemeClr val="accent2"/>
                </a:solidFill>
                <a:latin typeface="+mj-lt"/>
              </a:defRPr>
            </a:lvl4pPr>
            <a:lvl5pPr marL="1371362" indent="0">
              <a:buNone/>
              <a:defRPr sz="900">
                <a:solidFill>
                  <a:schemeClr val="accent2"/>
                </a:solidFill>
                <a:latin typeface="+mj-lt"/>
              </a:defRPr>
            </a:lvl5pPr>
          </a:lstStyle>
          <a:p>
            <a:pPr lvl="0"/>
            <a:r>
              <a:rPr lang="en-US" noProof="0"/>
              <a:t>Click to edit Master text styles</a:t>
            </a: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1084664666"/>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White Info">
    <p:bg>
      <p:bgPr>
        <a:solidFill>
          <a:schemeClr val="bg1"/>
        </a:solidFill>
        <a:effectLst/>
      </p:bgPr>
    </p:bg>
    <p:spTree>
      <p:nvGrpSpPr>
        <p:cNvPr id="1" name=""/>
        <p:cNvGrpSpPr/>
        <p:nvPr/>
      </p:nvGrpSpPr>
      <p:grpSpPr>
        <a:xfrm>
          <a:off x="0" y="0"/>
          <a:ext cx="0" cy="0"/>
          <a:chOff x="0" y="0"/>
          <a:chExt cx="0" cy="0"/>
        </a:xfrm>
      </p:grpSpPr>
      <p:pic>
        <p:nvPicPr>
          <p:cNvPr id="39" name="Picture 38" descr="logo-top-righ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8801" y="6491737"/>
            <a:ext cx="895747" cy="172863"/>
          </a:xfrm>
          <a:prstGeom prst="rect">
            <a:avLst/>
          </a:prstGeom>
        </p:spPr>
      </p:pic>
      <p:sp>
        <p:nvSpPr>
          <p:cNvPr id="80" name="Freeform 5"/>
          <p:cNvSpPr>
            <a:spLocks noEditPoints="1"/>
          </p:cNvSpPr>
          <p:nvPr userDrawn="1"/>
        </p:nvSpPr>
        <p:spPr bwMode="auto">
          <a:xfrm>
            <a:off x="11584712" y="6520316"/>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32" tIns="45718" rIns="91432" bIns="45718" numCol="1" anchor="t" anchorCtr="0" compatLnSpc="1">
            <a:prstTxWarp prst="textNoShape">
              <a:avLst/>
            </a:prstTxWarp>
          </a:bodyPr>
          <a:lstStyle/>
          <a:p>
            <a:endParaRPr lang="en-US" sz="1900" dirty="0"/>
          </a:p>
        </p:txBody>
      </p:sp>
      <p:sp>
        <p:nvSpPr>
          <p:cNvPr id="2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4748453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ios">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rot="16200000">
            <a:off x="10404203" y="4652489"/>
            <a:ext cx="3086100" cy="226487"/>
          </a:xfrm>
          <a:prstGeom prst="rect">
            <a:avLst/>
          </a:prstGeom>
        </p:spPr>
        <p:txBody>
          <a:bodyPr vert="horz" lIns="91360" tIns="45718" rIns="91360" bIns="45718"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Title 1"/>
          <p:cNvSpPr>
            <a:spLocks noGrp="1"/>
          </p:cNvSpPr>
          <p:nvPr>
            <p:ph type="title"/>
          </p:nvPr>
        </p:nvSpPr>
        <p:spPr>
          <a:xfrm>
            <a:off x="287390" y="296872"/>
            <a:ext cx="11234103" cy="482549"/>
          </a:xfrm>
        </p:spPr>
        <p:txBody>
          <a:bodyPr lIns="0" anchor="t">
            <a:noAutofit/>
          </a:bodyPr>
          <a:lstStyle>
            <a:lvl1pPr>
              <a:defRPr sz="3200">
                <a:solidFill>
                  <a:schemeClr val="tx2"/>
                </a:solidFill>
                <a:latin typeface="+mj-lt"/>
              </a:defRPr>
            </a:lvl1pPr>
          </a:lstStyle>
          <a:p>
            <a:r>
              <a:rPr lang="en-US" noProof="0" dirty="0"/>
              <a:t>Click to edit Master title style</a:t>
            </a:r>
            <a:endParaRPr lang="en-GB" noProof="0" dirty="0"/>
          </a:p>
        </p:txBody>
      </p:sp>
    </p:spTree>
    <p:extLst>
      <p:ext uri="{BB962C8B-B14F-4D97-AF65-F5344CB8AC3E}">
        <p14:creationId xmlns:p14="http://schemas.microsoft.com/office/powerpoint/2010/main" val="350576795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defTabSz="453923"/>
            <a:r>
              <a:rPr lang="en-US">
                <a:solidFill>
                  <a:srgbClr val="FFFFFF">
                    <a:lumMod val="65000"/>
                  </a:srgbClr>
                </a:solidFill>
              </a:rPr>
              <a:t>© Amadeus IT Group and its affiliates and subsidiaries</a:t>
            </a:r>
            <a:endParaRPr lang="es-ES" dirty="0">
              <a:solidFill>
                <a:srgbClr val="FFFFFF">
                  <a:lumMod val="65000"/>
                </a:srgbClr>
              </a:solidFill>
            </a:endParaRPr>
          </a:p>
        </p:txBody>
      </p:sp>
    </p:spTree>
    <p:extLst>
      <p:ext uri="{BB962C8B-B14F-4D97-AF65-F5344CB8AC3E}">
        <p14:creationId xmlns:p14="http://schemas.microsoft.com/office/powerpoint/2010/main" val="49502174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CO-BRANDING">
    <p:spTree>
      <p:nvGrpSpPr>
        <p:cNvPr id="1" name=""/>
        <p:cNvGrpSpPr/>
        <p:nvPr/>
      </p:nvGrpSpPr>
      <p:grpSpPr>
        <a:xfrm>
          <a:off x="0" y="0"/>
          <a:ext cx="0" cy="0"/>
          <a:chOff x="0" y="0"/>
          <a:chExt cx="0" cy="0"/>
        </a:xfrm>
      </p:grpSpPr>
      <p:sp>
        <p:nvSpPr>
          <p:cNvPr id="26" name="Content Placeholder 2"/>
          <p:cNvSpPr>
            <a:spLocks noGrp="1"/>
          </p:cNvSpPr>
          <p:nvPr>
            <p:ph idx="1"/>
          </p:nvPr>
        </p:nvSpPr>
        <p:spPr>
          <a:xfrm>
            <a:off x="430029" y="1557340"/>
            <a:ext cx="10972464" cy="4643437"/>
          </a:xfrm>
          <a:prstGeom prst="rect">
            <a:avLst/>
          </a:prstGeom>
        </p:spPr>
        <p:txBody>
          <a:bodyPr lIns="121909" tIns="60954" rIns="121909" bIns="60954"/>
          <a:lstStyle>
            <a:lvl1pPr>
              <a:defRPr sz="2300">
                <a:solidFill>
                  <a:schemeClr val="tx1"/>
                </a:solidFill>
              </a:defRPr>
            </a:lvl1pPr>
            <a:lvl2pPr>
              <a:defRPr sz="2000">
                <a:solidFill>
                  <a:schemeClr val="tx1"/>
                </a:solidFill>
              </a:defRPr>
            </a:lvl2pPr>
            <a:lvl3pPr>
              <a:defRPr sz="1900">
                <a:solidFill>
                  <a:schemeClr val="tx1"/>
                </a:solidFill>
              </a:defRPr>
            </a:lvl3pPr>
            <a:lvl4pPr>
              <a:defRPr sz="1600">
                <a:solidFill>
                  <a:schemeClr val="tx1"/>
                </a:solidFill>
              </a:defRPr>
            </a:lvl4pPr>
            <a:lvl5pP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5"/>
          <p:cNvSpPr>
            <a:spLocks noGrp="1"/>
          </p:cNvSpPr>
          <p:nvPr>
            <p:ph type="body" sz="quarter" idx="10" hasCustomPrompt="1"/>
          </p:nvPr>
        </p:nvSpPr>
        <p:spPr>
          <a:xfrm>
            <a:off x="431602" y="1053638"/>
            <a:ext cx="10659727" cy="390303"/>
          </a:xfrm>
          <a:prstGeom prst="rect">
            <a:avLst/>
          </a:prstGeom>
        </p:spPr>
        <p:txBody>
          <a:bodyPr lIns="79189" tIns="60954" rIns="0" bIns="60954">
            <a:noAutofit/>
          </a:bodyPr>
          <a:lstStyle>
            <a:lvl1pPr marL="0" indent="0">
              <a:buFont typeface="Arial" pitchFamily="34" charset="0"/>
              <a:buNone/>
              <a:defRPr sz="1600">
                <a:solidFill>
                  <a:schemeClr val="tx2"/>
                </a:solidFill>
              </a:defRPr>
            </a:lvl1pPr>
            <a:lvl2pPr marL="443513" indent="0">
              <a:buNone/>
              <a:defRPr>
                <a:solidFill>
                  <a:schemeClr val="tx2"/>
                </a:solidFill>
              </a:defRPr>
            </a:lvl2pPr>
            <a:lvl3pPr marL="887430" indent="0">
              <a:buNone/>
              <a:defRPr>
                <a:solidFill>
                  <a:schemeClr val="tx2"/>
                </a:solidFill>
              </a:defRPr>
            </a:lvl3pPr>
            <a:lvl4pPr marL="1331037" indent="0">
              <a:buNone/>
              <a:defRPr>
                <a:solidFill>
                  <a:schemeClr val="tx2"/>
                </a:solidFill>
              </a:defRPr>
            </a:lvl4pPr>
            <a:lvl5pPr marL="1774850" indent="0">
              <a:buNone/>
              <a:defRPr>
                <a:solidFill>
                  <a:schemeClr val="tx2"/>
                </a:solidFill>
              </a:defRPr>
            </a:lvl5pPr>
          </a:lstStyle>
          <a:p>
            <a:pPr lvl="0"/>
            <a:r>
              <a:rPr lang="en-GB" noProof="0" dirty="0"/>
              <a:t>Subtitle</a:t>
            </a:r>
          </a:p>
        </p:txBody>
      </p:sp>
      <p:cxnSp>
        <p:nvCxnSpPr>
          <p:cNvPr id="75" name="Conector recto 8"/>
          <p:cNvCxnSpPr/>
          <p:nvPr userDrawn="1"/>
        </p:nvCxnSpPr>
        <p:spPr>
          <a:xfrm flipV="1">
            <a:off x="10176243" y="6381331"/>
            <a:ext cx="0" cy="307924"/>
          </a:xfrm>
          <a:prstGeom prst="line">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81" name="Content Placeholder 4"/>
          <p:cNvSpPr>
            <a:spLocks noGrp="1"/>
          </p:cNvSpPr>
          <p:nvPr userDrawn="1">
            <p:ph sz="quarter" idx="14" hasCustomPrompt="1"/>
          </p:nvPr>
        </p:nvSpPr>
        <p:spPr>
          <a:xfrm>
            <a:off x="7657993" y="6405778"/>
            <a:ext cx="2285843" cy="284647"/>
          </a:xfrm>
          <a:prstGeom prst="rect">
            <a:avLst/>
          </a:prstGeom>
        </p:spPr>
        <p:txBody>
          <a:bodyPr lIns="0" tIns="0" rIns="0" bIns="0" anchor="ctr"/>
          <a:lstStyle>
            <a:lvl1pPr marL="0" indent="0" algn="ctr">
              <a:buFontTx/>
              <a:buNone/>
              <a:defRPr sz="900">
                <a:solidFill>
                  <a:schemeClr val="bg2"/>
                </a:solidFill>
              </a:defRPr>
            </a:lvl1pPr>
          </a:lstStyle>
          <a:p>
            <a:pPr lvl="0"/>
            <a:r>
              <a:rPr lang="en-GB" dirty="0"/>
              <a:t>Insert Co-branding logo</a:t>
            </a:r>
          </a:p>
        </p:txBody>
      </p:sp>
      <p:sp>
        <p:nvSpPr>
          <p:cNvPr id="82" name="Text Box 12"/>
          <p:cNvSpPr txBox="1">
            <a:spLocks noChangeArrowheads="1"/>
          </p:cNvSpPr>
          <p:nvPr userDrawn="1"/>
        </p:nvSpPr>
        <p:spPr bwMode="auto">
          <a:xfrm>
            <a:off x="-2688965" y="5681599"/>
            <a:ext cx="2601537" cy="114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tabLst>
                <a:tab pos="160283" algn="l"/>
              </a:tabLst>
              <a:defRPr/>
            </a:pPr>
            <a:r>
              <a:rPr lang="en-GB" sz="900" b="1" noProof="1">
                <a:solidFill>
                  <a:srgbClr val="005EB8">
                    <a:lumMod val="75000"/>
                    <a:lumOff val="25000"/>
                  </a:srgbClr>
                </a:solidFill>
                <a:latin typeface="Verdana"/>
                <a:cs typeface="Arial" pitchFamily="34" charset="0"/>
              </a:rPr>
              <a:t>Insert Co-branding logo</a:t>
            </a:r>
            <a:br>
              <a:rPr lang="en-GB" sz="900" noProof="1">
                <a:solidFill>
                  <a:srgbClr val="005EB8">
                    <a:lumMod val="75000"/>
                    <a:lumOff val="25000"/>
                  </a:srgbClr>
                </a:solidFill>
                <a:latin typeface="Verdana"/>
                <a:cs typeface="Arial" pitchFamily="34" charset="0"/>
              </a:rPr>
            </a:br>
            <a:r>
              <a:rPr lang="en-GB" sz="900" b="1" noProof="1">
                <a:solidFill>
                  <a:srgbClr val="005EB8">
                    <a:lumMod val="75000"/>
                    <a:lumOff val="25000"/>
                  </a:srgbClr>
                </a:solidFill>
                <a:latin typeface="Verdana"/>
                <a:cs typeface="Arial" pitchFamily="34" charset="0"/>
              </a:rPr>
              <a:t>1. </a:t>
            </a:r>
            <a:r>
              <a:rPr lang="en-GB" sz="900" noProof="1">
                <a:solidFill>
                  <a:srgbClr val="005EB8">
                    <a:lumMod val="75000"/>
                    <a:lumOff val="25000"/>
                  </a:srgbClr>
                </a:solidFill>
                <a:latin typeface="Verdana"/>
                <a:cs typeface="Arial" pitchFamily="34" charset="0"/>
              </a:rPr>
              <a:t>Click on placeholder</a:t>
            </a:r>
            <a:br>
              <a:rPr lang="en-GB" sz="900" noProof="1">
                <a:solidFill>
                  <a:srgbClr val="005EB8">
                    <a:lumMod val="75000"/>
                    <a:lumOff val="25000"/>
                  </a:srgbClr>
                </a:solidFill>
                <a:latin typeface="Verdana"/>
                <a:cs typeface="Arial" pitchFamily="34" charset="0"/>
              </a:rPr>
            </a:br>
            <a:r>
              <a:rPr lang="en-GB" sz="900" b="1" noProof="1">
                <a:solidFill>
                  <a:srgbClr val="005EB8">
                    <a:lumMod val="75000"/>
                    <a:lumOff val="25000"/>
                  </a:srgbClr>
                </a:solidFill>
                <a:latin typeface="Verdana"/>
                <a:cs typeface="Arial" pitchFamily="34" charset="0"/>
              </a:rPr>
              <a:t>2. </a:t>
            </a:r>
            <a:r>
              <a:rPr lang="en-GB" sz="900" noProof="1">
                <a:solidFill>
                  <a:srgbClr val="005EB8">
                    <a:lumMod val="75000"/>
                    <a:lumOff val="25000"/>
                  </a:srgbClr>
                </a:solidFill>
                <a:latin typeface="Verdana"/>
                <a:cs typeface="Arial" pitchFamily="34" charset="0"/>
              </a:rPr>
              <a:t>Click ’Insert’ </a:t>
            </a:r>
            <a:br>
              <a:rPr lang="en-GB" sz="900" noProof="1">
                <a:solidFill>
                  <a:srgbClr val="005EB8">
                    <a:lumMod val="75000"/>
                    <a:lumOff val="25000"/>
                  </a:srgbClr>
                </a:solidFill>
                <a:latin typeface="Verdana"/>
                <a:cs typeface="Arial" pitchFamily="34" charset="0"/>
              </a:rPr>
            </a:br>
            <a:r>
              <a:rPr lang="en-GB" sz="900" b="1" noProof="1">
                <a:solidFill>
                  <a:srgbClr val="005EB8">
                    <a:lumMod val="75000"/>
                    <a:lumOff val="25000"/>
                  </a:srgbClr>
                </a:solidFill>
                <a:latin typeface="Verdana"/>
                <a:cs typeface="Arial" pitchFamily="34" charset="0"/>
              </a:rPr>
              <a:t>3. </a:t>
            </a:r>
            <a:r>
              <a:rPr lang="en-GB" sz="900" noProof="1">
                <a:solidFill>
                  <a:srgbClr val="005EB8">
                    <a:lumMod val="75000"/>
                    <a:lumOff val="25000"/>
                  </a:srgbClr>
                </a:solidFill>
                <a:latin typeface="Verdana"/>
                <a:cs typeface="Arial" pitchFamily="34" charset="0"/>
              </a:rPr>
              <a:t>Click ‘Picture’</a:t>
            </a:r>
            <a:br>
              <a:rPr lang="en-GB" sz="900" noProof="1">
                <a:solidFill>
                  <a:srgbClr val="005EB8">
                    <a:lumMod val="75000"/>
                    <a:lumOff val="25000"/>
                  </a:srgbClr>
                </a:solidFill>
                <a:latin typeface="Verdana"/>
                <a:cs typeface="Arial" pitchFamily="34" charset="0"/>
              </a:rPr>
            </a:br>
            <a:r>
              <a:rPr lang="en-GB" sz="900" b="1" noProof="1">
                <a:solidFill>
                  <a:srgbClr val="005EB8">
                    <a:lumMod val="75000"/>
                    <a:lumOff val="25000"/>
                  </a:srgbClr>
                </a:solidFill>
                <a:latin typeface="Verdana"/>
                <a:cs typeface="Arial" pitchFamily="34" charset="0"/>
              </a:rPr>
              <a:t>4. </a:t>
            </a:r>
            <a:r>
              <a:rPr lang="en-GB" sz="900" noProof="1">
                <a:solidFill>
                  <a:srgbClr val="005EB8">
                    <a:lumMod val="75000"/>
                    <a:lumOff val="25000"/>
                  </a:srgbClr>
                </a:solidFill>
                <a:latin typeface="Verdana"/>
                <a:cs typeface="Arial" pitchFamily="34" charset="0"/>
              </a:rPr>
              <a:t>Locate the co-branding </a:t>
            </a:r>
            <a:br>
              <a:rPr lang="en-GB" sz="900" noProof="1">
                <a:solidFill>
                  <a:srgbClr val="005EB8">
                    <a:lumMod val="75000"/>
                    <a:lumOff val="25000"/>
                  </a:srgbClr>
                </a:solidFill>
                <a:latin typeface="Verdana"/>
                <a:cs typeface="Arial" pitchFamily="34" charset="0"/>
              </a:rPr>
            </a:br>
            <a:r>
              <a:rPr lang="en-GB" sz="900" noProof="1">
                <a:solidFill>
                  <a:srgbClr val="005EB8">
                    <a:lumMod val="75000"/>
                    <a:lumOff val="25000"/>
                  </a:srgbClr>
                </a:solidFill>
                <a:latin typeface="Verdana"/>
                <a:cs typeface="Arial" pitchFamily="34" charset="0"/>
              </a:rPr>
              <a:t>	logo, click Insert</a:t>
            </a:r>
            <a:br>
              <a:rPr lang="en-GB" sz="900" noProof="1">
                <a:solidFill>
                  <a:srgbClr val="005EB8">
                    <a:lumMod val="75000"/>
                    <a:lumOff val="25000"/>
                  </a:srgbClr>
                </a:solidFill>
                <a:latin typeface="Verdana"/>
                <a:cs typeface="Arial" pitchFamily="34" charset="0"/>
              </a:rPr>
            </a:br>
            <a:r>
              <a:rPr lang="en-GB" sz="900" b="1" noProof="1">
                <a:solidFill>
                  <a:srgbClr val="005EB8">
                    <a:lumMod val="75000"/>
                    <a:lumOff val="25000"/>
                  </a:srgbClr>
                </a:solidFill>
                <a:latin typeface="Verdana"/>
                <a:cs typeface="Arial" pitchFamily="34" charset="0"/>
              </a:rPr>
              <a:t>5. </a:t>
            </a:r>
            <a:r>
              <a:rPr lang="en-GB" sz="900" noProof="1">
                <a:solidFill>
                  <a:srgbClr val="005EB8">
                    <a:lumMod val="75000"/>
                    <a:lumOff val="25000"/>
                  </a:srgbClr>
                </a:solidFill>
                <a:latin typeface="Verdana"/>
                <a:cs typeface="Arial" pitchFamily="34" charset="0"/>
              </a:rPr>
              <a:t>Align with bottom line </a:t>
            </a:r>
            <a:br>
              <a:rPr lang="en-GB" sz="900" noProof="1">
                <a:solidFill>
                  <a:srgbClr val="005EB8">
                    <a:lumMod val="75000"/>
                    <a:lumOff val="25000"/>
                  </a:srgbClr>
                </a:solidFill>
                <a:latin typeface="Verdana"/>
                <a:cs typeface="Arial" pitchFamily="34" charset="0"/>
              </a:rPr>
            </a:br>
            <a:r>
              <a:rPr lang="en-GB" sz="900" noProof="1">
                <a:solidFill>
                  <a:srgbClr val="005EB8">
                    <a:lumMod val="75000"/>
                    <a:lumOff val="25000"/>
                  </a:srgbClr>
                </a:solidFill>
                <a:latin typeface="Verdana"/>
                <a:cs typeface="Arial" pitchFamily="34" charset="0"/>
              </a:rPr>
              <a:t>	of amadeus-logo</a:t>
            </a:r>
          </a:p>
        </p:txBody>
      </p:sp>
      <p:sp>
        <p:nvSpPr>
          <p:cNvPr id="3" name="Title 2"/>
          <p:cNvSpPr>
            <a:spLocks noGrp="1"/>
          </p:cNvSpPr>
          <p:nvPr>
            <p:ph type="title"/>
          </p:nvPr>
        </p:nvSpPr>
        <p:spPr>
          <a:xfrm>
            <a:off x="430032" y="396315"/>
            <a:ext cx="10656661" cy="656700"/>
          </a:xfrm>
          <a:prstGeom prst="rect">
            <a:avLst/>
          </a:prstGeom>
        </p:spPr>
        <p:txBody>
          <a:bodyPr/>
          <a:lstStyle/>
          <a:p>
            <a:r>
              <a:rPr lang="en-US"/>
              <a:t>Click to edit Master title style</a:t>
            </a:r>
            <a:endParaRPr lang="en-GB" dirty="0"/>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123310897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o-branding slide EXTRA">
    <p:spTree>
      <p:nvGrpSpPr>
        <p:cNvPr id="1" name=""/>
        <p:cNvGrpSpPr/>
        <p:nvPr/>
      </p:nvGrpSpPr>
      <p:grpSpPr>
        <a:xfrm>
          <a:off x="0" y="0"/>
          <a:ext cx="0" cy="0"/>
          <a:chOff x="0" y="0"/>
          <a:chExt cx="0" cy="0"/>
        </a:xfrm>
      </p:grpSpPr>
      <p:sp>
        <p:nvSpPr>
          <p:cNvPr id="26" name="Content Placeholder 2"/>
          <p:cNvSpPr>
            <a:spLocks noGrp="1"/>
          </p:cNvSpPr>
          <p:nvPr>
            <p:ph idx="1"/>
          </p:nvPr>
        </p:nvSpPr>
        <p:spPr>
          <a:xfrm>
            <a:off x="431372" y="1600201"/>
            <a:ext cx="11151029" cy="4525963"/>
          </a:xfrm>
          <a:prstGeom prst="rect">
            <a:avLst/>
          </a:prstGeom>
        </p:spPr>
        <p:txBody>
          <a:bodyPr lIns="121909" tIns="60954" rIns="121909" bIns="60954"/>
          <a:lstStyle>
            <a:lvl1pPr>
              <a:defRPr sz="3200">
                <a:solidFill>
                  <a:srgbClr val="4D4D4D"/>
                </a:solidFill>
              </a:defRPr>
            </a:lvl1pPr>
            <a:lvl2pPr>
              <a:defRPr sz="2700">
                <a:solidFill>
                  <a:srgbClr val="4D4D4D"/>
                </a:solidFill>
              </a:defRPr>
            </a:lvl2pPr>
            <a:lvl3pPr>
              <a:defRPr sz="2400">
                <a:solidFill>
                  <a:srgbClr val="4D4D4D"/>
                </a:solidFill>
              </a:defRPr>
            </a:lvl3pPr>
            <a:lvl4pPr>
              <a:defRPr sz="2100">
                <a:solidFill>
                  <a:srgbClr val="4D4D4D"/>
                </a:solidFill>
              </a:defRPr>
            </a:lvl4pPr>
            <a:lvl5pPr>
              <a:defRPr sz="2100">
                <a:solidFill>
                  <a:srgbClr val="4D4D4D"/>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Title 5"/>
          <p:cNvSpPr>
            <a:spLocks noGrp="1"/>
          </p:cNvSpPr>
          <p:nvPr>
            <p:ph type="title"/>
          </p:nvPr>
        </p:nvSpPr>
        <p:spPr>
          <a:xfrm>
            <a:off x="420288" y="438195"/>
            <a:ext cx="10662581" cy="542812"/>
          </a:xfrm>
          <a:prstGeom prst="rect">
            <a:avLst/>
          </a:prstGeom>
        </p:spPr>
        <p:txBody>
          <a:bodyPr/>
          <a:lstStyle/>
          <a:p>
            <a:r>
              <a:rPr lang="en-US" noProof="0"/>
              <a:t>Click to edit Master title style</a:t>
            </a:r>
            <a:endParaRPr lang="en-GB" noProof="0" dirty="0"/>
          </a:p>
        </p:txBody>
      </p:sp>
      <p:sp>
        <p:nvSpPr>
          <p:cNvPr id="29" name="Text Placeholder 5"/>
          <p:cNvSpPr>
            <a:spLocks noGrp="1"/>
          </p:cNvSpPr>
          <p:nvPr>
            <p:ph type="body" sz="quarter" idx="10" hasCustomPrompt="1"/>
          </p:nvPr>
        </p:nvSpPr>
        <p:spPr>
          <a:xfrm>
            <a:off x="409204" y="1052737"/>
            <a:ext cx="11127317" cy="360363"/>
          </a:xfrm>
          <a:prstGeom prst="rect">
            <a:avLst/>
          </a:prstGeom>
        </p:spPr>
        <p:txBody>
          <a:bodyPr lIns="121909" tIns="60954" rIns="121909" bIns="60954">
            <a:noAutofit/>
          </a:bodyPr>
          <a:lstStyle>
            <a:lvl1pPr marL="0" indent="0">
              <a:buFont typeface="Arial" pitchFamily="34" charset="0"/>
              <a:buNone/>
              <a:defRPr sz="2400">
                <a:solidFill>
                  <a:schemeClr val="tx2"/>
                </a:solidFill>
              </a:defRPr>
            </a:lvl1pPr>
            <a:lvl2pPr marL="591623" indent="0">
              <a:buNone/>
              <a:defRPr>
                <a:solidFill>
                  <a:schemeClr val="tx2"/>
                </a:solidFill>
              </a:defRPr>
            </a:lvl2pPr>
            <a:lvl3pPr marL="1183297" indent="0">
              <a:buNone/>
              <a:defRPr>
                <a:solidFill>
                  <a:schemeClr val="tx2"/>
                </a:solidFill>
              </a:defRPr>
            </a:lvl3pPr>
            <a:lvl4pPr marL="1774850" indent="0">
              <a:buNone/>
              <a:defRPr>
                <a:solidFill>
                  <a:schemeClr val="tx2"/>
                </a:solidFill>
              </a:defRPr>
            </a:lvl4pPr>
            <a:lvl5pPr marL="2366317" indent="0">
              <a:buNone/>
              <a:defRPr>
                <a:solidFill>
                  <a:schemeClr val="tx2"/>
                </a:solidFill>
              </a:defRPr>
            </a:lvl5pPr>
          </a:lstStyle>
          <a:p>
            <a:pPr lvl="0"/>
            <a:r>
              <a:rPr lang="en-US" noProof="0" dirty="0"/>
              <a:t>Subtitle</a:t>
            </a:r>
          </a:p>
        </p:txBody>
      </p:sp>
      <p:sp>
        <p:nvSpPr>
          <p:cNvPr id="11" name="Picture Placeholder 4"/>
          <p:cNvSpPr>
            <a:spLocks noGrp="1"/>
          </p:cNvSpPr>
          <p:nvPr>
            <p:ph type="pic" sz="quarter" idx="11" hasCustomPrompt="1"/>
          </p:nvPr>
        </p:nvSpPr>
        <p:spPr>
          <a:xfrm>
            <a:off x="7722493" y="6373016"/>
            <a:ext cx="1823905" cy="360064"/>
          </a:xfrm>
          <a:prstGeom prst="rect">
            <a:avLst/>
          </a:prstGeom>
        </p:spPr>
        <p:txBody>
          <a:bodyPr lIns="121909" tIns="60954" rIns="121909" bIns="60954">
            <a:noAutofit/>
          </a:bodyPr>
          <a:lstStyle>
            <a:lvl1pPr marL="0" indent="0">
              <a:buNone/>
              <a:defRPr sz="1200">
                <a:solidFill>
                  <a:schemeClr val="bg1"/>
                </a:solidFill>
              </a:defRPr>
            </a:lvl1pPr>
          </a:lstStyle>
          <a:p>
            <a:r>
              <a:rPr lang="en-US" noProof="0" dirty="0"/>
              <a:t>Co-branding logo</a:t>
            </a:r>
          </a:p>
        </p:txBody>
      </p:sp>
      <p:sp>
        <p:nvSpPr>
          <p:cNvPr id="9" name="Picture Placeholder 4"/>
          <p:cNvSpPr>
            <a:spLocks noGrp="1"/>
          </p:cNvSpPr>
          <p:nvPr>
            <p:ph type="pic" sz="quarter" idx="12" hasCustomPrompt="1"/>
          </p:nvPr>
        </p:nvSpPr>
        <p:spPr>
          <a:xfrm>
            <a:off x="5791205" y="6373016"/>
            <a:ext cx="1823905" cy="360064"/>
          </a:xfrm>
          <a:prstGeom prst="rect">
            <a:avLst/>
          </a:prstGeom>
        </p:spPr>
        <p:txBody>
          <a:bodyPr lIns="121909" tIns="60954" rIns="121909" bIns="60954">
            <a:noAutofit/>
          </a:bodyPr>
          <a:lstStyle>
            <a:lvl1pPr marL="0" indent="0">
              <a:buNone/>
              <a:defRPr sz="1200">
                <a:solidFill>
                  <a:schemeClr val="bg1"/>
                </a:solidFill>
              </a:defRPr>
            </a:lvl1pPr>
          </a:lstStyle>
          <a:p>
            <a:r>
              <a:rPr lang="en-US" noProof="0" dirty="0"/>
              <a:t>Co-branding logo</a:t>
            </a:r>
          </a:p>
        </p:txBody>
      </p:sp>
      <p:sp>
        <p:nvSpPr>
          <p:cNvPr id="3" name="Rectangle 2"/>
          <p:cNvSpPr/>
          <p:nvPr userDrawn="1"/>
        </p:nvSpPr>
        <p:spPr>
          <a:xfrm>
            <a:off x="11785600" y="3429000"/>
            <a:ext cx="406400" cy="254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dirty="0"/>
          </a:p>
        </p:txBody>
      </p:sp>
      <p:sp>
        <p:nvSpPr>
          <p:cNvPr id="12" name="Marcador de posición de imagen 34"/>
          <p:cNvSpPr>
            <a:spLocks noGrp="1"/>
          </p:cNvSpPr>
          <p:nvPr>
            <p:ph type="pic" sz="quarter" idx="16" hasCustomPrompt="1"/>
          </p:nvPr>
        </p:nvSpPr>
        <p:spPr>
          <a:xfrm>
            <a:off x="7973" y="1193800"/>
            <a:ext cx="5926569" cy="5664200"/>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lIns="121909" tIns="60954" rIns="121909" bIns="60954" anchor="ctr">
            <a:noAutofit/>
          </a:bodyPr>
          <a:lstStyle>
            <a:lvl1pPr marL="0" indent="0" algn="ctr">
              <a:buNone/>
              <a:defRPr baseline="0"/>
            </a:lvl1pPr>
          </a:lstStyle>
          <a:p>
            <a:br>
              <a:rPr lang="en-GB" noProof="0" dirty="0"/>
            </a:br>
            <a:br>
              <a:rPr lang="en-GB" noProof="0" dirty="0"/>
            </a:br>
            <a:br>
              <a:rPr lang="en-GB" noProof="0" dirty="0"/>
            </a:br>
            <a:br>
              <a:rPr lang="en-GB" noProof="0" dirty="0"/>
            </a:br>
            <a:r>
              <a:rPr lang="en-GB" noProof="0" dirty="0"/>
              <a:t>Insert your picture here</a:t>
            </a: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187804259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7_ 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7" y="1480161"/>
            <a:ext cx="4886028" cy="1349539"/>
          </a:xfrm>
          <a:prstGeom prst="rect">
            <a:avLst/>
          </a:prstGeom>
        </p:spPr>
        <p:txBody>
          <a:bodyPr lIns="121909" tIns="60954" rIns="121909" bIns="60954">
            <a:noAutofit/>
          </a:bodyPr>
          <a:lstStyle>
            <a:lvl1pPr marL="0" indent="0">
              <a:lnSpc>
                <a:spcPts val="1425"/>
              </a:lnSpc>
              <a:buNone/>
              <a:defRPr sz="2400">
                <a:solidFill>
                  <a:srgbClr val="323232"/>
                </a:solidFill>
                <a:latin typeface="+mj-lt"/>
              </a:defRPr>
            </a:lvl1pPr>
            <a:lvl2pPr marL="342842" indent="0">
              <a:buNone/>
              <a:defRPr sz="1200">
                <a:solidFill>
                  <a:schemeClr val="accent2"/>
                </a:solidFill>
                <a:latin typeface="+mj-lt"/>
              </a:defRPr>
            </a:lvl2pPr>
            <a:lvl3pPr marL="685682" indent="0">
              <a:buNone/>
              <a:defRPr sz="1100">
                <a:solidFill>
                  <a:schemeClr val="accent2"/>
                </a:solidFill>
                <a:latin typeface="+mj-lt"/>
              </a:defRPr>
            </a:lvl3pPr>
            <a:lvl4pPr marL="1028522" indent="0">
              <a:buNone/>
              <a:defRPr sz="900">
                <a:solidFill>
                  <a:schemeClr val="accent2"/>
                </a:solidFill>
                <a:latin typeface="+mj-lt"/>
              </a:defRPr>
            </a:lvl4pPr>
            <a:lvl5pPr marL="1371362" indent="0">
              <a:buNone/>
              <a:defRPr sz="900">
                <a:solidFill>
                  <a:schemeClr val="accent2"/>
                </a:solidFill>
                <a:latin typeface="+mj-lt"/>
              </a:defRPr>
            </a:lvl5pPr>
          </a:lstStyle>
          <a:p>
            <a:pPr lvl="0"/>
            <a:r>
              <a:rPr lang="en-US" noProof="0"/>
              <a:t>Click to edit Master text styles</a:t>
            </a:r>
          </a:p>
        </p:txBody>
      </p:sp>
      <p:sp>
        <p:nvSpPr>
          <p:cNvPr id="13" name="Title 1"/>
          <p:cNvSpPr>
            <a:spLocks noGrp="1"/>
          </p:cNvSpPr>
          <p:nvPr>
            <p:ph type="title"/>
          </p:nvPr>
        </p:nvSpPr>
        <p:spPr>
          <a:xfrm>
            <a:off x="268224" y="296867"/>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GB" noProof="0" dirty="0"/>
          </a:p>
        </p:txBody>
      </p:sp>
      <p:sp>
        <p:nvSpPr>
          <p:cNvPr id="15" name="Text Placeholder 19"/>
          <p:cNvSpPr>
            <a:spLocks noGrp="1"/>
          </p:cNvSpPr>
          <p:nvPr>
            <p:ph type="body" sz="quarter" idx="20"/>
          </p:nvPr>
        </p:nvSpPr>
        <p:spPr>
          <a:xfrm>
            <a:off x="268224" y="779418"/>
            <a:ext cx="11228613" cy="300087"/>
          </a:xfrm>
          <a:prstGeom prst="rect">
            <a:avLst/>
          </a:prstGeom>
        </p:spPr>
        <p:txBody>
          <a:bodyPr lIns="121909" tIns="60954" rIns="121909" bIns="60954">
            <a:noAutofit/>
          </a:bodyPr>
          <a:lstStyle>
            <a:lvl1pPr marL="0" indent="0">
              <a:lnSpc>
                <a:spcPct val="100000"/>
              </a:lnSpc>
              <a:buNone/>
              <a:defRPr sz="2400">
                <a:solidFill>
                  <a:schemeClr val="accent2"/>
                </a:solidFill>
                <a:latin typeface="+mj-lt"/>
              </a:defRPr>
            </a:lvl1pPr>
            <a:lvl2pPr marL="342842" indent="0">
              <a:buNone/>
              <a:defRPr sz="1200">
                <a:solidFill>
                  <a:schemeClr val="accent2"/>
                </a:solidFill>
                <a:latin typeface="+mj-lt"/>
              </a:defRPr>
            </a:lvl2pPr>
            <a:lvl3pPr marL="685682" indent="0">
              <a:buNone/>
              <a:defRPr sz="1100">
                <a:solidFill>
                  <a:schemeClr val="accent2"/>
                </a:solidFill>
                <a:latin typeface="+mj-lt"/>
              </a:defRPr>
            </a:lvl3pPr>
            <a:lvl4pPr marL="1028522" indent="0">
              <a:buNone/>
              <a:defRPr sz="900">
                <a:solidFill>
                  <a:schemeClr val="accent2"/>
                </a:solidFill>
                <a:latin typeface="+mj-lt"/>
              </a:defRPr>
            </a:lvl4pPr>
            <a:lvl5pPr marL="1371362" indent="0">
              <a:buNone/>
              <a:defRPr sz="900">
                <a:solidFill>
                  <a:schemeClr val="accent2"/>
                </a:solidFill>
                <a:latin typeface="+mj-lt"/>
              </a:defRPr>
            </a:lvl5pPr>
          </a:lstStyle>
          <a:p>
            <a:pPr lvl="0"/>
            <a:r>
              <a:rPr lang="en-US" noProof="0"/>
              <a:t>Click to edit Master text styles</a:t>
            </a:r>
          </a:p>
        </p:txBody>
      </p:sp>
      <p:sp>
        <p:nvSpPr>
          <p:cNvPr id="9" name="Picture Placeholder 30"/>
          <p:cNvSpPr>
            <a:spLocks noGrp="1"/>
          </p:cNvSpPr>
          <p:nvPr>
            <p:ph type="pic" sz="quarter" idx="14" hasCustomPrompt="1"/>
          </p:nvPr>
        </p:nvSpPr>
        <p:spPr>
          <a:xfrm>
            <a:off x="8" y="2979036"/>
            <a:ext cx="4002685" cy="3878979"/>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lIns="121909" tIns="60954" rIns="121909" bIns="60954"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2" name="Marcador de texto 2"/>
          <p:cNvSpPr>
            <a:spLocks noGrp="1"/>
          </p:cNvSpPr>
          <p:nvPr>
            <p:ph type="body" sz="quarter" idx="19" hasCustomPrompt="1"/>
          </p:nvPr>
        </p:nvSpPr>
        <p:spPr>
          <a:xfrm>
            <a:off x="6063308" y="1472794"/>
            <a:ext cx="5492496" cy="4828567"/>
          </a:xfrm>
          <a:prstGeom prst="rect">
            <a:avLst/>
          </a:prstGeom>
        </p:spPr>
        <p:txBody>
          <a:bodyPr lIns="121909" tIns="60954" rIns="121909" bIns="60954">
            <a:normAutofit/>
          </a:bodyPr>
          <a:lstStyle>
            <a:lvl1pPr marL="130947" indent="-130947">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900" baseline="0">
                <a:solidFill>
                  <a:srgbClr val="323232"/>
                </a:solidFill>
              </a:defRPr>
            </a:lvl4pPr>
            <a:lvl5pPr>
              <a:lnSpc>
                <a:spcPct val="100000"/>
              </a:lnSpc>
              <a:buClr>
                <a:schemeClr val="accent2"/>
              </a:buClr>
              <a:defRPr sz="15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1" name="Footer Placeholder 4"/>
          <p:cNvSpPr>
            <a:spLocks noGrp="1"/>
          </p:cNvSpPr>
          <p:nvPr>
            <p:ph type="ftr" sz="quarter" idx="3"/>
          </p:nvPr>
        </p:nvSpPr>
        <p:spPr>
          <a:xfrm rot="16200000">
            <a:off x="10404207" y="4652438"/>
            <a:ext cx="3086100" cy="226487"/>
          </a:xfrm>
          <a:prstGeom prst="rect">
            <a:avLst/>
          </a:prstGeom>
        </p:spPr>
        <p:txBody>
          <a:bodyPr vert="horz" lIns="121909" tIns="60954" rIns="121909" bIns="60954" rtlCol="0" anchor="ctr"/>
          <a:lstStyle>
            <a:lvl1pPr algn="l">
              <a:defRPr sz="700">
                <a:solidFill>
                  <a:schemeClr val="bg1">
                    <a:lumMod val="65000"/>
                  </a:schemeClr>
                </a:solidFill>
                <a:latin typeface="+mj-lt"/>
              </a:defRPr>
            </a:lvl1pPr>
          </a:lstStyle>
          <a:p>
            <a:r>
              <a:rPr lang="en-US"/>
              <a:t>© Amadeus IT Group and its affiliates and subsidiaries</a:t>
            </a:r>
            <a:endParaRPr lang="en-GB" dirty="0"/>
          </a:p>
        </p:txBody>
      </p:sp>
    </p:spTree>
    <p:extLst>
      <p:ext uri="{BB962C8B-B14F-4D97-AF65-F5344CB8AC3E}">
        <p14:creationId xmlns:p14="http://schemas.microsoft.com/office/powerpoint/2010/main" val="410458727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Bullets slide">
    <p:spTree>
      <p:nvGrpSpPr>
        <p:cNvPr id="1" name=""/>
        <p:cNvGrpSpPr/>
        <p:nvPr/>
      </p:nvGrpSpPr>
      <p:grpSpPr>
        <a:xfrm>
          <a:off x="0" y="0"/>
          <a:ext cx="0" cy="0"/>
          <a:chOff x="0" y="0"/>
          <a:chExt cx="0" cy="0"/>
        </a:xfrm>
      </p:grpSpPr>
      <p:sp>
        <p:nvSpPr>
          <p:cNvPr id="26" name="Content Placeholder 2"/>
          <p:cNvSpPr>
            <a:spLocks noGrp="1"/>
          </p:cNvSpPr>
          <p:nvPr>
            <p:ph idx="1"/>
          </p:nvPr>
        </p:nvSpPr>
        <p:spPr>
          <a:xfrm>
            <a:off x="431373" y="764704"/>
            <a:ext cx="10971120" cy="5544616"/>
          </a:xfrm>
          <a:prstGeom prst="rect">
            <a:avLst/>
          </a:prstGeom>
        </p:spPr>
        <p:txBody>
          <a:bodyPr lIns="121909" tIns="60954" rIns="121909" bIns="60954"/>
          <a:lstStyle>
            <a:lvl1pPr>
              <a:defRPr sz="2300">
                <a:solidFill>
                  <a:schemeClr val="tx1"/>
                </a:solidFill>
              </a:defRPr>
            </a:lvl1pPr>
            <a:lvl2pPr>
              <a:defRPr sz="2000">
                <a:solidFill>
                  <a:schemeClr val="tx1"/>
                </a:solidFill>
              </a:defRPr>
            </a:lvl2pPr>
            <a:lvl3pPr>
              <a:defRPr sz="1900">
                <a:solidFill>
                  <a:schemeClr val="tx1"/>
                </a:solidFill>
              </a:defRPr>
            </a:lvl3pPr>
            <a:lvl4pPr>
              <a:defRPr sz="1600">
                <a:solidFill>
                  <a:schemeClr val="tx1"/>
                </a:solidFill>
              </a:defRPr>
            </a:lvl4pPr>
            <a:lvl5pP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Footer Placeholder 2"/>
          <p:cNvSpPr>
            <a:spLocks noGrp="1"/>
          </p:cNvSpPr>
          <p:nvPr>
            <p:ph type="ftr" sz="quarter" idx="11"/>
          </p:nvPr>
        </p:nvSpPr>
        <p:spPr/>
        <p:txBody>
          <a:bodyPr/>
          <a:lstStyle/>
          <a:p>
            <a:r>
              <a:rPr lang="en-US"/>
              <a:t>© Amadeus IT Group and its affiliates and subsidiaries</a:t>
            </a:r>
            <a:endParaRPr lang="en-GB" dirty="0"/>
          </a:p>
        </p:txBody>
      </p:sp>
      <p:sp>
        <p:nvSpPr>
          <p:cNvPr id="4" name="Title 3"/>
          <p:cNvSpPr>
            <a:spLocks noGrp="1"/>
          </p:cNvSpPr>
          <p:nvPr>
            <p:ph type="title"/>
          </p:nvPr>
        </p:nvSpPr>
        <p:spPr>
          <a:xfrm>
            <a:off x="430035" y="44624"/>
            <a:ext cx="10972463" cy="720080"/>
          </a:xfrm>
          <a:prstGeom prst="rect">
            <a:avLst/>
          </a:prstGeom>
        </p:spPr>
        <p:txBody>
          <a:bodyPr/>
          <a:lstStyle>
            <a:lvl1pPr>
              <a:defRPr sz="2400"/>
            </a:lvl1pPr>
          </a:lstStyle>
          <a:p>
            <a:r>
              <a:rPr lang="en-US"/>
              <a:t>Click to edit Master title style</a:t>
            </a:r>
            <a:endParaRPr lang="en-GB" dirty="0"/>
          </a:p>
        </p:txBody>
      </p:sp>
    </p:spTree>
    <p:extLst>
      <p:ext uri="{BB962C8B-B14F-4D97-AF65-F5344CB8AC3E}">
        <p14:creationId xmlns:p14="http://schemas.microsoft.com/office/powerpoint/2010/main" val="37440748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tx2"/>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6013786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6" name="Marcador de texto 2">
            <a:extLst>
              <a:ext uri="{FF2B5EF4-FFF2-40B4-BE49-F238E27FC236}">
                <a16:creationId xmlns:a16="http://schemas.microsoft.com/office/drawing/2014/main" id="{3EA34706-61B4-4A1E-A18C-47E0E24E6347}"/>
              </a:ext>
            </a:extLst>
          </p:cNvPr>
          <p:cNvSpPr>
            <a:spLocks noGrp="1"/>
          </p:cNvSpPr>
          <p:nvPr>
            <p:ph type="body" sz="quarter" idx="18" hasCustomPrompt="1"/>
          </p:nvPr>
        </p:nvSpPr>
        <p:spPr>
          <a:xfrm>
            <a:off x="786581" y="1764383"/>
            <a:ext cx="5309420"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7" name="Marcador de texto 2">
            <a:extLst>
              <a:ext uri="{FF2B5EF4-FFF2-40B4-BE49-F238E27FC236}">
                <a16:creationId xmlns:a16="http://schemas.microsoft.com/office/drawing/2014/main" id="{3278AED5-2CEB-4876-BC96-4F124C387724}"/>
              </a:ext>
            </a:extLst>
          </p:cNvPr>
          <p:cNvSpPr>
            <a:spLocks noGrp="1"/>
          </p:cNvSpPr>
          <p:nvPr>
            <p:ph type="body" sz="quarter" idx="19" hasCustomPrompt="1"/>
          </p:nvPr>
        </p:nvSpPr>
        <p:spPr>
          <a:xfrm>
            <a:off x="6248401" y="1764383"/>
            <a:ext cx="5309420"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8" name="Title 1">
            <a:extLst>
              <a:ext uri="{FF2B5EF4-FFF2-40B4-BE49-F238E27FC236}">
                <a16:creationId xmlns:a16="http://schemas.microsoft.com/office/drawing/2014/main" id="{0DD1D599-0789-490D-A4F7-1570138311BD}"/>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0" name="Text Placeholder 19">
            <a:extLst>
              <a:ext uri="{FF2B5EF4-FFF2-40B4-BE49-F238E27FC236}">
                <a16:creationId xmlns:a16="http://schemas.microsoft.com/office/drawing/2014/main" id="{C1C0AD52-5103-4BE4-A573-038E9DBB1A3C}"/>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15253216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4_Bullets slide">
    <p:spTree>
      <p:nvGrpSpPr>
        <p:cNvPr id="1" name=""/>
        <p:cNvGrpSpPr/>
        <p:nvPr/>
      </p:nvGrpSpPr>
      <p:grpSpPr>
        <a:xfrm>
          <a:off x="0" y="0"/>
          <a:ext cx="0" cy="0"/>
          <a:chOff x="0" y="0"/>
          <a:chExt cx="0" cy="0"/>
        </a:xfrm>
      </p:grpSpPr>
      <p:sp>
        <p:nvSpPr>
          <p:cNvPr id="26" name="Content Placeholder 2"/>
          <p:cNvSpPr>
            <a:spLocks noGrp="1"/>
          </p:cNvSpPr>
          <p:nvPr>
            <p:ph idx="1"/>
          </p:nvPr>
        </p:nvSpPr>
        <p:spPr>
          <a:xfrm>
            <a:off x="431372" y="1600201"/>
            <a:ext cx="11151029" cy="4525963"/>
          </a:xfrm>
          <a:prstGeom prst="rect">
            <a:avLst/>
          </a:prstGeom>
        </p:spPr>
        <p:txBody>
          <a:bodyPr lIns="121909" tIns="60954" rIns="121909" bIns="60954"/>
          <a:lstStyle>
            <a:lvl1pPr>
              <a:defRPr sz="2400">
                <a:solidFill>
                  <a:srgbClr val="4D4D4D"/>
                </a:solidFill>
              </a:defRPr>
            </a:lvl1pPr>
            <a:lvl2pPr>
              <a:defRPr sz="2000">
                <a:solidFill>
                  <a:srgbClr val="4D4D4D"/>
                </a:solidFill>
              </a:defRPr>
            </a:lvl2pPr>
            <a:lvl3pPr>
              <a:defRPr sz="1900">
                <a:solidFill>
                  <a:srgbClr val="4D4D4D"/>
                </a:solidFill>
              </a:defRPr>
            </a:lvl3pPr>
            <a:lvl4pPr>
              <a:defRPr sz="1600">
                <a:solidFill>
                  <a:srgbClr val="4D4D4D"/>
                </a:solidFill>
              </a:defRPr>
            </a:lvl4pPr>
            <a:lvl5pPr>
              <a:defRPr sz="1600">
                <a:solidFill>
                  <a:srgbClr val="4D4D4D"/>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Title 5"/>
          <p:cNvSpPr>
            <a:spLocks noGrp="1"/>
          </p:cNvSpPr>
          <p:nvPr>
            <p:ph type="title"/>
          </p:nvPr>
        </p:nvSpPr>
        <p:spPr>
          <a:xfrm>
            <a:off x="420288" y="438167"/>
            <a:ext cx="10662581" cy="542812"/>
          </a:xfrm>
          <a:prstGeom prst="rect">
            <a:avLst/>
          </a:prstGeom>
        </p:spPr>
        <p:txBody>
          <a:bodyPr/>
          <a:lstStyle/>
          <a:p>
            <a:r>
              <a:rPr lang="en-US" noProof="0"/>
              <a:t>Click to edit Master title style</a:t>
            </a:r>
            <a:endParaRPr lang="en-GB" noProof="0" dirty="0"/>
          </a:p>
        </p:txBody>
      </p:sp>
      <p:sp>
        <p:nvSpPr>
          <p:cNvPr id="29" name="Text Placeholder 5"/>
          <p:cNvSpPr>
            <a:spLocks noGrp="1"/>
          </p:cNvSpPr>
          <p:nvPr>
            <p:ph type="body" sz="quarter" idx="10" hasCustomPrompt="1"/>
          </p:nvPr>
        </p:nvSpPr>
        <p:spPr>
          <a:xfrm>
            <a:off x="409204" y="1052737"/>
            <a:ext cx="11127317" cy="360363"/>
          </a:xfrm>
          <a:prstGeom prst="rect">
            <a:avLst/>
          </a:prstGeom>
        </p:spPr>
        <p:txBody>
          <a:bodyPr lIns="121909" tIns="60954" rIns="121909" bIns="60954">
            <a:noAutofit/>
          </a:bodyPr>
          <a:lstStyle>
            <a:lvl1pPr marL="0" indent="0">
              <a:buFont typeface="Arial" pitchFamily="34" charset="0"/>
              <a:buNone/>
              <a:defRPr sz="1900">
                <a:solidFill>
                  <a:schemeClr val="tx2"/>
                </a:solidFill>
              </a:defRPr>
            </a:lvl1pPr>
            <a:lvl2pPr marL="446715" indent="0">
              <a:buNone/>
              <a:defRPr>
                <a:solidFill>
                  <a:schemeClr val="tx2"/>
                </a:solidFill>
              </a:defRPr>
            </a:lvl2pPr>
            <a:lvl3pPr marL="894164" indent="0">
              <a:buNone/>
              <a:defRPr>
                <a:solidFill>
                  <a:schemeClr val="tx2"/>
                </a:solidFill>
              </a:defRPr>
            </a:lvl3pPr>
            <a:lvl4pPr marL="1341138" indent="0">
              <a:buNone/>
              <a:defRPr>
                <a:solidFill>
                  <a:schemeClr val="tx2"/>
                </a:solidFill>
              </a:defRPr>
            </a:lvl4pPr>
            <a:lvl5pPr marL="1788302" indent="0">
              <a:buNone/>
              <a:defRPr>
                <a:solidFill>
                  <a:schemeClr val="tx2"/>
                </a:solidFill>
              </a:defRPr>
            </a:lvl5pPr>
          </a:lstStyle>
          <a:p>
            <a:pPr lvl="0"/>
            <a:r>
              <a:rPr lang="en-GB" noProof="0" dirty="0"/>
              <a:t>Subtitle</a:t>
            </a:r>
          </a:p>
        </p:txBody>
      </p:sp>
      <p:sp>
        <p:nvSpPr>
          <p:cNvPr id="42" name="Rectangle 10"/>
          <p:cNvSpPr txBox="1">
            <a:spLocks noChangeArrowheads="1"/>
          </p:cNvSpPr>
          <p:nvPr userDrawn="1"/>
        </p:nvSpPr>
        <p:spPr>
          <a:xfrm>
            <a:off x="431371" y="6422896"/>
            <a:ext cx="2362200" cy="288925"/>
          </a:xfrm>
          <a:prstGeom prst="rect">
            <a:avLst/>
          </a:prstGeom>
          <a:ln/>
        </p:spPr>
        <p:txBody>
          <a:bodyPr vert="horz" lIns="89580" tIns="45194" rIns="89580" bIns="45194" rtlCol="0" anchor="ctr"/>
          <a:lstStyle>
            <a:defPPr>
              <a:defRPr lang="en-US"/>
            </a:defPPr>
            <a:lvl1pPr marL="0" algn="l" defTabSz="914400" rtl="0" eaLnBrk="1" latinLnBrk="0" hangingPunct="1">
              <a:defRPr sz="900" kern="1200">
                <a:solidFill>
                  <a:schemeClr val="accent6">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srgbClr val="D7D2CB">
                    <a:lumMod val="50000"/>
                  </a:srgbClr>
                </a:solidFill>
              </a:rPr>
              <a:t>Page  </a:t>
            </a:r>
            <a:fld id="{4A1B87DD-86B5-48CA-9454-66C05345144F}" type="slidenum">
              <a:rPr lang="en-US" smtClean="0">
                <a:solidFill>
                  <a:srgbClr val="D7D2CB">
                    <a:lumMod val="50000"/>
                  </a:srgbClr>
                </a:solidFill>
              </a:rPr>
              <a:pPr>
                <a:defRPr/>
              </a:pPr>
              <a:t>‹#›</a:t>
            </a:fld>
            <a:endParaRPr lang="en-US" dirty="0">
              <a:solidFill>
                <a:srgbClr val="D7D2CB">
                  <a:lumMod val="50000"/>
                </a:srgbClr>
              </a:solidFill>
            </a:endParaRPr>
          </a:p>
        </p:txBody>
      </p:sp>
      <p:sp>
        <p:nvSpPr>
          <p:cNvPr id="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325688735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_Text + Picture">
    <p:spTree>
      <p:nvGrpSpPr>
        <p:cNvPr id="1" name=""/>
        <p:cNvGrpSpPr/>
        <p:nvPr/>
      </p:nvGrpSpPr>
      <p:grpSpPr>
        <a:xfrm>
          <a:off x="0" y="0"/>
          <a:ext cx="0" cy="0"/>
          <a:chOff x="0" y="0"/>
          <a:chExt cx="0" cy="0"/>
        </a:xfrm>
      </p:grpSpPr>
      <p:sp>
        <p:nvSpPr>
          <p:cNvPr id="31" name="Picture Placeholder 30"/>
          <p:cNvSpPr>
            <a:spLocks noGrp="1"/>
          </p:cNvSpPr>
          <p:nvPr>
            <p:ph type="pic" sz="quarter" idx="14"/>
          </p:nvPr>
        </p:nvSpPr>
        <p:spPr>
          <a:xfrm>
            <a:off x="13" y="1562051"/>
            <a:ext cx="5336913" cy="5295964"/>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rtlCol="0" anchor="ctr">
            <a:noAutofit/>
          </a:bodyPr>
          <a:lstStyle>
            <a:lvl1pPr marL="0" indent="0" algn="ctr">
              <a:buNone/>
              <a:defRPr/>
            </a:lvl1pPr>
          </a:lstStyle>
          <a:p>
            <a:pPr lvl="0"/>
            <a:r>
              <a:rPr lang="es-ES" noProof="0" dirty="0"/>
              <a:t>Arrastre la imagen al marcador de posición o haga clic en el icono para agregar</a:t>
            </a:r>
            <a:endParaRPr lang="en-GB" noProof="0" dirty="0"/>
          </a:p>
        </p:txBody>
      </p:sp>
      <p:sp>
        <p:nvSpPr>
          <p:cNvPr id="11" name="Marcador de texto 2"/>
          <p:cNvSpPr>
            <a:spLocks noGrp="1"/>
          </p:cNvSpPr>
          <p:nvPr>
            <p:ph type="body" sz="quarter" idx="18"/>
          </p:nvPr>
        </p:nvSpPr>
        <p:spPr>
          <a:xfrm>
            <a:off x="5643932" y="1480161"/>
            <a:ext cx="5877085" cy="4828567"/>
          </a:xfrm>
          <a:prstGeom prst="rect">
            <a:avLst/>
          </a:prstGeom>
        </p:spPr>
        <p:txBody>
          <a:bodyPr/>
          <a:lstStyle>
            <a:lvl1pPr marL="228594" marR="0" indent="-228594" algn="l" defTabSz="914377" rtl="0" eaLnBrk="1" fontAlgn="auto" latinLnBrk="0" hangingPunct="1">
              <a:lnSpc>
                <a:spcPct val="90000"/>
              </a:lnSpc>
              <a:spcBef>
                <a:spcPts val="1000"/>
              </a:spcBef>
              <a:spcAft>
                <a:spcPts val="0"/>
              </a:spcAft>
              <a:buClr>
                <a:srgbClr val="00A9E0"/>
              </a:buClr>
              <a:buSzPct val="80000"/>
              <a:buFont typeface="Calibri" panose="020F0502020204030204" pitchFamily="34" charset="0"/>
              <a:buChar char="_"/>
              <a:tabLst/>
              <a:defRPr sz="1600"/>
            </a:lvl1pPr>
            <a:lvl2pPr marL="685783" marR="0" indent="-228594" algn="l" defTabSz="914377"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2pPr>
            <a:lvl3pPr marL="1142971" marR="0" indent="-228594" algn="l" defTabSz="914377"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3pPr>
            <a:lvl4pPr marL="1600160" marR="0" indent="-228594" algn="l" defTabSz="914377"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4pPr>
            <a:lvl5pPr marL="2057349" marR="0" indent="-228594" algn="l" defTabSz="914377" rtl="0" eaLnBrk="1" fontAlgn="auto" latinLnBrk="0" hangingPunct="1">
              <a:lnSpc>
                <a:spcPct val="90000"/>
              </a:lnSpc>
              <a:spcBef>
                <a:spcPts val="500"/>
              </a:spcBef>
              <a:spcAft>
                <a:spcPts val="0"/>
              </a:spcAft>
              <a:buClr>
                <a:srgbClr val="00A9E0"/>
              </a:buClr>
              <a:buSzTx/>
              <a:buFont typeface="Arial" panose="020B0604020202020204" pitchFamily="34" charset="0"/>
              <a:buChar char="•"/>
              <a:tabLst/>
              <a:defRPr sz="1600"/>
            </a:lvl5pPr>
          </a:lstStyle>
          <a:p>
            <a:pPr lvl="0"/>
            <a:r>
              <a:rPr lang="es-ES" noProof="0" dirty="0"/>
              <a:t>Haga clic para modificar el estilo de texto del patrón</a:t>
            </a:r>
          </a:p>
          <a:p>
            <a:pPr lvl="1"/>
            <a:r>
              <a:rPr lang="es-ES" noProof="0" dirty="0"/>
              <a:t>Segundo nivel</a:t>
            </a:r>
          </a:p>
          <a:p>
            <a:pPr lvl="2"/>
            <a:r>
              <a:rPr lang="es-ES" noProof="0" dirty="0"/>
              <a:t>Tercer nivel</a:t>
            </a:r>
          </a:p>
          <a:p>
            <a:pPr lvl="3"/>
            <a:r>
              <a:rPr lang="es-ES" noProof="0" dirty="0"/>
              <a:t>Cuarto nivel</a:t>
            </a:r>
          </a:p>
          <a:p>
            <a:pPr lvl="4"/>
            <a:r>
              <a:rPr lang="es-ES" noProof="0" dirty="0"/>
              <a:t>Quinto nivel</a:t>
            </a:r>
            <a:endParaRPr lang="en-GB" noProof="0" dirty="0"/>
          </a:p>
        </p:txBody>
      </p:sp>
      <p:sp>
        <p:nvSpPr>
          <p:cNvPr id="13" name="Title 1"/>
          <p:cNvSpPr>
            <a:spLocks noGrp="1"/>
          </p:cNvSpPr>
          <p:nvPr>
            <p:ph type="title"/>
          </p:nvPr>
        </p:nvSpPr>
        <p:spPr>
          <a:xfrm>
            <a:off x="268224" y="296870"/>
            <a:ext cx="11253216" cy="482549"/>
          </a:xfrm>
        </p:spPr>
        <p:txBody>
          <a:bodyPr>
            <a:noAutofit/>
          </a:bodyPr>
          <a:lstStyle>
            <a:lvl1pPr>
              <a:defRPr sz="3200">
                <a:solidFill>
                  <a:schemeClr val="tx2"/>
                </a:solidFill>
                <a:latin typeface="+mj-lt"/>
              </a:defRPr>
            </a:lvl1pPr>
          </a:lstStyle>
          <a:p>
            <a:r>
              <a:rPr lang="es-ES_tradnl" noProof="0"/>
              <a:t>Click to edit Master title style</a:t>
            </a:r>
            <a:endParaRPr lang="en-GB" noProof="0" dirty="0"/>
          </a:p>
        </p:txBody>
      </p:sp>
      <p:sp>
        <p:nvSpPr>
          <p:cNvPr id="15" name="Text Placeholder 19"/>
          <p:cNvSpPr>
            <a:spLocks noGrp="1"/>
          </p:cNvSpPr>
          <p:nvPr>
            <p:ph type="body" sz="quarter" idx="20"/>
          </p:nvPr>
        </p:nvSpPr>
        <p:spPr>
          <a:xfrm>
            <a:off x="292608" y="779418"/>
            <a:ext cx="11228613" cy="300087"/>
          </a:xfrm>
          <a:prstGeom prst="rect">
            <a:avLst/>
          </a:prstGeom>
        </p:spPr>
        <p:txBody>
          <a:bodyPr>
            <a:noAutofit/>
          </a:bodyPr>
          <a:lstStyle>
            <a:lvl1pPr marL="0" indent="0">
              <a:lnSpc>
                <a:spcPct val="100000"/>
              </a:lnSpc>
              <a:buNone/>
              <a:defRPr sz="1867">
                <a:solidFill>
                  <a:schemeClr val="accent2"/>
                </a:solidFill>
                <a:latin typeface="+mj-lt"/>
              </a:defRPr>
            </a:lvl1pPr>
            <a:lvl2pPr marL="342866" indent="0">
              <a:buNone/>
              <a:defRPr sz="1200">
                <a:solidFill>
                  <a:schemeClr val="accent2"/>
                </a:solidFill>
                <a:latin typeface="+mj-lt"/>
              </a:defRPr>
            </a:lvl2pPr>
            <a:lvl3pPr marL="685732" indent="0">
              <a:buNone/>
              <a:defRPr sz="1067">
                <a:solidFill>
                  <a:schemeClr val="accent2"/>
                </a:solidFill>
                <a:latin typeface="+mj-lt"/>
              </a:defRPr>
            </a:lvl3pPr>
            <a:lvl4pPr marL="1028598" indent="0">
              <a:buNone/>
              <a:defRPr sz="933">
                <a:solidFill>
                  <a:schemeClr val="accent2"/>
                </a:solidFill>
                <a:latin typeface="+mj-lt"/>
              </a:defRPr>
            </a:lvl4pPr>
            <a:lvl5pPr marL="1371464" indent="0">
              <a:buNone/>
              <a:defRPr sz="933">
                <a:solidFill>
                  <a:schemeClr val="accent2"/>
                </a:solidFill>
                <a:latin typeface="+mj-lt"/>
              </a:defRPr>
            </a:lvl5pPr>
          </a:lstStyle>
          <a:p>
            <a:pPr lvl="0"/>
            <a:r>
              <a:rPr lang="es-ES_tradnl" noProof="0"/>
              <a:t>Click to edit Master text styles</a:t>
            </a: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112085842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1_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US" noProof="0"/>
              <a:t>Click to edit Master title style</a:t>
            </a:r>
            <a:endParaRPr lang="en-US" noProof="0" dirty="0"/>
          </a:p>
        </p:txBody>
      </p:sp>
      <p:sp>
        <p:nvSpPr>
          <p:cNvPr id="16" name="Text Placeholder 19"/>
          <p:cNvSpPr>
            <a:spLocks noGrp="1"/>
          </p:cNvSpPr>
          <p:nvPr>
            <p:ph type="body" sz="quarter" idx="13"/>
          </p:nvPr>
        </p:nvSpPr>
        <p:spPr>
          <a:xfrm>
            <a:off x="268224" y="789351"/>
            <a:ext cx="11252997"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9" name="Marcador de texto 2"/>
          <p:cNvSpPr>
            <a:spLocks noGrp="1"/>
          </p:cNvSpPr>
          <p:nvPr>
            <p:ph type="body" sz="quarter" idx="18" hasCustomPrompt="1"/>
          </p:nvPr>
        </p:nvSpPr>
        <p:spPr>
          <a:xfrm>
            <a:off x="292609" y="1480159"/>
            <a:ext cx="11228409"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US" noProof="0" dirty="0"/>
              <a:t>Bullet level 1</a:t>
            </a:r>
          </a:p>
          <a:p>
            <a:pPr lvl="1"/>
            <a:r>
              <a:rPr lang="en-US" noProof="0" dirty="0"/>
              <a:t>Bullet level 2</a:t>
            </a:r>
          </a:p>
          <a:p>
            <a:pPr lvl="2"/>
            <a:r>
              <a:rPr lang="en-US" noProof="0" dirty="0"/>
              <a:t>Bullet level 3	</a:t>
            </a:r>
          </a:p>
          <a:p>
            <a:pPr lvl="3"/>
            <a:r>
              <a:rPr lang="en-US" noProof="0" dirty="0"/>
              <a:t>Bullet level 4</a:t>
            </a:r>
          </a:p>
          <a:p>
            <a:pPr lvl="4"/>
            <a:r>
              <a:rPr lang="en-US" noProof="0" dirty="0"/>
              <a:t>Bullet level 5</a:t>
            </a:r>
          </a:p>
        </p:txBody>
      </p:sp>
      <p:sp>
        <p:nvSpPr>
          <p:cNvPr id="2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Tree>
    <p:extLst>
      <p:ext uri="{BB962C8B-B14F-4D97-AF65-F5344CB8AC3E}">
        <p14:creationId xmlns:p14="http://schemas.microsoft.com/office/powerpoint/2010/main" val="254981933"/>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2_Cover with photo background l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US"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p:nvPr>
        </p:nvSpPr>
        <p:spPr>
          <a:xfrm>
            <a:off x="576472" y="2670166"/>
            <a:ext cx="4601584" cy="1178168"/>
          </a:xfrm>
        </p:spPr>
        <p:txBody>
          <a:bodyPr anchor="t"/>
          <a:lstStyle>
            <a:lvl1pPr>
              <a:lnSpc>
                <a:spcPct val="100000"/>
              </a:lnSpc>
              <a:defRPr baseline="0">
                <a:solidFill>
                  <a:schemeClr val="tx2"/>
                </a:solidFill>
                <a:latin typeface="+mj-lt"/>
              </a:defRPr>
            </a:lvl1pPr>
          </a:lstStyle>
          <a:p>
            <a:r>
              <a:rPr lang="en-US" noProof="0"/>
              <a:t>Click to edit Master title style</a:t>
            </a:r>
            <a:endParaRPr lang="en-US" noProof="0" dirty="0"/>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2" name="Freeform 5"/>
          <p:cNvSpPr>
            <a:spLocks noEditPoints="1"/>
          </p:cNvSpPr>
          <p:nvPr userDrawn="1"/>
        </p:nvSpPr>
        <p:spPr bwMode="auto">
          <a:xfrm>
            <a:off x="11831964" y="380310"/>
            <a:ext cx="50800" cy="50800"/>
          </a:xfrm>
          <a:custGeom>
            <a:avLst/>
            <a:gdLst>
              <a:gd name="T0" fmla="*/ 672 w 1792"/>
              <a:gd name="T1" fmla="*/ 1764 h 1792"/>
              <a:gd name="T2" fmla="*/ 395 w 1792"/>
              <a:gd name="T3" fmla="*/ 1640 h 1792"/>
              <a:gd name="T4" fmla="*/ 178 w 1792"/>
              <a:gd name="T5" fmla="*/ 1433 h 1792"/>
              <a:gd name="T6" fmla="*/ 40 w 1792"/>
              <a:gd name="T7" fmla="*/ 1163 h 1792"/>
              <a:gd name="T8" fmla="*/ 0 w 1792"/>
              <a:gd name="T9" fmla="*/ 893 h 1792"/>
              <a:gd name="T10" fmla="*/ 54 w 1792"/>
              <a:gd name="T11" fmla="*/ 585 h 1792"/>
              <a:gd name="T12" fmla="*/ 204 w 1792"/>
              <a:gd name="T13" fmla="*/ 323 h 1792"/>
              <a:gd name="T14" fmla="*/ 432 w 1792"/>
              <a:gd name="T15" fmla="*/ 128 h 1792"/>
              <a:gd name="T16" fmla="*/ 715 w 1792"/>
              <a:gd name="T17" fmla="*/ 17 h 1792"/>
              <a:gd name="T18" fmla="*/ 990 w 1792"/>
              <a:gd name="T19" fmla="*/ 4 h 1792"/>
              <a:gd name="T20" fmla="*/ 1290 w 1792"/>
              <a:gd name="T21" fmla="*/ 87 h 1792"/>
              <a:gd name="T22" fmla="*/ 1534 w 1792"/>
              <a:gd name="T23" fmla="*/ 260 h 1792"/>
              <a:gd name="T24" fmla="*/ 1705 w 1792"/>
              <a:gd name="T25" fmla="*/ 504 h 1792"/>
              <a:gd name="T26" fmla="*/ 1788 w 1792"/>
              <a:gd name="T27" fmla="*/ 801 h 1792"/>
              <a:gd name="T28" fmla="*/ 1774 w 1792"/>
              <a:gd name="T29" fmla="*/ 1077 h 1792"/>
              <a:gd name="T30" fmla="*/ 1662 w 1792"/>
              <a:gd name="T31" fmla="*/ 1362 h 1792"/>
              <a:gd name="T32" fmla="*/ 1466 w 1792"/>
              <a:gd name="T33" fmla="*/ 1588 h 1792"/>
              <a:gd name="T34" fmla="*/ 1204 w 1792"/>
              <a:gd name="T35" fmla="*/ 1738 h 1792"/>
              <a:gd name="T36" fmla="*/ 897 w 1792"/>
              <a:gd name="T37" fmla="*/ 1792 h 1792"/>
              <a:gd name="T38" fmla="*/ 746 w 1792"/>
              <a:gd name="T39" fmla="*/ 162 h 1792"/>
              <a:gd name="T40" fmla="*/ 508 w 1792"/>
              <a:gd name="T41" fmla="*/ 255 h 1792"/>
              <a:gd name="T42" fmla="*/ 320 w 1792"/>
              <a:gd name="T43" fmla="*/ 418 h 1792"/>
              <a:gd name="T44" fmla="*/ 195 w 1792"/>
              <a:gd name="T45" fmla="*/ 637 h 1792"/>
              <a:gd name="T46" fmla="*/ 150 w 1792"/>
              <a:gd name="T47" fmla="*/ 893 h 1792"/>
              <a:gd name="T48" fmla="*/ 183 w 1792"/>
              <a:gd name="T49" fmla="*/ 1117 h 1792"/>
              <a:gd name="T50" fmla="*/ 298 w 1792"/>
              <a:gd name="T51" fmla="*/ 1343 h 1792"/>
              <a:gd name="T52" fmla="*/ 478 w 1792"/>
              <a:gd name="T53" fmla="*/ 1516 h 1792"/>
              <a:gd name="T54" fmla="*/ 709 w 1792"/>
              <a:gd name="T55" fmla="*/ 1621 h 1792"/>
              <a:gd name="T56" fmla="*/ 934 w 1792"/>
              <a:gd name="T57" fmla="*/ 1644 h 1792"/>
              <a:gd name="T58" fmla="*/ 1184 w 1792"/>
              <a:gd name="T59" fmla="*/ 1586 h 1792"/>
              <a:gd name="T60" fmla="*/ 1395 w 1792"/>
              <a:gd name="T61" fmla="*/ 1451 h 1792"/>
              <a:gd name="T62" fmla="*/ 1549 w 1792"/>
              <a:gd name="T63" fmla="*/ 1252 h 1792"/>
              <a:gd name="T64" fmla="*/ 1629 w 1792"/>
              <a:gd name="T65" fmla="*/ 1008 h 1792"/>
              <a:gd name="T66" fmla="*/ 1629 w 1792"/>
              <a:gd name="T67" fmla="*/ 780 h 1792"/>
              <a:gd name="T68" fmla="*/ 1549 w 1792"/>
              <a:gd name="T69" fmla="*/ 538 h 1792"/>
              <a:gd name="T70" fmla="*/ 1395 w 1792"/>
              <a:gd name="T71" fmla="*/ 340 h 1792"/>
              <a:gd name="T72" fmla="*/ 1184 w 1792"/>
              <a:gd name="T73" fmla="*/ 206 h 1792"/>
              <a:gd name="T74" fmla="*/ 934 w 1792"/>
              <a:gd name="T75" fmla="*/ 148 h 1792"/>
              <a:gd name="T76" fmla="*/ 1150 w 1792"/>
              <a:gd name="T77" fmla="*/ 1452 h 1792"/>
              <a:gd name="T78" fmla="*/ 917 w 1792"/>
              <a:gd name="T79" fmla="*/ 1012 h 1792"/>
              <a:gd name="T80" fmla="*/ 726 w 1792"/>
              <a:gd name="T81" fmla="*/ 1442 h 1792"/>
              <a:gd name="T82" fmla="*/ 608 w 1792"/>
              <a:gd name="T83" fmla="*/ 1453 h 1792"/>
              <a:gd name="T84" fmla="*/ 584 w 1792"/>
              <a:gd name="T85" fmla="*/ 1416 h 1792"/>
              <a:gd name="T86" fmla="*/ 601 w 1792"/>
              <a:gd name="T87" fmla="*/ 362 h 1792"/>
              <a:gd name="T88" fmla="*/ 1014 w 1792"/>
              <a:gd name="T89" fmla="*/ 364 h 1792"/>
              <a:gd name="T90" fmla="*/ 1129 w 1792"/>
              <a:gd name="T91" fmla="*/ 399 h 1792"/>
              <a:gd name="T92" fmla="*/ 1209 w 1792"/>
              <a:gd name="T93" fmla="*/ 464 h 1792"/>
              <a:gd name="T94" fmla="*/ 1262 w 1792"/>
              <a:gd name="T95" fmla="*/ 563 h 1792"/>
              <a:gd name="T96" fmla="*/ 1277 w 1792"/>
              <a:gd name="T97" fmla="*/ 678 h 1792"/>
              <a:gd name="T98" fmla="*/ 1244 w 1792"/>
              <a:gd name="T99" fmla="*/ 839 h 1792"/>
              <a:gd name="T100" fmla="*/ 1126 w 1792"/>
              <a:gd name="T101" fmla="*/ 966 h 1792"/>
              <a:gd name="T102" fmla="*/ 1301 w 1792"/>
              <a:gd name="T103" fmla="*/ 1430 h 1792"/>
              <a:gd name="T104" fmla="*/ 1277 w 1792"/>
              <a:gd name="T105" fmla="*/ 1453 h 1792"/>
              <a:gd name="T106" fmla="*/ 956 w 1792"/>
              <a:gd name="T107" fmla="*/ 872 h 1792"/>
              <a:gd name="T108" fmla="*/ 1071 w 1792"/>
              <a:gd name="T109" fmla="*/ 829 h 1792"/>
              <a:gd name="T110" fmla="*/ 1109 w 1792"/>
              <a:gd name="T111" fmla="*/ 770 h 1792"/>
              <a:gd name="T112" fmla="*/ 1123 w 1792"/>
              <a:gd name="T113" fmla="*/ 678 h 1792"/>
              <a:gd name="T114" fmla="*/ 1103 w 1792"/>
              <a:gd name="T115" fmla="*/ 580 h 1792"/>
              <a:gd name="T116" fmla="*/ 1016 w 1792"/>
              <a:gd name="T117" fmla="*/ 511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2" h="1792">
                <a:moveTo>
                  <a:pt x="897" y="1792"/>
                </a:moveTo>
                <a:lnTo>
                  <a:pt x="897" y="1792"/>
                </a:lnTo>
                <a:lnTo>
                  <a:pt x="850" y="1791"/>
                </a:lnTo>
                <a:lnTo>
                  <a:pt x="805" y="1787"/>
                </a:lnTo>
                <a:lnTo>
                  <a:pt x="760" y="1782"/>
                </a:lnTo>
                <a:lnTo>
                  <a:pt x="715" y="1774"/>
                </a:lnTo>
                <a:lnTo>
                  <a:pt x="672" y="1764"/>
                </a:lnTo>
                <a:lnTo>
                  <a:pt x="630" y="1751"/>
                </a:lnTo>
                <a:lnTo>
                  <a:pt x="588" y="1738"/>
                </a:lnTo>
                <a:lnTo>
                  <a:pt x="547" y="1722"/>
                </a:lnTo>
                <a:lnTo>
                  <a:pt x="508" y="1704"/>
                </a:lnTo>
                <a:lnTo>
                  <a:pt x="469" y="1685"/>
                </a:lnTo>
                <a:lnTo>
                  <a:pt x="432" y="1663"/>
                </a:lnTo>
                <a:lnTo>
                  <a:pt x="395" y="1640"/>
                </a:lnTo>
                <a:lnTo>
                  <a:pt x="360" y="1615"/>
                </a:lnTo>
                <a:lnTo>
                  <a:pt x="326" y="1588"/>
                </a:lnTo>
                <a:lnTo>
                  <a:pt x="294" y="1560"/>
                </a:lnTo>
                <a:lnTo>
                  <a:pt x="263" y="1531"/>
                </a:lnTo>
                <a:lnTo>
                  <a:pt x="232" y="1500"/>
                </a:lnTo>
                <a:lnTo>
                  <a:pt x="204" y="1468"/>
                </a:lnTo>
                <a:lnTo>
                  <a:pt x="178" y="1433"/>
                </a:lnTo>
                <a:lnTo>
                  <a:pt x="153" y="1398"/>
                </a:lnTo>
                <a:lnTo>
                  <a:pt x="130" y="1362"/>
                </a:lnTo>
                <a:lnTo>
                  <a:pt x="109" y="1324"/>
                </a:lnTo>
                <a:lnTo>
                  <a:pt x="89" y="1285"/>
                </a:lnTo>
                <a:lnTo>
                  <a:pt x="70" y="1246"/>
                </a:lnTo>
                <a:lnTo>
                  <a:pt x="54" y="1204"/>
                </a:lnTo>
                <a:lnTo>
                  <a:pt x="40" y="1163"/>
                </a:lnTo>
                <a:lnTo>
                  <a:pt x="28" y="1120"/>
                </a:lnTo>
                <a:lnTo>
                  <a:pt x="18" y="1077"/>
                </a:lnTo>
                <a:lnTo>
                  <a:pt x="10" y="1032"/>
                </a:lnTo>
                <a:lnTo>
                  <a:pt x="5" y="987"/>
                </a:lnTo>
                <a:lnTo>
                  <a:pt x="1" y="940"/>
                </a:lnTo>
                <a:lnTo>
                  <a:pt x="0" y="893"/>
                </a:lnTo>
                <a:lnTo>
                  <a:pt x="0" y="893"/>
                </a:lnTo>
                <a:lnTo>
                  <a:pt x="1" y="847"/>
                </a:lnTo>
                <a:lnTo>
                  <a:pt x="5" y="801"/>
                </a:lnTo>
                <a:lnTo>
                  <a:pt x="10" y="757"/>
                </a:lnTo>
                <a:lnTo>
                  <a:pt x="18" y="712"/>
                </a:lnTo>
                <a:lnTo>
                  <a:pt x="28" y="669"/>
                </a:lnTo>
                <a:lnTo>
                  <a:pt x="40" y="626"/>
                </a:lnTo>
                <a:lnTo>
                  <a:pt x="54" y="585"/>
                </a:lnTo>
                <a:lnTo>
                  <a:pt x="70" y="544"/>
                </a:lnTo>
                <a:lnTo>
                  <a:pt x="89" y="504"/>
                </a:lnTo>
                <a:lnTo>
                  <a:pt x="109" y="466"/>
                </a:lnTo>
                <a:lnTo>
                  <a:pt x="130" y="428"/>
                </a:lnTo>
                <a:lnTo>
                  <a:pt x="153" y="392"/>
                </a:lnTo>
                <a:lnTo>
                  <a:pt x="178" y="357"/>
                </a:lnTo>
                <a:lnTo>
                  <a:pt x="204" y="323"/>
                </a:lnTo>
                <a:lnTo>
                  <a:pt x="232" y="291"/>
                </a:lnTo>
                <a:lnTo>
                  <a:pt x="263" y="260"/>
                </a:lnTo>
                <a:lnTo>
                  <a:pt x="294" y="230"/>
                </a:lnTo>
                <a:lnTo>
                  <a:pt x="326" y="203"/>
                </a:lnTo>
                <a:lnTo>
                  <a:pt x="360" y="176"/>
                </a:lnTo>
                <a:lnTo>
                  <a:pt x="395" y="151"/>
                </a:lnTo>
                <a:lnTo>
                  <a:pt x="432" y="128"/>
                </a:lnTo>
                <a:lnTo>
                  <a:pt x="469" y="106"/>
                </a:lnTo>
                <a:lnTo>
                  <a:pt x="508" y="87"/>
                </a:lnTo>
                <a:lnTo>
                  <a:pt x="547" y="69"/>
                </a:lnTo>
                <a:lnTo>
                  <a:pt x="588" y="54"/>
                </a:lnTo>
                <a:lnTo>
                  <a:pt x="630" y="40"/>
                </a:lnTo>
                <a:lnTo>
                  <a:pt x="672" y="27"/>
                </a:lnTo>
                <a:lnTo>
                  <a:pt x="715" y="17"/>
                </a:lnTo>
                <a:lnTo>
                  <a:pt x="760" y="10"/>
                </a:lnTo>
                <a:lnTo>
                  <a:pt x="805" y="4"/>
                </a:lnTo>
                <a:lnTo>
                  <a:pt x="850" y="1"/>
                </a:lnTo>
                <a:lnTo>
                  <a:pt x="897" y="0"/>
                </a:lnTo>
                <a:lnTo>
                  <a:pt x="897" y="0"/>
                </a:lnTo>
                <a:lnTo>
                  <a:pt x="943" y="1"/>
                </a:lnTo>
                <a:lnTo>
                  <a:pt x="990" y="4"/>
                </a:lnTo>
                <a:lnTo>
                  <a:pt x="1035" y="10"/>
                </a:lnTo>
                <a:lnTo>
                  <a:pt x="1080" y="17"/>
                </a:lnTo>
                <a:lnTo>
                  <a:pt x="1124" y="27"/>
                </a:lnTo>
                <a:lnTo>
                  <a:pt x="1167" y="40"/>
                </a:lnTo>
                <a:lnTo>
                  <a:pt x="1209" y="54"/>
                </a:lnTo>
                <a:lnTo>
                  <a:pt x="1250" y="69"/>
                </a:lnTo>
                <a:lnTo>
                  <a:pt x="1290" y="87"/>
                </a:lnTo>
                <a:lnTo>
                  <a:pt x="1328" y="106"/>
                </a:lnTo>
                <a:lnTo>
                  <a:pt x="1366" y="128"/>
                </a:lnTo>
                <a:lnTo>
                  <a:pt x="1403" y="151"/>
                </a:lnTo>
                <a:lnTo>
                  <a:pt x="1437" y="176"/>
                </a:lnTo>
                <a:lnTo>
                  <a:pt x="1471" y="203"/>
                </a:lnTo>
                <a:lnTo>
                  <a:pt x="1503" y="230"/>
                </a:lnTo>
                <a:lnTo>
                  <a:pt x="1534" y="260"/>
                </a:lnTo>
                <a:lnTo>
                  <a:pt x="1564" y="291"/>
                </a:lnTo>
                <a:lnTo>
                  <a:pt x="1592" y="323"/>
                </a:lnTo>
                <a:lnTo>
                  <a:pt x="1618" y="357"/>
                </a:lnTo>
                <a:lnTo>
                  <a:pt x="1642" y="392"/>
                </a:lnTo>
                <a:lnTo>
                  <a:pt x="1665" y="428"/>
                </a:lnTo>
                <a:lnTo>
                  <a:pt x="1686" y="466"/>
                </a:lnTo>
                <a:lnTo>
                  <a:pt x="1705" y="504"/>
                </a:lnTo>
                <a:lnTo>
                  <a:pt x="1724" y="544"/>
                </a:lnTo>
                <a:lnTo>
                  <a:pt x="1739" y="585"/>
                </a:lnTo>
                <a:lnTo>
                  <a:pt x="1753" y="626"/>
                </a:lnTo>
                <a:lnTo>
                  <a:pt x="1765" y="669"/>
                </a:lnTo>
                <a:lnTo>
                  <a:pt x="1775" y="712"/>
                </a:lnTo>
                <a:lnTo>
                  <a:pt x="1782" y="757"/>
                </a:lnTo>
                <a:lnTo>
                  <a:pt x="1788" y="801"/>
                </a:lnTo>
                <a:lnTo>
                  <a:pt x="1791" y="847"/>
                </a:lnTo>
                <a:lnTo>
                  <a:pt x="1792" y="893"/>
                </a:lnTo>
                <a:lnTo>
                  <a:pt x="1792" y="893"/>
                </a:lnTo>
                <a:lnTo>
                  <a:pt x="1791" y="940"/>
                </a:lnTo>
                <a:lnTo>
                  <a:pt x="1788" y="987"/>
                </a:lnTo>
                <a:lnTo>
                  <a:pt x="1782" y="1032"/>
                </a:lnTo>
                <a:lnTo>
                  <a:pt x="1774" y="1077"/>
                </a:lnTo>
                <a:lnTo>
                  <a:pt x="1764" y="1120"/>
                </a:lnTo>
                <a:lnTo>
                  <a:pt x="1752" y="1163"/>
                </a:lnTo>
                <a:lnTo>
                  <a:pt x="1738" y="1204"/>
                </a:lnTo>
                <a:lnTo>
                  <a:pt x="1722" y="1246"/>
                </a:lnTo>
                <a:lnTo>
                  <a:pt x="1703" y="1285"/>
                </a:lnTo>
                <a:lnTo>
                  <a:pt x="1684" y="1324"/>
                </a:lnTo>
                <a:lnTo>
                  <a:pt x="1662" y="1362"/>
                </a:lnTo>
                <a:lnTo>
                  <a:pt x="1639" y="1398"/>
                </a:lnTo>
                <a:lnTo>
                  <a:pt x="1614" y="1433"/>
                </a:lnTo>
                <a:lnTo>
                  <a:pt x="1588" y="1468"/>
                </a:lnTo>
                <a:lnTo>
                  <a:pt x="1560" y="1500"/>
                </a:lnTo>
                <a:lnTo>
                  <a:pt x="1529" y="1531"/>
                </a:lnTo>
                <a:lnTo>
                  <a:pt x="1498" y="1560"/>
                </a:lnTo>
                <a:lnTo>
                  <a:pt x="1466" y="1588"/>
                </a:lnTo>
                <a:lnTo>
                  <a:pt x="1432" y="1615"/>
                </a:lnTo>
                <a:lnTo>
                  <a:pt x="1397" y="1640"/>
                </a:lnTo>
                <a:lnTo>
                  <a:pt x="1360" y="1663"/>
                </a:lnTo>
                <a:lnTo>
                  <a:pt x="1323" y="1685"/>
                </a:lnTo>
                <a:lnTo>
                  <a:pt x="1285" y="1704"/>
                </a:lnTo>
                <a:lnTo>
                  <a:pt x="1245" y="1722"/>
                </a:lnTo>
                <a:lnTo>
                  <a:pt x="1204" y="1738"/>
                </a:lnTo>
                <a:lnTo>
                  <a:pt x="1162" y="1751"/>
                </a:lnTo>
                <a:lnTo>
                  <a:pt x="1120" y="1764"/>
                </a:lnTo>
                <a:lnTo>
                  <a:pt x="1077" y="1774"/>
                </a:lnTo>
                <a:lnTo>
                  <a:pt x="1032" y="1782"/>
                </a:lnTo>
                <a:lnTo>
                  <a:pt x="988" y="1787"/>
                </a:lnTo>
                <a:lnTo>
                  <a:pt x="942" y="1791"/>
                </a:lnTo>
                <a:lnTo>
                  <a:pt x="897" y="1792"/>
                </a:lnTo>
                <a:lnTo>
                  <a:pt x="897" y="1792"/>
                </a:lnTo>
                <a:close/>
                <a:moveTo>
                  <a:pt x="897" y="147"/>
                </a:moveTo>
                <a:lnTo>
                  <a:pt x="897" y="147"/>
                </a:lnTo>
                <a:lnTo>
                  <a:pt x="857" y="148"/>
                </a:lnTo>
                <a:lnTo>
                  <a:pt x="819" y="151"/>
                </a:lnTo>
                <a:lnTo>
                  <a:pt x="782" y="155"/>
                </a:lnTo>
                <a:lnTo>
                  <a:pt x="746" y="162"/>
                </a:lnTo>
                <a:lnTo>
                  <a:pt x="709" y="170"/>
                </a:lnTo>
                <a:lnTo>
                  <a:pt x="673" y="180"/>
                </a:lnTo>
                <a:lnTo>
                  <a:pt x="639" y="191"/>
                </a:lnTo>
                <a:lnTo>
                  <a:pt x="605" y="206"/>
                </a:lnTo>
                <a:lnTo>
                  <a:pt x="572" y="220"/>
                </a:lnTo>
                <a:lnTo>
                  <a:pt x="539" y="237"/>
                </a:lnTo>
                <a:lnTo>
                  <a:pt x="508" y="255"/>
                </a:lnTo>
                <a:lnTo>
                  <a:pt x="478" y="275"/>
                </a:lnTo>
                <a:lnTo>
                  <a:pt x="449" y="295"/>
                </a:lnTo>
                <a:lnTo>
                  <a:pt x="421" y="317"/>
                </a:lnTo>
                <a:lnTo>
                  <a:pt x="393" y="340"/>
                </a:lnTo>
                <a:lnTo>
                  <a:pt x="368" y="366"/>
                </a:lnTo>
                <a:lnTo>
                  <a:pt x="343" y="391"/>
                </a:lnTo>
                <a:lnTo>
                  <a:pt x="320" y="418"/>
                </a:lnTo>
                <a:lnTo>
                  <a:pt x="298" y="447"/>
                </a:lnTo>
                <a:lnTo>
                  <a:pt x="277" y="476"/>
                </a:lnTo>
                <a:lnTo>
                  <a:pt x="258" y="507"/>
                </a:lnTo>
                <a:lnTo>
                  <a:pt x="239" y="538"/>
                </a:lnTo>
                <a:lnTo>
                  <a:pt x="223" y="570"/>
                </a:lnTo>
                <a:lnTo>
                  <a:pt x="208" y="603"/>
                </a:lnTo>
                <a:lnTo>
                  <a:pt x="195" y="637"/>
                </a:lnTo>
                <a:lnTo>
                  <a:pt x="183" y="672"/>
                </a:lnTo>
                <a:lnTo>
                  <a:pt x="173" y="707"/>
                </a:lnTo>
                <a:lnTo>
                  <a:pt x="165" y="744"/>
                </a:lnTo>
                <a:lnTo>
                  <a:pt x="159" y="780"/>
                </a:lnTo>
                <a:lnTo>
                  <a:pt x="154" y="817"/>
                </a:lnTo>
                <a:lnTo>
                  <a:pt x="151" y="855"/>
                </a:lnTo>
                <a:lnTo>
                  <a:pt x="150" y="893"/>
                </a:lnTo>
                <a:lnTo>
                  <a:pt x="150" y="893"/>
                </a:lnTo>
                <a:lnTo>
                  <a:pt x="151" y="932"/>
                </a:lnTo>
                <a:lnTo>
                  <a:pt x="154" y="970"/>
                </a:lnTo>
                <a:lnTo>
                  <a:pt x="159" y="1008"/>
                </a:lnTo>
                <a:lnTo>
                  <a:pt x="165" y="1045"/>
                </a:lnTo>
                <a:lnTo>
                  <a:pt x="173" y="1082"/>
                </a:lnTo>
                <a:lnTo>
                  <a:pt x="183" y="1117"/>
                </a:lnTo>
                <a:lnTo>
                  <a:pt x="195" y="1153"/>
                </a:lnTo>
                <a:lnTo>
                  <a:pt x="208" y="1186"/>
                </a:lnTo>
                <a:lnTo>
                  <a:pt x="223" y="1220"/>
                </a:lnTo>
                <a:lnTo>
                  <a:pt x="239" y="1252"/>
                </a:lnTo>
                <a:lnTo>
                  <a:pt x="258" y="1283"/>
                </a:lnTo>
                <a:lnTo>
                  <a:pt x="277" y="1314"/>
                </a:lnTo>
                <a:lnTo>
                  <a:pt x="298" y="1343"/>
                </a:lnTo>
                <a:lnTo>
                  <a:pt x="320" y="1372"/>
                </a:lnTo>
                <a:lnTo>
                  <a:pt x="343" y="1399"/>
                </a:lnTo>
                <a:lnTo>
                  <a:pt x="368" y="1425"/>
                </a:lnTo>
                <a:lnTo>
                  <a:pt x="393" y="1451"/>
                </a:lnTo>
                <a:lnTo>
                  <a:pt x="421" y="1474"/>
                </a:lnTo>
                <a:lnTo>
                  <a:pt x="449" y="1496"/>
                </a:lnTo>
                <a:lnTo>
                  <a:pt x="478" y="1516"/>
                </a:lnTo>
                <a:lnTo>
                  <a:pt x="508" y="1537"/>
                </a:lnTo>
                <a:lnTo>
                  <a:pt x="539" y="1554"/>
                </a:lnTo>
                <a:lnTo>
                  <a:pt x="572" y="1571"/>
                </a:lnTo>
                <a:lnTo>
                  <a:pt x="605" y="1586"/>
                </a:lnTo>
                <a:lnTo>
                  <a:pt x="639" y="1600"/>
                </a:lnTo>
                <a:lnTo>
                  <a:pt x="673" y="1611"/>
                </a:lnTo>
                <a:lnTo>
                  <a:pt x="709" y="1621"/>
                </a:lnTo>
                <a:lnTo>
                  <a:pt x="746" y="1630"/>
                </a:lnTo>
                <a:lnTo>
                  <a:pt x="782" y="1636"/>
                </a:lnTo>
                <a:lnTo>
                  <a:pt x="819" y="1641"/>
                </a:lnTo>
                <a:lnTo>
                  <a:pt x="857" y="1644"/>
                </a:lnTo>
                <a:lnTo>
                  <a:pt x="897" y="1645"/>
                </a:lnTo>
                <a:lnTo>
                  <a:pt x="897" y="1645"/>
                </a:lnTo>
                <a:lnTo>
                  <a:pt x="934" y="1644"/>
                </a:lnTo>
                <a:lnTo>
                  <a:pt x="972" y="1641"/>
                </a:lnTo>
                <a:lnTo>
                  <a:pt x="1009" y="1636"/>
                </a:lnTo>
                <a:lnTo>
                  <a:pt x="1045" y="1630"/>
                </a:lnTo>
                <a:lnTo>
                  <a:pt x="1082" y="1621"/>
                </a:lnTo>
                <a:lnTo>
                  <a:pt x="1117" y="1611"/>
                </a:lnTo>
                <a:lnTo>
                  <a:pt x="1151" y="1600"/>
                </a:lnTo>
                <a:lnTo>
                  <a:pt x="1184" y="1586"/>
                </a:lnTo>
                <a:lnTo>
                  <a:pt x="1217" y="1571"/>
                </a:lnTo>
                <a:lnTo>
                  <a:pt x="1250" y="1554"/>
                </a:lnTo>
                <a:lnTo>
                  <a:pt x="1281" y="1537"/>
                </a:lnTo>
                <a:lnTo>
                  <a:pt x="1311" y="1516"/>
                </a:lnTo>
                <a:lnTo>
                  <a:pt x="1340" y="1496"/>
                </a:lnTo>
                <a:lnTo>
                  <a:pt x="1368" y="1474"/>
                </a:lnTo>
                <a:lnTo>
                  <a:pt x="1395" y="1451"/>
                </a:lnTo>
                <a:lnTo>
                  <a:pt x="1421" y="1425"/>
                </a:lnTo>
                <a:lnTo>
                  <a:pt x="1445" y="1399"/>
                </a:lnTo>
                <a:lnTo>
                  <a:pt x="1469" y="1372"/>
                </a:lnTo>
                <a:lnTo>
                  <a:pt x="1490" y="1343"/>
                </a:lnTo>
                <a:lnTo>
                  <a:pt x="1511" y="1314"/>
                </a:lnTo>
                <a:lnTo>
                  <a:pt x="1530" y="1283"/>
                </a:lnTo>
                <a:lnTo>
                  <a:pt x="1549" y="1252"/>
                </a:lnTo>
                <a:lnTo>
                  <a:pt x="1565" y="1220"/>
                </a:lnTo>
                <a:lnTo>
                  <a:pt x="1580" y="1186"/>
                </a:lnTo>
                <a:lnTo>
                  <a:pt x="1593" y="1153"/>
                </a:lnTo>
                <a:lnTo>
                  <a:pt x="1605" y="1117"/>
                </a:lnTo>
                <a:lnTo>
                  <a:pt x="1615" y="1082"/>
                </a:lnTo>
                <a:lnTo>
                  <a:pt x="1623" y="1045"/>
                </a:lnTo>
                <a:lnTo>
                  <a:pt x="1629" y="1008"/>
                </a:lnTo>
                <a:lnTo>
                  <a:pt x="1634" y="970"/>
                </a:lnTo>
                <a:lnTo>
                  <a:pt x="1637" y="932"/>
                </a:lnTo>
                <a:lnTo>
                  <a:pt x="1638" y="893"/>
                </a:lnTo>
                <a:lnTo>
                  <a:pt x="1638" y="893"/>
                </a:lnTo>
                <a:lnTo>
                  <a:pt x="1637" y="855"/>
                </a:lnTo>
                <a:lnTo>
                  <a:pt x="1634" y="817"/>
                </a:lnTo>
                <a:lnTo>
                  <a:pt x="1629" y="780"/>
                </a:lnTo>
                <a:lnTo>
                  <a:pt x="1623" y="744"/>
                </a:lnTo>
                <a:lnTo>
                  <a:pt x="1615" y="707"/>
                </a:lnTo>
                <a:lnTo>
                  <a:pt x="1605" y="672"/>
                </a:lnTo>
                <a:lnTo>
                  <a:pt x="1593" y="637"/>
                </a:lnTo>
                <a:lnTo>
                  <a:pt x="1580" y="603"/>
                </a:lnTo>
                <a:lnTo>
                  <a:pt x="1565" y="570"/>
                </a:lnTo>
                <a:lnTo>
                  <a:pt x="1549" y="538"/>
                </a:lnTo>
                <a:lnTo>
                  <a:pt x="1530" y="507"/>
                </a:lnTo>
                <a:lnTo>
                  <a:pt x="1511" y="476"/>
                </a:lnTo>
                <a:lnTo>
                  <a:pt x="1490" y="447"/>
                </a:lnTo>
                <a:lnTo>
                  <a:pt x="1469" y="418"/>
                </a:lnTo>
                <a:lnTo>
                  <a:pt x="1445" y="391"/>
                </a:lnTo>
                <a:lnTo>
                  <a:pt x="1421" y="366"/>
                </a:lnTo>
                <a:lnTo>
                  <a:pt x="1395" y="340"/>
                </a:lnTo>
                <a:lnTo>
                  <a:pt x="1368" y="317"/>
                </a:lnTo>
                <a:lnTo>
                  <a:pt x="1340" y="295"/>
                </a:lnTo>
                <a:lnTo>
                  <a:pt x="1311" y="275"/>
                </a:lnTo>
                <a:lnTo>
                  <a:pt x="1281" y="255"/>
                </a:lnTo>
                <a:lnTo>
                  <a:pt x="1250" y="237"/>
                </a:lnTo>
                <a:lnTo>
                  <a:pt x="1217" y="220"/>
                </a:lnTo>
                <a:lnTo>
                  <a:pt x="1184" y="206"/>
                </a:lnTo>
                <a:lnTo>
                  <a:pt x="1151" y="191"/>
                </a:lnTo>
                <a:lnTo>
                  <a:pt x="1117" y="180"/>
                </a:lnTo>
                <a:lnTo>
                  <a:pt x="1082" y="170"/>
                </a:lnTo>
                <a:lnTo>
                  <a:pt x="1045" y="162"/>
                </a:lnTo>
                <a:lnTo>
                  <a:pt x="1009" y="155"/>
                </a:lnTo>
                <a:lnTo>
                  <a:pt x="972" y="151"/>
                </a:lnTo>
                <a:lnTo>
                  <a:pt x="934" y="148"/>
                </a:lnTo>
                <a:lnTo>
                  <a:pt x="897" y="147"/>
                </a:lnTo>
                <a:lnTo>
                  <a:pt x="897" y="147"/>
                </a:lnTo>
                <a:close/>
                <a:moveTo>
                  <a:pt x="1277" y="1453"/>
                </a:moveTo>
                <a:lnTo>
                  <a:pt x="1164" y="1453"/>
                </a:lnTo>
                <a:lnTo>
                  <a:pt x="1164" y="1453"/>
                </a:lnTo>
                <a:lnTo>
                  <a:pt x="1156" y="1453"/>
                </a:lnTo>
                <a:lnTo>
                  <a:pt x="1150" y="1452"/>
                </a:lnTo>
                <a:lnTo>
                  <a:pt x="1144" y="1451"/>
                </a:lnTo>
                <a:lnTo>
                  <a:pt x="1138" y="1449"/>
                </a:lnTo>
                <a:lnTo>
                  <a:pt x="1133" y="1446"/>
                </a:lnTo>
                <a:lnTo>
                  <a:pt x="1128" y="1440"/>
                </a:lnTo>
                <a:lnTo>
                  <a:pt x="1124" y="1435"/>
                </a:lnTo>
                <a:lnTo>
                  <a:pt x="1119" y="1428"/>
                </a:lnTo>
                <a:lnTo>
                  <a:pt x="917" y="1012"/>
                </a:lnTo>
                <a:lnTo>
                  <a:pt x="734" y="1012"/>
                </a:lnTo>
                <a:lnTo>
                  <a:pt x="734" y="1412"/>
                </a:lnTo>
                <a:lnTo>
                  <a:pt x="734" y="1412"/>
                </a:lnTo>
                <a:lnTo>
                  <a:pt x="734" y="1421"/>
                </a:lnTo>
                <a:lnTo>
                  <a:pt x="732" y="1428"/>
                </a:lnTo>
                <a:lnTo>
                  <a:pt x="729" y="1435"/>
                </a:lnTo>
                <a:lnTo>
                  <a:pt x="726" y="1442"/>
                </a:lnTo>
                <a:lnTo>
                  <a:pt x="721" y="1447"/>
                </a:lnTo>
                <a:lnTo>
                  <a:pt x="715" y="1450"/>
                </a:lnTo>
                <a:lnTo>
                  <a:pt x="707" y="1452"/>
                </a:lnTo>
                <a:lnTo>
                  <a:pt x="697" y="1453"/>
                </a:lnTo>
                <a:lnTo>
                  <a:pt x="617" y="1453"/>
                </a:lnTo>
                <a:lnTo>
                  <a:pt x="617" y="1453"/>
                </a:lnTo>
                <a:lnTo>
                  <a:pt x="608" y="1453"/>
                </a:lnTo>
                <a:lnTo>
                  <a:pt x="601" y="1452"/>
                </a:lnTo>
                <a:lnTo>
                  <a:pt x="596" y="1449"/>
                </a:lnTo>
                <a:lnTo>
                  <a:pt x="591" y="1446"/>
                </a:lnTo>
                <a:lnTo>
                  <a:pt x="588" y="1440"/>
                </a:lnTo>
                <a:lnTo>
                  <a:pt x="586" y="1434"/>
                </a:lnTo>
                <a:lnTo>
                  <a:pt x="585" y="1426"/>
                </a:lnTo>
                <a:lnTo>
                  <a:pt x="584" y="1416"/>
                </a:lnTo>
                <a:lnTo>
                  <a:pt x="584" y="391"/>
                </a:lnTo>
                <a:lnTo>
                  <a:pt x="584" y="391"/>
                </a:lnTo>
                <a:lnTo>
                  <a:pt x="585" y="382"/>
                </a:lnTo>
                <a:lnTo>
                  <a:pt x="587" y="375"/>
                </a:lnTo>
                <a:lnTo>
                  <a:pt x="591" y="369"/>
                </a:lnTo>
                <a:lnTo>
                  <a:pt x="595" y="365"/>
                </a:lnTo>
                <a:lnTo>
                  <a:pt x="601" y="362"/>
                </a:lnTo>
                <a:lnTo>
                  <a:pt x="608" y="360"/>
                </a:lnTo>
                <a:lnTo>
                  <a:pt x="616" y="359"/>
                </a:lnTo>
                <a:lnTo>
                  <a:pt x="625" y="359"/>
                </a:lnTo>
                <a:lnTo>
                  <a:pt x="953" y="359"/>
                </a:lnTo>
                <a:lnTo>
                  <a:pt x="953" y="359"/>
                </a:lnTo>
                <a:lnTo>
                  <a:pt x="984" y="360"/>
                </a:lnTo>
                <a:lnTo>
                  <a:pt x="1014" y="364"/>
                </a:lnTo>
                <a:lnTo>
                  <a:pt x="1044" y="369"/>
                </a:lnTo>
                <a:lnTo>
                  <a:pt x="1060" y="372"/>
                </a:lnTo>
                <a:lnTo>
                  <a:pt x="1074" y="377"/>
                </a:lnTo>
                <a:lnTo>
                  <a:pt x="1088" y="381"/>
                </a:lnTo>
                <a:lnTo>
                  <a:pt x="1102" y="387"/>
                </a:lnTo>
                <a:lnTo>
                  <a:pt x="1115" y="393"/>
                </a:lnTo>
                <a:lnTo>
                  <a:pt x="1129" y="399"/>
                </a:lnTo>
                <a:lnTo>
                  <a:pt x="1141" y="406"/>
                </a:lnTo>
                <a:lnTo>
                  <a:pt x="1154" y="414"/>
                </a:lnTo>
                <a:lnTo>
                  <a:pt x="1166" y="423"/>
                </a:lnTo>
                <a:lnTo>
                  <a:pt x="1177" y="433"/>
                </a:lnTo>
                <a:lnTo>
                  <a:pt x="1188" y="443"/>
                </a:lnTo>
                <a:lnTo>
                  <a:pt x="1199" y="453"/>
                </a:lnTo>
                <a:lnTo>
                  <a:pt x="1209" y="464"/>
                </a:lnTo>
                <a:lnTo>
                  <a:pt x="1218" y="476"/>
                </a:lnTo>
                <a:lnTo>
                  <a:pt x="1228" y="488"/>
                </a:lnTo>
                <a:lnTo>
                  <a:pt x="1236" y="502"/>
                </a:lnTo>
                <a:lnTo>
                  <a:pt x="1243" y="517"/>
                </a:lnTo>
                <a:lnTo>
                  <a:pt x="1250" y="531"/>
                </a:lnTo>
                <a:lnTo>
                  <a:pt x="1256" y="547"/>
                </a:lnTo>
                <a:lnTo>
                  <a:pt x="1262" y="563"/>
                </a:lnTo>
                <a:lnTo>
                  <a:pt x="1266" y="580"/>
                </a:lnTo>
                <a:lnTo>
                  <a:pt x="1270" y="598"/>
                </a:lnTo>
                <a:lnTo>
                  <a:pt x="1273" y="617"/>
                </a:lnTo>
                <a:lnTo>
                  <a:pt x="1276" y="636"/>
                </a:lnTo>
                <a:lnTo>
                  <a:pt x="1277" y="656"/>
                </a:lnTo>
                <a:lnTo>
                  <a:pt x="1277" y="678"/>
                </a:lnTo>
                <a:lnTo>
                  <a:pt x="1277" y="678"/>
                </a:lnTo>
                <a:lnTo>
                  <a:pt x="1277" y="701"/>
                </a:lnTo>
                <a:lnTo>
                  <a:pt x="1275" y="724"/>
                </a:lnTo>
                <a:lnTo>
                  <a:pt x="1272" y="749"/>
                </a:lnTo>
                <a:lnTo>
                  <a:pt x="1267" y="772"/>
                </a:lnTo>
                <a:lnTo>
                  <a:pt x="1261" y="795"/>
                </a:lnTo>
                <a:lnTo>
                  <a:pt x="1253" y="817"/>
                </a:lnTo>
                <a:lnTo>
                  <a:pt x="1244" y="839"/>
                </a:lnTo>
                <a:lnTo>
                  <a:pt x="1233" y="860"/>
                </a:lnTo>
                <a:lnTo>
                  <a:pt x="1219" y="881"/>
                </a:lnTo>
                <a:lnTo>
                  <a:pt x="1204" y="901"/>
                </a:lnTo>
                <a:lnTo>
                  <a:pt x="1188" y="919"/>
                </a:lnTo>
                <a:lnTo>
                  <a:pt x="1169" y="936"/>
                </a:lnTo>
                <a:lnTo>
                  <a:pt x="1149" y="952"/>
                </a:lnTo>
                <a:lnTo>
                  <a:pt x="1126" y="966"/>
                </a:lnTo>
                <a:lnTo>
                  <a:pt x="1102" y="980"/>
                </a:lnTo>
                <a:lnTo>
                  <a:pt x="1089" y="986"/>
                </a:lnTo>
                <a:lnTo>
                  <a:pt x="1075" y="992"/>
                </a:lnTo>
                <a:lnTo>
                  <a:pt x="1297" y="1416"/>
                </a:lnTo>
                <a:lnTo>
                  <a:pt x="1297" y="1416"/>
                </a:lnTo>
                <a:lnTo>
                  <a:pt x="1300" y="1423"/>
                </a:lnTo>
                <a:lnTo>
                  <a:pt x="1301" y="1430"/>
                </a:lnTo>
                <a:lnTo>
                  <a:pt x="1300" y="1436"/>
                </a:lnTo>
                <a:lnTo>
                  <a:pt x="1298" y="1443"/>
                </a:lnTo>
                <a:lnTo>
                  <a:pt x="1295" y="1447"/>
                </a:lnTo>
                <a:lnTo>
                  <a:pt x="1290" y="1450"/>
                </a:lnTo>
                <a:lnTo>
                  <a:pt x="1284" y="1452"/>
                </a:lnTo>
                <a:lnTo>
                  <a:pt x="1277" y="1453"/>
                </a:lnTo>
                <a:lnTo>
                  <a:pt x="1277" y="1453"/>
                </a:lnTo>
                <a:close/>
                <a:moveTo>
                  <a:pt x="921" y="497"/>
                </a:moveTo>
                <a:lnTo>
                  <a:pt x="734" y="497"/>
                </a:lnTo>
                <a:lnTo>
                  <a:pt x="734" y="873"/>
                </a:lnTo>
                <a:lnTo>
                  <a:pt x="921" y="873"/>
                </a:lnTo>
                <a:lnTo>
                  <a:pt x="921" y="873"/>
                </a:lnTo>
                <a:lnTo>
                  <a:pt x="938" y="873"/>
                </a:lnTo>
                <a:lnTo>
                  <a:pt x="956" y="872"/>
                </a:lnTo>
                <a:lnTo>
                  <a:pt x="974" y="870"/>
                </a:lnTo>
                <a:lnTo>
                  <a:pt x="991" y="867"/>
                </a:lnTo>
                <a:lnTo>
                  <a:pt x="1009" y="862"/>
                </a:lnTo>
                <a:lnTo>
                  <a:pt x="1025" y="856"/>
                </a:lnTo>
                <a:lnTo>
                  <a:pt x="1041" y="849"/>
                </a:lnTo>
                <a:lnTo>
                  <a:pt x="1056" y="840"/>
                </a:lnTo>
                <a:lnTo>
                  <a:pt x="1071" y="829"/>
                </a:lnTo>
                <a:lnTo>
                  <a:pt x="1078" y="822"/>
                </a:lnTo>
                <a:lnTo>
                  <a:pt x="1084" y="814"/>
                </a:lnTo>
                <a:lnTo>
                  <a:pt x="1090" y="807"/>
                </a:lnTo>
                <a:lnTo>
                  <a:pt x="1095" y="798"/>
                </a:lnTo>
                <a:lnTo>
                  <a:pt x="1100" y="790"/>
                </a:lnTo>
                <a:lnTo>
                  <a:pt x="1105" y="780"/>
                </a:lnTo>
                <a:lnTo>
                  <a:pt x="1109" y="770"/>
                </a:lnTo>
                <a:lnTo>
                  <a:pt x="1113" y="759"/>
                </a:lnTo>
                <a:lnTo>
                  <a:pt x="1116" y="748"/>
                </a:lnTo>
                <a:lnTo>
                  <a:pt x="1118" y="734"/>
                </a:lnTo>
                <a:lnTo>
                  <a:pt x="1120" y="721"/>
                </a:lnTo>
                <a:lnTo>
                  <a:pt x="1122" y="708"/>
                </a:lnTo>
                <a:lnTo>
                  <a:pt x="1123" y="693"/>
                </a:lnTo>
                <a:lnTo>
                  <a:pt x="1123" y="678"/>
                </a:lnTo>
                <a:lnTo>
                  <a:pt x="1123" y="678"/>
                </a:lnTo>
                <a:lnTo>
                  <a:pt x="1122" y="651"/>
                </a:lnTo>
                <a:lnTo>
                  <a:pt x="1119" y="628"/>
                </a:lnTo>
                <a:lnTo>
                  <a:pt x="1114" y="608"/>
                </a:lnTo>
                <a:lnTo>
                  <a:pt x="1111" y="598"/>
                </a:lnTo>
                <a:lnTo>
                  <a:pt x="1107" y="589"/>
                </a:lnTo>
                <a:lnTo>
                  <a:pt x="1103" y="580"/>
                </a:lnTo>
                <a:lnTo>
                  <a:pt x="1098" y="572"/>
                </a:lnTo>
                <a:lnTo>
                  <a:pt x="1088" y="557"/>
                </a:lnTo>
                <a:lnTo>
                  <a:pt x="1076" y="545"/>
                </a:lnTo>
                <a:lnTo>
                  <a:pt x="1063" y="534"/>
                </a:lnTo>
                <a:lnTo>
                  <a:pt x="1048" y="525"/>
                </a:lnTo>
                <a:lnTo>
                  <a:pt x="1032" y="517"/>
                </a:lnTo>
                <a:lnTo>
                  <a:pt x="1016" y="511"/>
                </a:lnTo>
                <a:lnTo>
                  <a:pt x="998" y="505"/>
                </a:lnTo>
                <a:lnTo>
                  <a:pt x="980" y="502"/>
                </a:lnTo>
                <a:lnTo>
                  <a:pt x="961" y="499"/>
                </a:lnTo>
                <a:lnTo>
                  <a:pt x="941" y="498"/>
                </a:lnTo>
                <a:lnTo>
                  <a:pt x="921" y="497"/>
                </a:lnTo>
                <a:lnTo>
                  <a:pt x="921"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87751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_Cover with photo l">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576472" y="705385"/>
            <a:ext cx="5956600" cy="1325563"/>
          </a:xfrm>
        </p:spPr>
        <p:txBody>
          <a:bodyPr anchor="b"/>
          <a:lstStyle>
            <a:lvl1pP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576265" y="2277861"/>
            <a:ext cx="5957349"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6487016" y="1433383"/>
            <a:ext cx="5708828" cy="542461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9966" h="5750830">
                <a:moveTo>
                  <a:pt x="5637046" y="946"/>
                </a:moveTo>
                <a:cubicBezTo>
                  <a:pt x="6121252" y="-19930"/>
                  <a:pt x="6539307" y="306327"/>
                  <a:pt x="6707626" y="810791"/>
                </a:cubicBezTo>
                <a:cubicBezTo>
                  <a:pt x="6707626" y="810791"/>
                  <a:pt x="6707626" y="810791"/>
                  <a:pt x="7139966" y="2214518"/>
                </a:cubicBezTo>
                <a:lnTo>
                  <a:pt x="7139966" y="5750830"/>
                </a:lnTo>
                <a:cubicBezTo>
                  <a:pt x="7139966" y="5750830"/>
                  <a:pt x="7139966" y="5750830"/>
                  <a:pt x="1951889" y="5750830"/>
                </a:cubicBezTo>
                <a:cubicBezTo>
                  <a:pt x="1357422" y="5633853"/>
                  <a:pt x="555792" y="5543871"/>
                  <a:pt x="384658" y="4842007"/>
                </a:cubicBezTo>
                <a:cubicBezTo>
                  <a:pt x="384658" y="4842007"/>
                  <a:pt x="384658" y="4842007"/>
                  <a:pt x="96431" y="3690231"/>
                </a:cubicBezTo>
                <a:cubicBezTo>
                  <a:pt x="6360" y="3303306"/>
                  <a:pt x="-65696" y="2943376"/>
                  <a:pt x="96431" y="2556452"/>
                </a:cubicBezTo>
                <a:cubicBezTo>
                  <a:pt x="312601" y="2025555"/>
                  <a:pt x="880047" y="1827593"/>
                  <a:pt x="1384443" y="1611635"/>
                </a:cubicBezTo>
                <a:cubicBezTo>
                  <a:pt x="1384443" y="1611635"/>
                  <a:pt x="1384443" y="1611635"/>
                  <a:pt x="5293515" y="72935"/>
                </a:cubicBezTo>
                <a:cubicBezTo>
                  <a:pt x="5410044" y="29068"/>
                  <a:pt x="5525307" y="5764"/>
                  <a:pt x="5637046" y="946"/>
                </a:cubicBezTo>
                <a:close/>
              </a:path>
            </a:pathLst>
          </a:custGeom>
          <a:solidFill>
            <a:schemeClr val="accent4"/>
          </a:solidFill>
        </p:spPr>
        <p:txBody>
          <a:bodyPr wrap="square" anchor="ctr">
            <a:noAutofit/>
          </a:bodyPr>
          <a:lstStyle>
            <a:lvl1pPr marL="0" indent="0" algn="ctr">
              <a:buNone/>
              <a:defRPr/>
            </a:lvl1pPr>
          </a:lstStyle>
          <a:p>
            <a:br>
              <a:rPr lang="en-US" noProof="0" dirty="0"/>
            </a:br>
            <a:br>
              <a:rPr lang="en-US" noProof="0" dirty="0"/>
            </a:br>
            <a:br>
              <a:rPr lang="en-US" noProof="0" dirty="0"/>
            </a:br>
            <a:br>
              <a:rPr lang="en-US" noProof="0" dirty="0"/>
            </a:br>
            <a:r>
              <a:rPr lang="en-US" noProof="0" dirty="0"/>
              <a:t>Insert your picture here</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6800868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_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US"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US" noProof="0"/>
              <a:t>© Amadeus IT Group and its affiliates and subsidiaries</a:t>
            </a:r>
            <a:endParaRPr lang="en-US" noProof="0" dirty="0"/>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41289491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_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solidFill>
              </a:defRPr>
            </a:lvl1pPr>
          </a:lstStyle>
          <a:p>
            <a:pPr marL="0" lvl="0" algn="ctr" defTabSz="342875">
              <a:lnSpc>
                <a:spcPts val="3075"/>
              </a:lnSpc>
            </a:pPr>
            <a:r>
              <a:rPr lang="en-US"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US" noProof="0" dirty="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US" noProof="0"/>
              <a:t>© Amadeus IT Group and its affiliates and subsidiaries</a:t>
            </a:r>
            <a:endParaRPr lang="en-US" noProof="0" dirty="0"/>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US"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5"/>
          <p:cNvSpPr>
            <a:spLocks noEditPoints="1"/>
          </p:cNvSpPr>
          <p:nvPr userDrawn="1"/>
        </p:nvSpPr>
        <p:spPr bwMode="auto">
          <a:xfrm>
            <a:off x="11584711" y="6520314"/>
            <a:ext cx="46037" cy="46037"/>
          </a:xfrm>
          <a:custGeom>
            <a:avLst/>
            <a:gdLst>
              <a:gd name="T0" fmla="*/ 674 w 1798"/>
              <a:gd name="T1" fmla="*/ 1770 h 1798"/>
              <a:gd name="T2" fmla="*/ 397 w 1798"/>
              <a:gd name="T3" fmla="*/ 1646 h 1798"/>
              <a:gd name="T4" fmla="*/ 179 w 1798"/>
              <a:gd name="T5" fmla="*/ 1438 h 1798"/>
              <a:gd name="T6" fmla="*/ 40 w 1798"/>
              <a:gd name="T7" fmla="*/ 1167 h 1798"/>
              <a:gd name="T8" fmla="*/ 0 w 1798"/>
              <a:gd name="T9" fmla="*/ 896 h 1798"/>
              <a:gd name="T10" fmla="*/ 55 w 1798"/>
              <a:gd name="T11" fmla="*/ 586 h 1798"/>
              <a:gd name="T12" fmla="*/ 205 w 1798"/>
              <a:gd name="T13" fmla="*/ 324 h 1798"/>
              <a:gd name="T14" fmla="*/ 433 w 1798"/>
              <a:gd name="T15" fmla="*/ 128 h 1798"/>
              <a:gd name="T16" fmla="*/ 718 w 1798"/>
              <a:gd name="T17" fmla="*/ 17 h 1798"/>
              <a:gd name="T18" fmla="*/ 993 w 1798"/>
              <a:gd name="T19" fmla="*/ 4 h 1798"/>
              <a:gd name="T20" fmla="*/ 1294 w 1798"/>
              <a:gd name="T21" fmla="*/ 87 h 1798"/>
              <a:gd name="T22" fmla="*/ 1540 w 1798"/>
              <a:gd name="T23" fmla="*/ 261 h 1798"/>
              <a:gd name="T24" fmla="*/ 1711 w 1798"/>
              <a:gd name="T25" fmla="*/ 506 h 1798"/>
              <a:gd name="T26" fmla="*/ 1794 w 1798"/>
              <a:gd name="T27" fmla="*/ 804 h 1798"/>
              <a:gd name="T28" fmla="*/ 1780 w 1798"/>
              <a:gd name="T29" fmla="*/ 1080 h 1798"/>
              <a:gd name="T30" fmla="*/ 1668 w 1798"/>
              <a:gd name="T31" fmla="*/ 1367 h 1798"/>
              <a:gd name="T32" fmla="*/ 1471 w 1798"/>
              <a:gd name="T33" fmla="*/ 1594 h 1798"/>
              <a:gd name="T34" fmla="*/ 1208 w 1798"/>
              <a:gd name="T35" fmla="*/ 1744 h 1798"/>
              <a:gd name="T36" fmla="*/ 900 w 1798"/>
              <a:gd name="T37" fmla="*/ 1798 h 1798"/>
              <a:gd name="T38" fmla="*/ 748 w 1798"/>
              <a:gd name="T39" fmla="*/ 163 h 1798"/>
              <a:gd name="T40" fmla="*/ 510 w 1798"/>
              <a:gd name="T41" fmla="*/ 256 h 1798"/>
              <a:gd name="T42" fmla="*/ 321 w 1798"/>
              <a:gd name="T43" fmla="*/ 420 h 1798"/>
              <a:gd name="T44" fmla="*/ 196 w 1798"/>
              <a:gd name="T45" fmla="*/ 639 h 1798"/>
              <a:gd name="T46" fmla="*/ 150 w 1798"/>
              <a:gd name="T47" fmla="*/ 896 h 1798"/>
              <a:gd name="T48" fmla="*/ 184 w 1798"/>
              <a:gd name="T49" fmla="*/ 1121 h 1798"/>
              <a:gd name="T50" fmla="*/ 299 w 1798"/>
              <a:gd name="T51" fmla="*/ 1348 h 1798"/>
              <a:gd name="T52" fmla="*/ 480 w 1798"/>
              <a:gd name="T53" fmla="*/ 1522 h 1798"/>
              <a:gd name="T54" fmla="*/ 712 w 1798"/>
              <a:gd name="T55" fmla="*/ 1626 h 1798"/>
              <a:gd name="T56" fmla="*/ 937 w 1798"/>
              <a:gd name="T57" fmla="*/ 1650 h 1798"/>
              <a:gd name="T58" fmla="*/ 1188 w 1798"/>
              <a:gd name="T59" fmla="*/ 1592 h 1798"/>
              <a:gd name="T60" fmla="*/ 1399 w 1798"/>
              <a:gd name="T61" fmla="*/ 1455 h 1798"/>
              <a:gd name="T62" fmla="*/ 1554 w 1798"/>
              <a:gd name="T63" fmla="*/ 1256 h 1798"/>
              <a:gd name="T64" fmla="*/ 1634 w 1798"/>
              <a:gd name="T65" fmla="*/ 1011 h 1798"/>
              <a:gd name="T66" fmla="*/ 1634 w 1798"/>
              <a:gd name="T67" fmla="*/ 783 h 1798"/>
              <a:gd name="T68" fmla="*/ 1554 w 1798"/>
              <a:gd name="T69" fmla="*/ 540 h 1798"/>
              <a:gd name="T70" fmla="*/ 1399 w 1798"/>
              <a:gd name="T71" fmla="*/ 342 h 1798"/>
              <a:gd name="T72" fmla="*/ 1188 w 1798"/>
              <a:gd name="T73" fmla="*/ 206 h 1798"/>
              <a:gd name="T74" fmla="*/ 937 w 1798"/>
              <a:gd name="T75" fmla="*/ 148 h 1798"/>
              <a:gd name="T76" fmla="*/ 1154 w 1798"/>
              <a:gd name="T77" fmla="*/ 1456 h 1798"/>
              <a:gd name="T78" fmla="*/ 920 w 1798"/>
              <a:gd name="T79" fmla="*/ 1015 h 1798"/>
              <a:gd name="T80" fmla="*/ 729 w 1798"/>
              <a:gd name="T81" fmla="*/ 1446 h 1798"/>
              <a:gd name="T82" fmla="*/ 610 w 1798"/>
              <a:gd name="T83" fmla="*/ 1458 h 1798"/>
              <a:gd name="T84" fmla="*/ 586 w 1798"/>
              <a:gd name="T85" fmla="*/ 1421 h 1798"/>
              <a:gd name="T86" fmla="*/ 603 w 1798"/>
              <a:gd name="T87" fmla="*/ 363 h 1798"/>
              <a:gd name="T88" fmla="*/ 1018 w 1798"/>
              <a:gd name="T89" fmla="*/ 365 h 1798"/>
              <a:gd name="T90" fmla="*/ 1133 w 1798"/>
              <a:gd name="T91" fmla="*/ 400 h 1798"/>
              <a:gd name="T92" fmla="*/ 1213 w 1798"/>
              <a:gd name="T93" fmla="*/ 466 h 1798"/>
              <a:gd name="T94" fmla="*/ 1266 w 1798"/>
              <a:gd name="T95" fmla="*/ 565 h 1798"/>
              <a:gd name="T96" fmla="*/ 1281 w 1798"/>
              <a:gd name="T97" fmla="*/ 680 h 1798"/>
              <a:gd name="T98" fmla="*/ 1248 w 1798"/>
              <a:gd name="T99" fmla="*/ 842 h 1798"/>
              <a:gd name="T100" fmla="*/ 1130 w 1798"/>
              <a:gd name="T101" fmla="*/ 970 h 1798"/>
              <a:gd name="T102" fmla="*/ 1305 w 1798"/>
              <a:gd name="T103" fmla="*/ 1435 h 1798"/>
              <a:gd name="T104" fmla="*/ 1281 w 1798"/>
              <a:gd name="T105" fmla="*/ 1458 h 1798"/>
              <a:gd name="T106" fmla="*/ 959 w 1798"/>
              <a:gd name="T107" fmla="*/ 875 h 1798"/>
              <a:gd name="T108" fmla="*/ 1074 w 1798"/>
              <a:gd name="T109" fmla="*/ 831 h 1798"/>
              <a:gd name="T110" fmla="*/ 1113 w 1798"/>
              <a:gd name="T111" fmla="*/ 772 h 1798"/>
              <a:gd name="T112" fmla="*/ 1127 w 1798"/>
              <a:gd name="T113" fmla="*/ 680 h 1798"/>
              <a:gd name="T114" fmla="*/ 1106 w 1798"/>
              <a:gd name="T115" fmla="*/ 582 h 1798"/>
              <a:gd name="T116" fmla="*/ 1020 w 1798"/>
              <a:gd name="T117" fmla="*/ 512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98" h="1798">
                <a:moveTo>
                  <a:pt x="900" y="1798"/>
                </a:moveTo>
                <a:lnTo>
                  <a:pt x="900" y="1798"/>
                </a:lnTo>
                <a:lnTo>
                  <a:pt x="853" y="1797"/>
                </a:lnTo>
                <a:lnTo>
                  <a:pt x="808" y="1793"/>
                </a:lnTo>
                <a:lnTo>
                  <a:pt x="762" y="1788"/>
                </a:lnTo>
                <a:lnTo>
                  <a:pt x="718" y="1780"/>
                </a:lnTo>
                <a:lnTo>
                  <a:pt x="674" y="1770"/>
                </a:lnTo>
                <a:lnTo>
                  <a:pt x="632" y="1757"/>
                </a:lnTo>
                <a:lnTo>
                  <a:pt x="590" y="1744"/>
                </a:lnTo>
                <a:lnTo>
                  <a:pt x="549" y="1728"/>
                </a:lnTo>
                <a:lnTo>
                  <a:pt x="510" y="1710"/>
                </a:lnTo>
                <a:lnTo>
                  <a:pt x="470" y="1690"/>
                </a:lnTo>
                <a:lnTo>
                  <a:pt x="433" y="1669"/>
                </a:lnTo>
                <a:lnTo>
                  <a:pt x="397" y="1646"/>
                </a:lnTo>
                <a:lnTo>
                  <a:pt x="361" y="1620"/>
                </a:lnTo>
                <a:lnTo>
                  <a:pt x="327" y="1594"/>
                </a:lnTo>
                <a:lnTo>
                  <a:pt x="295" y="1565"/>
                </a:lnTo>
                <a:lnTo>
                  <a:pt x="263" y="1536"/>
                </a:lnTo>
                <a:lnTo>
                  <a:pt x="233" y="1505"/>
                </a:lnTo>
                <a:lnTo>
                  <a:pt x="205" y="1473"/>
                </a:lnTo>
                <a:lnTo>
                  <a:pt x="179" y="1438"/>
                </a:lnTo>
                <a:lnTo>
                  <a:pt x="153" y="1403"/>
                </a:lnTo>
                <a:lnTo>
                  <a:pt x="130" y="1367"/>
                </a:lnTo>
                <a:lnTo>
                  <a:pt x="109" y="1328"/>
                </a:lnTo>
                <a:lnTo>
                  <a:pt x="89" y="1290"/>
                </a:lnTo>
                <a:lnTo>
                  <a:pt x="71" y="1250"/>
                </a:lnTo>
                <a:lnTo>
                  <a:pt x="55" y="1208"/>
                </a:lnTo>
                <a:lnTo>
                  <a:pt x="40" y="1167"/>
                </a:lnTo>
                <a:lnTo>
                  <a:pt x="28" y="1124"/>
                </a:lnTo>
                <a:lnTo>
                  <a:pt x="18" y="1080"/>
                </a:lnTo>
                <a:lnTo>
                  <a:pt x="10" y="1036"/>
                </a:lnTo>
                <a:lnTo>
                  <a:pt x="5" y="990"/>
                </a:lnTo>
                <a:lnTo>
                  <a:pt x="1" y="943"/>
                </a:lnTo>
                <a:lnTo>
                  <a:pt x="0" y="896"/>
                </a:lnTo>
                <a:lnTo>
                  <a:pt x="0" y="896"/>
                </a:lnTo>
                <a:lnTo>
                  <a:pt x="1" y="850"/>
                </a:lnTo>
                <a:lnTo>
                  <a:pt x="5" y="804"/>
                </a:lnTo>
                <a:lnTo>
                  <a:pt x="10" y="759"/>
                </a:lnTo>
                <a:lnTo>
                  <a:pt x="18" y="715"/>
                </a:lnTo>
                <a:lnTo>
                  <a:pt x="28" y="671"/>
                </a:lnTo>
                <a:lnTo>
                  <a:pt x="40" y="628"/>
                </a:lnTo>
                <a:lnTo>
                  <a:pt x="55" y="586"/>
                </a:lnTo>
                <a:lnTo>
                  <a:pt x="71" y="546"/>
                </a:lnTo>
                <a:lnTo>
                  <a:pt x="89" y="506"/>
                </a:lnTo>
                <a:lnTo>
                  <a:pt x="109" y="468"/>
                </a:lnTo>
                <a:lnTo>
                  <a:pt x="130" y="430"/>
                </a:lnTo>
                <a:lnTo>
                  <a:pt x="153" y="393"/>
                </a:lnTo>
                <a:lnTo>
                  <a:pt x="179" y="358"/>
                </a:lnTo>
                <a:lnTo>
                  <a:pt x="205" y="324"/>
                </a:lnTo>
                <a:lnTo>
                  <a:pt x="233" y="292"/>
                </a:lnTo>
                <a:lnTo>
                  <a:pt x="263" y="261"/>
                </a:lnTo>
                <a:lnTo>
                  <a:pt x="295" y="231"/>
                </a:lnTo>
                <a:lnTo>
                  <a:pt x="327" y="203"/>
                </a:lnTo>
                <a:lnTo>
                  <a:pt x="361" y="177"/>
                </a:lnTo>
                <a:lnTo>
                  <a:pt x="397" y="151"/>
                </a:lnTo>
                <a:lnTo>
                  <a:pt x="433" y="128"/>
                </a:lnTo>
                <a:lnTo>
                  <a:pt x="470" y="107"/>
                </a:lnTo>
                <a:lnTo>
                  <a:pt x="510" y="87"/>
                </a:lnTo>
                <a:lnTo>
                  <a:pt x="549" y="69"/>
                </a:lnTo>
                <a:lnTo>
                  <a:pt x="590" y="54"/>
                </a:lnTo>
                <a:lnTo>
                  <a:pt x="632" y="40"/>
                </a:lnTo>
                <a:lnTo>
                  <a:pt x="674" y="27"/>
                </a:lnTo>
                <a:lnTo>
                  <a:pt x="718" y="17"/>
                </a:lnTo>
                <a:lnTo>
                  <a:pt x="762" y="10"/>
                </a:lnTo>
                <a:lnTo>
                  <a:pt x="808" y="4"/>
                </a:lnTo>
                <a:lnTo>
                  <a:pt x="853" y="1"/>
                </a:lnTo>
                <a:lnTo>
                  <a:pt x="900" y="0"/>
                </a:lnTo>
                <a:lnTo>
                  <a:pt x="900" y="0"/>
                </a:lnTo>
                <a:lnTo>
                  <a:pt x="946" y="1"/>
                </a:lnTo>
                <a:lnTo>
                  <a:pt x="993" y="4"/>
                </a:lnTo>
                <a:lnTo>
                  <a:pt x="1039" y="10"/>
                </a:lnTo>
                <a:lnTo>
                  <a:pt x="1083" y="17"/>
                </a:lnTo>
                <a:lnTo>
                  <a:pt x="1128" y="27"/>
                </a:lnTo>
                <a:lnTo>
                  <a:pt x="1171" y="40"/>
                </a:lnTo>
                <a:lnTo>
                  <a:pt x="1213" y="54"/>
                </a:lnTo>
                <a:lnTo>
                  <a:pt x="1254" y="69"/>
                </a:lnTo>
                <a:lnTo>
                  <a:pt x="1294" y="87"/>
                </a:lnTo>
                <a:lnTo>
                  <a:pt x="1333" y="107"/>
                </a:lnTo>
                <a:lnTo>
                  <a:pt x="1371" y="128"/>
                </a:lnTo>
                <a:lnTo>
                  <a:pt x="1407" y="151"/>
                </a:lnTo>
                <a:lnTo>
                  <a:pt x="1442" y="177"/>
                </a:lnTo>
                <a:lnTo>
                  <a:pt x="1476" y="203"/>
                </a:lnTo>
                <a:lnTo>
                  <a:pt x="1508" y="231"/>
                </a:lnTo>
                <a:lnTo>
                  <a:pt x="1540" y="261"/>
                </a:lnTo>
                <a:lnTo>
                  <a:pt x="1569" y="292"/>
                </a:lnTo>
                <a:lnTo>
                  <a:pt x="1597" y="324"/>
                </a:lnTo>
                <a:lnTo>
                  <a:pt x="1623" y="358"/>
                </a:lnTo>
                <a:lnTo>
                  <a:pt x="1648" y="393"/>
                </a:lnTo>
                <a:lnTo>
                  <a:pt x="1671" y="430"/>
                </a:lnTo>
                <a:lnTo>
                  <a:pt x="1692" y="468"/>
                </a:lnTo>
                <a:lnTo>
                  <a:pt x="1711" y="506"/>
                </a:lnTo>
                <a:lnTo>
                  <a:pt x="1729" y="546"/>
                </a:lnTo>
                <a:lnTo>
                  <a:pt x="1744" y="586"/>
                </a:lnTo>
                <a:lnTo>
                  <a:pt x="1759" y="628"/>
                </a:lnTo>
                <a:lnTo>
                  <a:pt x="1771" y="671"/>
                </a:lnTo>
                <a:lnTo>
                  <a:pt x="1781" y="715"/>
                </a:lnTo>
                <a:lnTo>
                  <a:pt x="1788" y="759"/>
                </a:lnTo>
                <a:lnTo>
                  <a:pt x="1794" y="804"/>
                </a:lnTo>
                <a:lnTo>
                  <a:pt x="1797" y="850"/>
                </a:lnTo>
                <a:lnTo>
                  <a:pt x="1798" y="896"/>
                </a:lnTo>
                <a:lnTo>
                  <a:pt x="1798" y="896"/>
                </a:lnTo>
                <a:lnTo>
                  <a:pt x="1797" y="943"/>
                </a:lnTo>
                <a:lnTo>
                  <a:pt x="1794" y="990"/>
                </a:lnTo>
                <a:lnTo>
                  <a:pt x="1788" y="1036"/>
                </a:lnTo>
                <a:lnTo>
                  <a:pt x="1780" y="1080"/>
                </a:lnTo>
                <a:lnTo>
                  <a:pt x="1770" y="1124"/>
                </a:lnTo>
                <a:lnTo>
                  <a:pt x="1758" y="1167"/>
                </a:lnTo>
                <a:lnTo>
                  <a:pt x="1743" y="1208"/>
                </a:lnTo>
                <a:lnTo>
                  <a:pt x="1727" y="1250"/>
                </a:lnTo>
                <a:lnTo>
                  <a:pt x="1709" y="1290"/>
                </a:lnTo>
                <a:lnTo>
                  <a:pt x="1690" y="1328"/>
                </a:lnTo>
                <a:lnTo>
                  <a:pt x="1668" y="1367"/>
                </a:lnTo>
                <a:lnTo>
                  <a:pt x="1645" y="1403"/>
                </a:lnTo>
                <a:lnTo>
                  <a:pt x="1619" y="1438"/>
                </a:lnTo>
                <a:lnTo>
                  <a:pt x="1593" y="1473"/>
                </a:lnTo>
                <a:lnTo>
                  <a:pt x="1565" y="1505"/>
                </a:lnTo>
                <a:lnTo>
                  <a:pt x="1535" y="1536"/>
                </a:lnTo>
                <a:lnTo>
                  <a:pt x="1503" y="1565"/>
                </a:lnTo>
                <a:lnTo>
                  <a:pt x="1471" y="1594"/>
                </a:lnTo>
                <a:lnTo>
                  <a:pt x="1437" y="1620"/>
                </a:lnTo>
                <a:lnTo>
                  <a:pt x="1401" y="1646"/>
                </a:lnTo>
                <a:lnTo>
                  <a:pt x="1365" y="1669"/>
                </a:lnTo>
                <a:lnTo>
                  <a:pt x="1328" y="1690"/>
                </a:lnTo>
                <a:lnTo>
                  <a:pt x="1289" y="1710"/>
                </a:lnTo>
                <a:lnTo>
                  <a:pt x="1249" y="1728"/>
                </a:lnTo>
                <a:lnTo>
                  <a:pt x="1208" y="1744"/>
                </a:lnTo>
                <a:lnTo>
                  <a:pt x="1166" y="1757"/>
                </a:lnTo>
                <a:lnTo>
                  <a:pt x="1124" y="1770"/>
                </a:lnTo>
                <a:lnTo>
                  <a:pt x="1080" y="1780"/>
                </a:lnTo>
                <a:lnTo>
                  <a:pt x="1036" y="1788"/>
                </a:lnTo>
                <a:lnTo>
                  <a:pt x="991" y="1793"/>
                </a:lnTo>
                <a:lnTo>
                  <a:pt x="945" y="1797"/>
                </a:lnTo>
                <a:lnTo>
                  <a:pt x="900" y="1798"/>
                </a:lnTo>
                <a:lnTo>
                  <a:pt x="900" y="1798"/>
                </a:lnTo>
                <a:close/>
                <a:moveTo>
                  <a:pt x="900" y="147"/>
                </a:moveTo>
                <a:lnTo>
                  <a:pt x="900" y="147"/>
                </a:lnTo>
                <a:lnTo>
                  <a:pt x="860" y="148"/>
                </a:lnTo>
                <a:lnTo>
                  <a:pt x="822" y="151"/>
                </a:lnTo>
                <a:lnTo>
                  <a:pt x="784" y="156"/>
                </a:lnTo>
                <a:lnTo>
                  <a:pt x="748" y="163"/>
                </a:lnTo>
                <a:lnTo>
                  <a:pt x="712" y="171"/>
                </a:lnTo>
                <a:lnTo>
                  <a:pt x="675" y="181"/>
                </a:lnTo>
                <a:lnTo>
                  <a:pt x="641" y="192"/>
                </a:lnTo>
                <a:lnTo>
                  <a:pt x="607" y="206"/>
                </a:lnTo>
                <a:lnTo>
                  <a:pt x="573" y="221"/>
                </a:lnTo>
                <a:lnTo>
                  <a:pt x="541" y="238"/>
                </a:lnTo>
                <a:lnTo>
                  <a:pt x="510" y="256"/>
                </a:lnTo>
                <a:lnTo>
                  <a:pt x="480" y="275"/>
                </a:lnTo>
                <a:lnTo>
                  <a:pt x="450" y="296"/>
                </a:lnTo>
                <a:lnTo>
                  <a:pt x="422" y="318"/>
                </a:lnTo>
                <a:lnTo>
                  <a:pt x="395" y="342"/>
                </a:lnTo>
                <a:lnTo>
                  <a:pt x="369" y="367"/>
                </a:lnTo>
                <a:lnTo>
                  <a:pt x="344" y="392"/>
                </a:lnTo>
                <a:lnTo>
                  <a:pt x="321" y="420"/>
                </a:lnTo>
                <a:lnTo>
                  <a:pt x="299" y="448"/>
                </a:lnTo>
                <a:lnTo>
                  <a:pt x="278" y="478"/>
                </a:lnTo>
                <a:lnTo>
                  <a:pt x="258" y="508"/>
                </a:lnTo>
                <a:lnTo>
                  <a:pt x="240" y="540"/>
                </a:lnTo>
                <a:lnTo>
                  <a:pt x="224" y="572"/>
                </a:lnTo>
                <a:lnTo>
                  <a:pt x="209" y="605"/>
                </a:lnTo>
                <a:lnTo>
                  <a:pt x="196" y="639"/>
                </a:lnTo>
                <a:lnTo>
                  <a:pt x="184" y="674"/>
                </a:lnTo>
                <a:lnTo>
                  <a:pt x="174" y="709"/>
                </a:lnTo>
                <a:lnTo>
                  <a:pt x="166" y="746"/>
                </a:lnTo>
                <a:lnTo>
                  <a:pt x="160" y="783"/>
                </a:lnTo>
                <a:lnTo>
                  <a:pt x="154" y="820"/>
                </a:lnTo>
                <a:lnTo>
                  <a:pt x="151" y="858"/>
                </a:lnTo>
                <a:lnTo>
                  <a:pt x="150" y="896"/>
                </a:lnTo>
                <a:lnTo>
                  <a:pt x="150" y="896"/>
                </a:lnTo>
                <a:lnTo>
                  <a:pt x="151" y="935"/>
                </a:lnTo>
                <a:lnTo>
                  <a:pt x="154" y="974"/>
                </a:lnTo>
                <a:lnTo>
                  <a:pt x="160" y="1011"/>
                </a:lnTo>
                <a:lnTo>
                  <a:pt x="166" y="1049"/>
                </a:lnTo>
                <a:lnTo>
                  <a:pt x="174" y="1086"/>
                </a:lnTo>
                <a:lnTo>
                  <a:pt x="184" y="1121"/>
                </a:lnTo>
                <a:lnTo>
                  <a:pt x="196" y="1157"/>
                </a:lnTo>
                <a:lnTo>
                  <a:pt x="209" y="1190"/>
                </a:lnTo>
                <a:lnTo>
                  <a:pt x="224" y="1224"/>
                </a:lnTo>
                <a:lnTo>
                  <a:pt x="240" y="1256"/>
                </a:lnTo>
                <a:lnTo>
                  <a:pt x="258" y="1288"/>
                </a:lnTo>
                <a:lnTo>
                  <a:pt x="278" y="1318"/>
                </a:lnTo>
                <a:lnTo>
                  <a:pt x="299" y="1348"/>
                </a:lnTo>
                <a:lnTo>
                  <a:pt x="321" y="1376"/>
                </a:lnTo>
                <a:lnTo>
                  <a:pt x="344" y="1404"/>
                </a:lnTo>
                <a:lnTo>
                  <a:pt x="369" y="1430"/>
                </a:lnTo>
                <a:lnTo>
                  <a:pt x="395" y="1455"/>
                </a:lnTo>
                <a:lnTo>
                  <a:pt x="422" y="1479"/>
                </a:lnTo>
                <a:lnTo>
                  <a:pt x="450" y="1501"/>
                </a:lnTo>
                <a:lnTo>
                  <a:pt x="480" y="1522"/>
                </a:lnTo>
                <a:lnTo>
                  <a:pt x="510" y="1542"/>
                </a:lnTo>
                <a:lnTo>
                  <a:pt x="541" y="1559"/>
                </a:lnTo>
                <a:lnTo>
                  <a:pt x="573" y="1576"/>
                </a:lnTo>
                <a:lnTo>
                  <a:pt x="607" y="1592"/>
                </a:lnTo>
                <a:lnTo>
                  <a:pt x="641" y="1605"/>
                </a:lnTo>
                <a:lnTo>
                  <a:pt x="675" y="1616"/>
                </a:lnTo>
                <a:lnTo>
                  <a:pt x="712" y="1626"/>
                </a:lnTo>
                <a:lnTo>
                  <a:pt x="748" y="1635"/>
                </a:lnTo>
                <a:lnTo>
                  <a:pt x="784" y="1641"/>
                </a:lnTo>
                <a:lnTo>
                  <a:pt x="822" y="1647"/>
                </a:lnTo>
                <a:lnTo>
                  <a:pt x="860" y="1650"/>
                </a:lnTo>
                <a:lnTo>
                  <a:pt x="900" y="1651"/>
                </a:lnTo>
                <a:lnTo>
                  <a:pt x="900" y="1651"/>
                </a:lnTo>
                <a:lnTo>
                  <a:pt x="937" y="1650"/>
                </a:lnTo>
                <a:lnTo>
                  <a:pt x="975" y="1647"/>
                </a:lnTo>
                <a:lnTo>
                  <a:pt x="1013" y="1641"/>
                </a:lnTo>
                <a:lnTo>
                  <a:pt x="1049" y="1635"/>
                </a:lnTo>
                <a:lnTo>
                  <a:pt x="1085" y="1626"/>
                </a:lnTo>
                <a:lnTo>
                  <a:pt x="1121" y="1616"/>
                </a:lnTo>
                <a:lnTo>
                  <a:pt x="1155" y="1605"/>
                </a:lnTo>
                <a:lnTo>
                  <a:pt x="1188" y="1592"/>
                </a:lnTo>
                <a:lnTo>
                  <a:pt x="1222" y="1576"/>
                </a:lnTo>
                <a:lnTo>
                  <a:pt x="1254" y="1559"/>
                </a:lnTo>
                <a:lnTo>
                  <a:pt x="1285" y="1542"/>
                </a:lnTo>
                <a:lnTo>
                  <a:pt x="1315" y="1522"/>
                </a:lnTo>
                <a:lnTo>
                  <a:pt x="1345" y="1501"/>
                </a:lnTo>
                <a:lnTo>
                  <a:pt x="1373" y="1479"/>
                </a:lnTo>
                <a:lnTo>
                  <a:pt x="1399" y="1455"/>
                </a:lnTo>
                <a:lnTo>
                  <a:pt x="1425" y="1430"/>
                </a:lnTo>
                <a:lnTo>
                  <a:pt x="1450" y="1404"/>
                </a:lnTo>
                <a:lnTo>
                  <a:pt x="1474" y="1376"/>
                </a:lnTo>
                <a:lnTo>
                  <a:pt x="1495" y="1348"/>
                </a:lnTo>
                <a:lnTo>
                  <a:pt x="1516" y="1318"/>
                </a:lnTo>
                <a:lnTo>
                  <a:pt x="1536" y="1288"/>
                </a:lnTo>
                <a:lnTo>
                  <a:pt x="1554" y="1256"/>
                </a:lnTo>
                <a:lnTo>
                  <a:pt x="1570" y="1224"/>
                </a:lnTo>
                <a:lnTo>
                  <a:pt x="1585" y="1190"/>
                </a:lnTo>
                <a:lnTo>
                  <a:pt x="1598" y="1157"/>
                </a:lnTo>
                <a:lnTo>
                  <a:pt x="1610" y="1121"/>
                </a:lnTo>
                <a:lnTo>
                  <a:pt x="1620" y="1086"/>
                </a:lnTo>
                <a:lnTo>
                  <a:pt x="1628" y="1049"/>
                </a:lnTo>
                <a:lnTo>
                  <a:pt x="1634" y="1011"/>
                </a:lnTo>
                <a:lnTo>
                  <a:pt x="1640" y="974"/>
                </a:lnTo>
                <a:lnTo>
                  <a:pt x="1643" y="935"/>
                </a:lnTo>
                <a:lnTo>
                  <a:pt x="1644" y="896"/>
                </a:lnTo>
                <a:lnTo>
                  <a:pt x="1644" y="896"/>
                </a:lnTo>
                <a:lnTo>
                  <a:pt x="1643" y="858"/>
                </a:lnTo>
                <a:lnTo>
                  <a:pt x="1640" y="820"/>
                </a:lnTo>
                <a:lnTo>
                  <a:pt x="1634" y="783"/>
                </a:lnTo>
                <a:lnTo>
                  <a:pt x="1628" y="746"/>
                </a:lnTo>
                <a:lnTo>
                  <a:pt x="1620" y="709"/>
                </a:lnTo>
                <a:lnTo>
                  <a:pt x="1610" y="674"/>
                </a:lnTo>
                <a:lnTo>
                  <a:pt x="1598" y="639"/>
                </a:lnTo>
                <a:lnTo>
                  <a:pt x="1585" y="605"/>
                </a:lnTo>
                <a:lnTo>
                  <a:pt x="1570" y="572"/>
                </a:lnTo>
                <a:lnTo>
                  <a:pt x="1554" y="540"/>
                </a:lnTo>
                <a:lnTo>
                  <a:pt x="1536" y="508"/>
                </a:lnTo>
                <a:lnTo>
                  <a:pt x="1516" y="478"/>
                </a:lnTo>
                <a:lnTo>
                  <a:pt x="1495" y="448"/>
                </a:lnTo>
                <a:lnTo>
                  <a:pt x="1474" y="420"/>
                </a:lnTo>
                <a:lnTo>
                  <a:pt x="1450" y="392"/>
                </a:lnTo>
                <a:lnTo>
                  <a:pt x="1425" y="367"/>
                </a:lnTo>
                <a:lnTo>
                  <a:pt x="1399" y="342"/>
                </a:lnTo>
                <a:lnTo>
                  <a:pt x="1373" y="318"/>
                </a:lnTo>
                <a:lnTo>
                  <a:pt x="1345" y="296"/>
                </a:lnTo>
                <a:lnTo>
                  <a:pt x="1315" y="275"/>
                </a:lnTo>
                <a:lnTo>
                  <a:pt x="1285" y="256"/>
                </a:lnTo>
                <a:lnTo>
                  <a:pt x="1254" y="238"/>
                </a:lnTo>
                <a:lnTo>
                  <a:pt x="1222" y="221"/>
                </a:lnTo>
                <a:lnTo>
                  <a:pt x="1188" y="206"/>
                </a:lnTo>
                <a:lnTo>
                  <a:pt x="1155" y="192"/>
                </a:lnTo>
                <a:lnTo>
                  <a:pt x="1121" y="181"/>
                </a:lnTo>
                <a:lnTo>
                  <a:pt x="1085" y="171"/>
                </a:lnTo>
                <a:lnTo>
                  <a:pt x="1049" y="163"/>
                </a:lnTo>
                <a:lnTo>
                  <a:pt x="1013" y="156"/>
                </a:lnTo>
                <a:lnTo>
                  <a:pt x="975" y="151"/>
                </a:lnTo>
                <a:lnTo>
                  <a:pt x="937" y="148"/>
                </a:lnTo>
                <a:lnTo>
                  <a:pt x="900" y="147"/>
                </a:lnTo>
                <a:lnTo>
                  <a:pt x="900" y="147"/>
                </a:lnTo>
                <a:close/>
                <a:moveTo>
                  <a:pt x="1281" y="1458"/>
                </a:moveTo>
                <a:lnTo>
                  <a:pt x="1168" y="1458"/>
                </a:lnTo>
                <a:lnTo>
                  <a:pt x="1168" y="1458"/>
                </a:lnTo>
                <a:lnTo>
                  <a:pt x="1160" y="1458"/>
                </a:lnTo>
                <a:lnTo>
                  <a:pt x="1154" y="1456"/>
                </a:lnTo>
                <a:lnTo>
                  <a:pt x="1148" y="1455"/>
                </a:lnTo>
                <a:lnTo>
                  <a:pt x="1142" y="1453"/>
                </a:lnTo>
                <a:lnTo>
                  <a:pt x="1137" y="1450"/>
                </a:lnTo>
                <a:lnTo>
                  <a:pt x="1132" y="1445"/>
                </a:lnTo>
                <a:lnTo>
                  <a:pt x="1128" y="1440"/>
                </a:lnTo>
                <a:lnTo>
                  <a:pt x="1123" y="1433"/>
                </a:lnTo>
                <a:lnTo>
                  <a:pt x="920" y="1015"/>
                </a:lnTo>
                <a:lnTo>
                  <a:pt x="736" y="1015"/>
                </a:lnTo>
                <a:lnTo>
                  <a:pt x="736" y="1417"/>
                </a:lnTo>
                <a:lnTo>
                  <a:pt x="736" y="1417"/>
                </a:lnTo>
                <a:lnTo>
                  <a:pt x="736" y="1426"/>
                </a:lnTo>
                <a:lnTo>
                  <a:pt x="735" y="1433"/>
                </a:lnTo>
                <a:lnTo>
                  <a:pt x="732" y="1440"/>
                </a:lnTo>
                <a:lnTo>
                  <a:pt x="729" y="1446"/>
                </a:lnTo>
                <a:lnTo>
                  <a:pt x="724" y="1451"/>
                </a:lnTo>
                <a:lnTo>
                  <a:pt x="718" y="1454"/>
                </a:lnTo>
                <a:lnTo>
                  <a:pt x="710" y="1456"/>
                </a:lnTo>
                <a:lnTo>
                  <a:pt x="700" y="1458"/>
                </a:lnTo>
                <a:lnTo>
                  <a:pt x="619" y="1458"/>
                </a:lnTo>
                <a:lnTo>
                  <a:pt x="619" y="1458"/>
                </a:lnTo>
                <a:lnTo>
                  <a:pt x="610" y="1458"/>
                </a:lnTo>
                <a:lnTo>
                  <a:pt x="603" y="1456"/>
                </a:lnTo>
                <a:lnTo>
                  <a:pt x="598" y="1453"/>
                </a:lnTo>
                <a:lnTo>
                  <a:pt x="593" y="1450"/>
                </a:lnTo>
                <a:lnTo>
                  <a:pt x="590" y="1445"/>
                </a:lnTo>
                <a:lnTo>
                  <a:pt x="588" y="1439"/>
                </a:lnTo>
                <a:lnTo>
                  <a:pt x="587" y="1431"/>
                </a:lnTo>
                <a:lnTo>
                  <a:pt x="586" y="1421"/>
                </a:lnTo>
                <a:lnTo>
                  <a:pt x="586" y="392"/>
                </a:lnTo>
                <a:lnTo>
                  <a:pt x="586" y="392"/>
                </a:lnTo>
                <a:lnTo>
                  <a:pt x="587" y="383"/>
                </a:lnTo>
                <a:lnTo>
                  <a:pt x="589" y="376"/>
                </a:lnTo>
                <a:lnTo>
                  <a:pt x="593" y="370"/>
                </a:lnTo>
                <a:lnTo>
                  <a:pt x="597" y="366"/>
                </a:lnTo>
                <a:lnTo>
                  <a:pt x="603" y="363"/>
                </a:lnTo>
                <a:lnTo>
                  <a:pt x="610" y="361"/>
                </a:lnTo>
                <a:lnTo>
                  <a:pt x="618" y="360"/>
                </a:lnTo>
                <a:lnTo>
                  <a:pt x="627" y="360"/>
                </a:lnTo>
                <a:lnTo>
                  <a:pt x="956" y="360"/>
                </a:lnTo>
                <a:lnTo>
                  <a:pt x="956" y="360"/>
                </a:lnTo>
                <a:lnTo>
                  <a:pt x="987" y="361"/>
                </a:lnTo>
                <a:lnTo>
                  <a:pt x="1018" y="365"/>
                </a:lnTo>
                <a:lnTo>
                  <a:pt x="1048" y="370"/>
                </a:lnTo>
                <a:lnTo>
                  <a:pt x="1063" y="373"/>
                </a:lnTo>
                <a:lnTo>
                  <a:pt x="1077" y="378"/>
                </a:lnTo>
                <a:lnTo>
                  <a:pt x="1091" y="382"/>
                </a:lnTo>
                <a:lnTo>
                  <a:pt x="1105" y="388"/>
                </a:lnTo>
                <a:lnTo>
                  <a:pt x="1119" y="394"/>
                </a:lnTo>
                <a:lnTo>
                  <a:pt x="1133" y="400"/>
                </a:lnTo>
                <a:lnTo>
                  <a:pt x="1145" y="408"/>
                </a:lnTo>
                <a:lnTo>
                  <a:pt x="1158" y="416"/>
                </a:lnTo>
                <a:lnTo>
                  <a:pt x="1170" y="425"/>
                </a:lnTo>
                <a:lnTo>
                  <a:pt x="1181" y="434"/>
                </a:lnTo>
                <a:lnTo>
                  <a:pt x="1192" y="444"/>
                </a:lnTo>
                <a:lnTo>
                  <a:pt x="1203" y="454"/>
                </a:lnTo>
                <a:lnTo>
                  <a:pt x="1213" y="466"/>
                </a:lnTo>
                <a:lnTo>
                  <a:pt x="1223" y="478"/>
                </a:lnTo>
                <a:lnTo>
                  <a:pt x="1232" y="490"/>
                </a:lnTo>
                <a:lnTo>
                  <a:pt x="1240" y="504"/>
                </a:lnTo>
                <a:lnTo>
                  <a:pt x="1247" y="518"/>
                </a:lnTo>
                <a:lnTo>
                  <a:pt x="1254" y="533"/>
                </a:lnTo>
                <a:lnTo>
                  <a:pt x="1260" y="549"/>
                </a:lnTo>
                <a:lnTo>
                  <a:pt x="1266" y="565"/>
                </a:lnTo>
                <a:lnTo>
                  <a:pt x="1270" y="582"/>
                </a:lnTo>
                <a:lnTo>
                  <a:pt x="1274" y="600"/>
                </a:lnTo>
                <a:lnTo>
                  <a:pt x="1277" y="619"/>
                </a:lnTo>
                <a:lnTo>
                  <a:pt x="1280" y="638"/>
                </a:lnTo>
                <a:lnTo>
                  <a:pt x="1281" y="659"/>
                </a:lnTo>
                <a:lnTo>
                  <a:pt x="1281" y="680"/>
                </a:lnTo>
                <a:lnTo>
                  <a:pt x="1281" y="680"/>
                </a:lnTo>
                <a:lnTo>
                  <a:pt x="1281" y="703"/>
                </a:lnTo>
                <a:lnTo>
                  <a:pt x="1279" y="727"/>
                </a:lnTo>
                <a:lnTo>
                  <a:pt x="1276" y="751"/>
                </a:lnTo>
                <a:lnTo>
                  <a:pt x="1271" y="774"/>
                </a:lnTo>
                <a:lnTo>
                  <a:pt x="1265" y="798"/>
                </a:lnTo>
                <a:lnTo>
                  <a:pt x="1257" y="820"/>
                </a:lnTo>
                <a:lnTo>
                  <a:pt x="1248" y="842"/>
                </a:lnTo>
                <a:lnTo>
                  <a:pt x="1237" y="863"/>
                </a:lnTo>
                <a:lnTo>
                  <a:pt x="1224" y="884"/>
                </a:lnTo>
                <a:lnTo>
                  <a:pt x="1208" y="904"/>
                </a:lnTo>
                <a:lnTo>
                  <a:pt x="1192" y="922"/>
                </a:lnTo>
                <a:lnTo>
                  <a:pt x="1173" y="939"/>
                </a:lnTo>
                <a:lnTo>
                  <a:pt x="1153" y="955"/>
                </a:lnTo>
                <a:lnTo>
                  <a:pt x="1130" y="970"/>
                </a:lnTo>
                <a:lnTo>
                  <a:pt x="1105" y="983"/>
                </a:lnTo>
                <a:lnTo>
                  <a:pt x="1092" y="989"/>
                </a:lnTo>
                <a:lnTo>
                  <a:pt x="1078" y="995"/>
                </a:lnTo>
                <a:lnTo>
                  <a:pt x="1301" y="1421"/>
                </a:lnTo>
                <a:lnTo>
                  <a:pt x="1301" y="1421"/>
                </a:lnTo>
                <a:lnTo>
                  <a:pt x="1304" y="1428"/>
                </a:lnTo>
                <a:lnTo>
                  <a:pt x="1305" y="1435"/>
                </a:lnTo>
                <a:lnTo>
                  <a:pt x="1304" y="1441"/>
                </a:lnTo>
                <a:lnTo>
                  <a:pt x="1302" y="1447"/>
                </a:lnTo>
                <a:lnTo>
                  <a:pt x="1299" y="1451"/>
                </a:lnTo>
                <a:lnTo>
                  <a:pt x="1294" y="1454"/>
                </a:lnTo>
                <a:lnTo>
                  <a:pt x="1288" y="1456"/>
                </a:lnTo>
                <a:lnTo>
                  <a:pt x="1281" y="1458"/>
                </a:lnTo>
                <a:lnTo>
                  <a:pt x="1281" y="1458"/>
                </a:lnTo>
                <a:close/>
                <a:moveTo>
                  <a:pt x="924" y="499"/>
                </a:moveTo>
                <a:lnTo>
                  <a:pt x="736" y="499"/>
                </a:lnTo>
                <a:lnTo>
                  <a:pt x="736" y="876"/>
                </a:lnTo>
                <a:lnTo>
                  <a:pt x="924" y="876"/>
                </a:lnTo>
                <a:lnTo>
                  <a:pt x="924" y="876"/>
                </a:lnTo>
                <a:lnTo>
                  <a:pt x="941" y="876"/>
                </a:lnTo>
                <a:lnTo>
                  <a:pt x="959" y="875"/>
                </a:lnTo>
                <a:lnTo>
                  <a:pt x="977" y="873"/>
                </a:lnTo>
                <a:lnTo>
                  <a:pt x="994" y="870"/>
                </a:lnTo>
                <a:lnTo>
                  <a:pt x="1013" y="865"/>
                </a:lnTo>
                <a:lnTo>
                  <a:pt x="1029" y="859"/>
                </a:lnTo>
                <a:lnTo>
                  <a:pt x="1045" y="852"/>
                </a:lnTo>
                <a:lnTo>
                  <a:pt x="1060" y="843"/>
                </a:lnTo>
                <a:lnTo>
                  <a:pt x="1074" y="831"/>
                </a:lnTo>
                <a:lnTo>
                  <a:pt x="1081" y="824"/>
                </a:lnTo>
                <a:lnTo>
                  <a:pt x="1087" y="817"/>
                </a:lnTo>
                <a:lnTo>
                  <a:pt x="1093" y="810"/>
                </a:lnTo>
                <a:lnTo>
                  <a:pt x="1098" y="801"/>
                </a:lnTo>
                <a:lnTo>
                  <a:pt x="1103" y="793"/>
                </a:lnTo>
                <a:lnTo>
                  <a:pt x="1108" y="783"/>
                </a:lnTo>
                <a:lnTo>
                  <a:pt x="1113" y="772"/>
                </a:lnTo>
                <a:lnTo>
                  <a:pt x="1117" y="761"/>
                </a:lnTo>
                <a:lnTo>
                  <a:pt x="1120" y="750"/>
                </a:lnTo>
                <a:lnTo>
                  <a:pt x="1122" y="737"/>
                </a:lnTo>
                <a:lnTo>
                  <a:pt x="1124" y="724"/>
                </a:lnTo>
                <a:lnTo>
                  <a:pt x="1126" y="710"/>
                </a:lnTo>
                <a:lnTo>
                  <a:pt x="1127" y="695"/>
                </a:lnTo>
                <a:lnTo>
                  <a:pt x="1127" y="680"/>
                </a:lnTo>
                <a:lnTo>
                  <a:pt x="1127" y="680"/>
                </a:lnTo>
                <a:lnTo>
                  <a:pt x="1126" y="654"/>
                </a:lnTo>
                <a:lnTo>
                  <a:pt x="1123" y="630"/>
                </a:lnTo>
                <a:lnTo>
                  <a:pt x="1118" y="610"/>
                </a:lnTo>
                <a:lnTo>
                  <a:pt x="1115" y="600"/>
                </a:lnTo>
                <a:lnTo>
                  <a:pt x="1110" y="591"/>
                </a:lnTo>
                <a:lnTo>
                  <a:pt x="1106" y="582"/>
                </a:lnTo>
                <a:lnTo>
                  <a:pt x="1101" y="574"/>
                </a:lnTo>
                <a:lnTo>
                  <a:pt x="1091" y="559"/>
                </a:lnTo>
                <a:lnTo>
                  <a:pt x="1079" y="547"/>
                </a:lnTo>
                <a:lnTo>
                  <a:pt x="1066" y="536"/>
                </a:lnTo>
                <a:lnTo>
                  <a:pt x="1052" y="526"/>
                </a:lnTo>
                <a:lnTo>
                  <a:pt x="1036" y="518"/>
                </a:lnTo>
                <a:lnTo>
                  <a:pt x="1020" y="512"/>
                </a:lnTo>
                <a:lnTo>
                  <a:pt x="1001" y="507"/>
                </a:lnTo>
                <a:lnTo>
                  <a:pt x="983" y="504"/>
                </a:lnTo>
                <a:lnTo>
                  <a:pt x="964" y="501"/>
                </a:lnTo>
                <a:lnTo>
                  <a:pt x="944" y="500"/>
                </a:lnTo>
                <a:lnTo>
                  <a:pt x="924" y="499"/>
                </a:lnTo>
                <a:lnTo>
                  <a:pt x="924" y="4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7372310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US"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18792262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US"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US"/>
              <a:t>© Amadeus IT Group and its affiliates and subsidiaries</a:t>
            </a:r>
            <a:endParaRPr lang="en-US" dirty="0"/>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US" noProof="0" dirty="0"/>
            </a:br>
            <a:br>
              <a:rPr lang="en-US" noProof="0" dirty="0"/>
            </a:br>
            <a:br>
              <a:rPr lang="en-US" noProof="0" dirty="0"/>
            </a:br>
            <a:br>
              <a:rPr lang="en-US" noProof="0" dirty="0"/>
            </a:br>
            <a:r>
              <a:rPr lang="en-US" noProof="0" dirty="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031004745"/>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_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dirty="0"/>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US"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US" noProof="0" dirty="0"/>
              <a:t>Insert Author, </a:t>
            </a:r>
            <a:br>
              <a:rPr lang="en-US" noProof="0" dirty="0"/>
            </a:br>
            <a:r>
              <a:rPr lang="en-US" noProof="0" dirty="0"/>
              <a:t>department, </a:t>
            </a:r>
            <a:br>
              <a:rPr lang="en-US" noProof="0" dirty="0"/>
            </a:br>
            <a:r>
              <a:rPr lang="en-US"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961991222"/>
      </p:ext>
    </p:extLst>
  </p:cSld>
  <p:clrMapOvr>
    <a:masterClrMapping/>
  </p:clrMapOvr>
  <p:extLst>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786580" y="1728879"/>
            <a:ext cx="5031219" cy="1349538"/>
          </a:xfrm>
          <a:prstGeom prst="rect">
            <a:avLst/>
          </a:prstGeom>
        </p:spPr>
        <p:txBody>
          <a:bodyPr>
            <a:normAutofit/>
          </a:bodyPr>
          <a:lstStyle>
            <a:lvl1pPr marL="0" indent="0">
              <a:lnSpc>
                <a:spcPts val="1425"/>
              </a:lnSpc>
              <a:buNone/>
              <a:defRPr sz="2400">
                <a:solidFill>
                  <a:schemeClr val="tx2"/>
                </a:solidFill>
                <a:latin typeface="Calibri "/>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6" name="Marcador de texto 2">
            <a:extLst>
              <a:ext uri="{FF2B5EF4-FFF2-40B4-BE49-F238E27FC236}">
                <a16:creationId xmlns:a16="http://schemas.microsoft.com/office/drawing/2014/main" id="{BF2544F8-35F4-428B-9C13-C03FD8901DBC}"/>
              </a:ext>
            </a:extLst>
          </p:cNvPr>
          <p:cNvSpPr>
            <a:spLocks noGrp="1"/>
          </p:cNvSpPr>
          <p:nvPr>
            <p:ph type="body" sz="quarter" idx="19" hasCustomPrompt="1"/>
          </p:nvPr>
        </p:nvSpPr>
        <p:spPr>
          <a:xfrm>
            <a:off x="6248401" y="1723559"/>
            <a:ext cx="5309420" cy="4828566"/>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8" name="Title 1">
            <a:extLst>
              <a:ext uri="{FF2B5EF4-FFF2-40B4-BE49-F238E27FC236}">
                <a16:creationId xmlns:a16="http://schemas.microsoft.com/office/drawing/2014/main" id="{FB8A2EA4-DA0D-469D-890D-C0833A96B32E}"/>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9" name="Text Placeholder 19">
            <a:extLst>
              <a:ext uri="{FF2B5EF4-FFF2-40B4-BE49-F238E27FC236}">
                <a16:creationId xmlns:a16="http://schemas.microsoft.com/office/drawing/2014/main" id="{9F14568C-4965-4019-A016-82E363693B98}"/>
              </a:ext>
            </a:extLst>
          </p:cNvPr>
          <p:cNvSpPr>
            <a:spLocks noGrp="1"/>
          </p:cNvSpPr>
          <p:nvPr>
            <p:ph type="body" sz="quarter" idx="20"/>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50281683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6" name="Freeform 31"/>
          <p:cNvSpPr>
            <a:spLocks/>
          </p:cNvSpPr>
          <p:nvPr userDrawn="1"/>
        </p:nvSpPr>
        <p:spPr bwMode="auto">
          <a:xfrm>
            <a:off x="50800" y="398463"/>
            <a:ext cx="16149638" cy="8343900"/>
          </a:xfrm>
          <a:custGeom>
            <a:avLst/>
            <a:gdLst>
              <a:gd name="T0" fmla="*/ 0 w 7630"/>
              <a:gd name="T1" fmla="*/ 2673350 h 3942"/>
              <a:gd name="T2" fmla="*/ 0 w 7630"/>
              <a:gd name="T3" fmla="*/ 8343900 h 3942"/>
              <a:gd name="T4" fmla="*/ 16150167 w 7630"/>
              <a:gd name="T5" fmla="*/ 8343900 h 3942"/>
              <a:gd name="T6" fmla="*/ 16150167 w 7630"/>
              <a:gd name="T7" fmla="*/ 0 h 39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 name="Título 1"/>
          <p:cNvSpPr>
            <a:spLocks noGrp="1"/>
          </p:cNvSpPr>
          <p:nvPr>
            <p:ph type="title"/>
          </p:nvPr>
        </p:nvSpPr>
        <p:spPr/>
        <p:txBody>
          <a:bodyPr/>
          <a:lstStyle/>
          <a:p>
            <a:r>
              <a:rPr lang="es-ES"/>
              <a:t>Clic para editar título</a:t>
            </a:r>
            <a:endParaRPr lang="es-ES_tradnl"/>
          </a:p>
        </p:txBody>
      </p:sp>
      <p:sp>
        <p:nvSpPr>
          <p:cNvPr id="10" name="Marcador de posición de imagen 34"/>
          <p:cNvSpPr>
            <a:spLocks noGrp="1"/>
          </p:cNvSpPr>
          <p:nvPr>
            <p:ph type="pic" sz="quarter" idx="16"/>
          </p:nvPr>
        </p:nvSpPr>
        <p:spPr>
          <a:xfrm>
            <a:off x="-11637" y="1283369"/>
            <a:ext cx="8332144" cy="7963280"/>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anchor="ctr">
            <a:noAutofit/>
          </a:bodyPr>
          <a:lstStyle>
            <a:lvl1pPr marL="0" indent="0" algn="ctr">
              <a:buNone/>
              <a:defRPr baseline="0"/>
            </a:lvl1pPr>
          </a:lstStyle>
          <a:p>
            <a:pPr lvl="0"/>
            <a:r>
              <a:rPr lang="es-ES" noProof="0" dirty="0"/>
              <a:t>Arrastre la imagen al marcador de posición o haga clic en el icono para agregar</a:t>
            </a:r>
            <a:endParaRPr lang="en-GB" noProof="0" dirty="0"/>
          </a:p>
        </p:txBody>
      </p:sp>
      <p:sp>
        <p:nvSpPr>
          <p:cNvPr id="29" name="Marcador de pie de página 2"/>
          <p:cNvSpPr>
            <a:spLocks noGrp="1"/>
          </p:cNvSpPr>
          <p:nvPr>
            <p:ph type="ftr" sz="quarter" idx="17"/>
          </p:nvPr>
        </p:nvSpPr>
        <p:spPr/>
        <p:txBody>
          <a:bodyPr/>
          <a:lstStyle>
            <a:lvl1pPr>
              <a:defRPr/>
            </a:lvl1pPr>
          </a:lstStyle>
          <a:p>
            <a:r>
              <a:rPr lang="en-US" altLang="es-ES_tradnl" dirty="0"/>
              <a:t>© Amadeus IT Group and its affiliates and subsidiaries</a:t>
            </a:r>
            <a:endParaRPr lang="en-GB" altLang="es-ES_tradnl" dirty="0"/>
          </a:p>
        </p:txBody>
      </p:sp>
      <p:sp>
        <p:nvSpPr>
          <p:cNvPr id="30" name="Marcador de número de diapositiva 3"/>
          <p:cNvSpPr>
            <a:spLocks noGrp="1"/>
          </p:cNvSpPr>
          <p:nvPr>
            <p:ph type="sldNum" sz="quarter" idx="18"/>
          </p:nvPr>
        </p:nvSpPr>
        <p:spPr/>
        <p:txBody>
          <a:bodyPr/>
          <a:lstStyle>
            <a:lvl1pPr>
              <a:defRPr/>
            </a:lvl1pPr>
          </a:lstStyle>
          <a:p>
            <a:fld id="{84F5D1D5-3100-7149-88C9-E9D7C0B56157}" type="slidenum">
              <a:rPr lang="es-ES" altLang="es-ES_tradnl"/>
              <a:pPr/>
              <a:t>‹#›</a:t>
            </a:fld>
            <a:endParaRPr lang="es-ES" altLang="es-ES_tradnl" dirty="0"/>
          </a:p>
        </p:txBody>
      </p:sp>
    </p:spTree>
    <p:extLst>
      <p:ext uri="{BB962C8B-B14F-4D97-AF65-F5344CB8AC3E}">
        <p14:creationId xmlns:p14="http://schemas.microsoft.com/office/powerpoint/2010/main" val="4245065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Thank you slide ll">
    <p:bg>
      <p:bgPr>
        <a:solidFill>
          <a:schemeClr val="tx2"/>
        </a:solidFill>
        <a:effectLst/>
      </p:bgPr>
    </p:bg>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a:gsLst>
              <a:gs pos="0">
                <a:schemeClr val="accent1"/>
              </a:gs>
              <a:gs pos="100000">
                <a:schemeClr val="accent2"/>
              </a:gs>
            </a:gsLst>
            <a:lin ang="5400000" scaled="1"/>
          </a:gradFill>
          <a:ln>
            <a:noFill/>
          </a:ln>
        </p:spPr>
        <p:txBody>
          <a:bodyPr vert="horz" wrap="square" lIns="189000" tIns="378000" rIns="108000" bIns="34290" numCol="1" anchor="ctr" anchorCtr="0" compatLnSpc="1">
            <a:prstTxWarp prst="textNoShape">
              <a:avLst/>
            </a:prstTxWarp>
          </a:bodyPr>
          <a:lstStyle/>
          <a:p>
            <a:pPr lvl="0" algn="ctr">
              <a:lnSpc>
                <a:spcPts val="3075"/>
              </a:lnSpc>
            </a:pPr>
            <a:endParaRPr lang="es-ES" sz="3300" dirty="0">
              <a:solidFill>
                <a:schemeClr val="bg1"/>
              </a:solidFill>
              <a:latin typeface="+mj-lt"/>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dirty="0"/>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dirty="0"/>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20" name="Freeform 5"/>
          <p:cNvSpPr>
            <a:spLocks/>
          </p:cNvSpPr>
          <p:nvPr userDrawn="1"/>
        </p:nvSpPr>
        <p:spPr bwMode="auto">
          <a:xfrm>
            <a:off x="5253976" y="6402668"/>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22" name="Freeform 6"/>
          <p:cNvSpPr>
            <a:spLocks/>
          </p:cNvSpPr>
          <p:nvPr userDrawn="1"/>
        </p:nvSpPr>
        <p:spPr bwMode="auto">
          <a:xfrm>
            <a:off x="4359486" y="6402668"/>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7"/>
          <p:cNvSpPr>
            <a:spLocks noEditPoints="1"/>
          </p:cNvSpPr>
          <p:nvPr userDrawn="1"/>
        </p:nvSpPr>
        <p:spPr bwMode="auto">
          <a:xfrm>
            <a:off x="4657120" y="6402668"/>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0"/>
          <p:cNvSpPr>
            <a:spLocks noEditPoints="1"/>
          </p:cNvSpPr>
          <p:nvPr userDrawn="1"/>
        </p:nvSpPr>
        <p:spPr bwMode="auto">
          <a:xfrm>
            <a:off x="4956341" y="6402668"/>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11"/>
          <p:cNvSpPr>
            <a:spLocks noEditPoints="1"/>
          </p:cNvSpPr>
          <p:nvPr userDrawn="1"/>
        </p:nvSpPr>
        <p:spPr bwMode="auto">
          <a:xfrm>
            <a:off x="4060265" y="6402668"/>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8">
            <a:extLst>
              <a:ext uri="{FF2B5EF4-FFF2-40B4-BE49-F238E27FC236}">
                <a16:creationId xmlns:a16="http://schemas.microsoft.com/office/drawing/2014/main" id="{F562F1E4-A996-4422-A711-28F8ED7E4F0D}"/>
              </a:ext>
            </a:extLst>
          </p:cNvPr>
          <p:cNvSpPr>
            <a:spLocks noEditPoints="1"/>
          </p:cNvSpPr>
          <p:nvPr userDrawn="1"/>
        </p:nvSpPr>
        <p:spPr bwMode="auto">
          <a:xfrm>
            <a:off x="3762631" y="6402668"/>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71923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2_Cover with photo background 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126345"/>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 Amadeus IT Group and its affiliates and subsidiarie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F037572-DACB-48B5-9502-C81E6B18910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0358045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Text + picture 5">
    <p:spTree>
      <p:nvGrpSpPr>
        <p:cNvPr id="1" name=""/>
        <p:cNvGrpSpPr/>
        <p:nvPr/>
      </p:nvGrpSpPr>
      <p:grpSpPr>
        <a:xfrm>
          <a:off x="0" y="0"/>
          <a:ext cx="0" cy="0"/>
          <a:chOff x="0" y="0"/>
          <a:chExt cx="0" cy="0"/>
        </a:xfrm>
      </p:grpSpPr>
      <p:sp>
        <p:nvSpPr>
          <p:cNvPr id="6" name="Rectángulo 12">
            <a:extLst>
              <a:ext uri="{FF2B5EF4-FFF2-40B4-BE49-F238E27FC236}">
                <a16:creationId xmlns:a16="http://schemas.microsoft.com/office/drawing/2014/main" id="{FFBD63C9-BAEE-4940-AC71-F5CE6C47B3A2}"/>
              </a:ext>
            </a:extLst>
          </p:cNvPr>
          <p:cNvSpPr/>
          <p:nvPr userDrawn="1"/>
        </p:nvSpPr>
        <p:spPr>
          <a:xfrm>
            <a:off x="407989" y="418147"/>
            <a:ext cx="11112500" cy="58905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8" name="Marcador de posición de imagen 567">
            <a:extLst>
              <a:ext uri="{FF2B5EF4-FFF2-40B4-BE49-F238E27FC236}">
                <a16:creationId xmlns:a16="http://schemas.microsoft.com/office/drawing/2014/main" id="{2BEE022A-CA7F-314B-880E-25BB49258313}"/>
              </a:ext>
            </a:extLst>
          </p:cNvPr>
          <p:cNvSpPr>
            <a:spLocks noGrp="1"/>
          </p:cNvSpPr>
          <p:nvPr>
            <p:ph type="pic" sz="quarter" idx="10" hasCustomPrompt="1"/>
          </p:nvPr>
        </p:nvSpPr>
        <p:spPr>
          <a:xfrm>
            <a:off x="7056935" y="831901"/>
            <a:ext cx="5417142" cy="4868321"/>
          </a:xfrm>
          <a:custGeom>
            <a:avLst/>
            <a:gdLst>
              <a:gd name="connsiteX0" fmla="*/ 5406383 w 7631184"/>
              <a:gd name="connsiteY0" fmla="*/ 6613821 h 6858054"/>
              <a:gd name="connsiteX1" fmla="*/ 5406383 w 7631184"/>
              <a:gd name="connsiteY1" fmla="*/ 6613822 h 6858054"/>
              <a:gd name="connsiteX2" fmla="*/ 5416151 w 7631184"/>
              <a:gd name="connsiteY2" fmla="*/ 6623591 h 6858054"/>
              <a:gd name="connsiteX3" fmla="*/ 5406383 w 7631184"/>
              <a:gd name="connsiteY3" fmla="*/ 6613822 h 6858054"/>
              <a:gd name="connsiteX4" fmla="*/ 5469879 w 7631184"/>
              <a:gd name="connsiteY4" fmla="*/ 6413551 h 6858054"/>
              <a:gd name="connsiteX5" fmla="*/ 5474763 w 7631184"/>
              <a:gd name="connsiteY5" fmla="*/ 6418435 h 6858054"/>
              <a:gd name="connsiteX6" fmla="*/ 5474763 w 7631184"/>
              <a:gd name="connsiteY6" fmla="*/ 6428205 h 6858054"/>
              <a:gd name="connsiteX7" fmla="*/ 5469879 w 7631184"/>
              <a:gd name="connsiteY7" fmla="*/ 6413551 h 6858054"/>
              <a:gd name="connsiteX8" fmla="*/ 5180322 w 7631184"/>
              <a:gd name="connsiteY8" fmla="*/ 6051994 h 6858054"/>
              <a:gd name="connsiteX9" fmla="*/ 5180484 w 7631184"/>
              <a:gd name="connsiteY9" fmla="*/ 6052086 h 6858054"/>
              <a:gd name="connsiteX10" fmla="*/ 5181705 w 7631184"/>
              <a:gd name="connsiteY10" fmla="*/ 6056971 h 6858054"/>
              <a:gd name="connsiteX11" fmla="*/ 5064481 w 7631184"/>
              <a:gd name="connsiteY11" fmla="*/ 5949509 h 6858054"/>
              <a:gd name="connsiteX12" fmla="*/ 5074250 w 7631184"/>
              <a:gd name="connsiteY12" fmla="*/ 5959278 h 6858054"/>
              <a:gd name="connsiteX13" fmla="*/ 5064481 w 7631184"/>
              <a:gd name="connsiteY13" fmla="*/ 5949509 h 6858054"/>
              <a:gd name="connsiteX14" fmla="*/ 4898415 w 7631184"/>
              <a:gd name="connsiteY14" fmla="*/ 5949509 h 6858054"/>
              <a:gd name="connsiteX15" fmla="*/ 4908184 w 7631184"/>
              <a:gd name="connsiteY15" fmla="*/ 5959278 h 6858054"/>
              <a:gd name="connsiteX16" fmla="*/ 4898415 w 7631184"/>
              <a:gd name="connsiteY16" fmla="*/ 5949509 h 6858054"/>
              <a:gd name="connsiteX17" fmla="*/ 4732349 w 7631184"/>
              <a:gd name="connsiteY17" fmla="*/ 5763892 h 6858054"/>
              <a:gd name="connsiteX18" fmla="*/ 4742117 w 7631184"/>
              <a:gd name="connsiteY18" fmla="*/ 5773661 h 6858054"/>
              <a:gd name="connsiteX19" fmla="*/ 4732349 w 7631184"/>
              <a:gd name="connsiteY19" fmla="*/ 5763892 h 6858054"/>
              <a:gd name="connsiteX20" fmla="*/ 4400216 w 7631184"/>
              <a:gd name="connsiteY20" fmla="*/ 5373119 h 6858054"/>
              <a:gd name="connsiteX21" fmla="*/ 4409985 w 7631184"/>
              <a:gd name="connsiteY21" fmla="*/ 5382889 h 6858054"/>
              <a:gd name="connsiteX22" fmla="*/ 4400216 w 7631184"/>
              <a:gd name="connsiteY22" fmla="*/ 5373119 h 6858054"/>
              <a:gd name="connsiteX23" fmla="*/ 5171936 w 7631184"/>
              <a:gd name="connsiteY23" fmla="*/ 5187503 h 6858054"/>
              <a:gd name="connsiteX24" fmla="*/ 5174378 w 7631184"/>
              <a:gd name="connsiteY24" fmla="*/ 5189945 h 6858054"/>
              <a:gd name="connsiteX25" fmla="*/ 5171936 w 7631184"/>
              <a:gd name="connsiteY25" fmla="*/ 5187503 h 6858054"/>
              <a:gd name="connsiteX26" fmla="*/ 4841973 w 7631184"/>
              <a:gd name="connsiteY26" fmla="*/ 4528617 h 6858054"/>
              <a:gd name="connsiteX27" fmla="*/ 4843467 w 7631184"/>
              <a:gd name="connsiteY27" fmla="*/ 4529296 h 6858054"/>
              <a:gd name="connsiteX28" fmla="*/ 4843574 w 7631184"/>
              <a:gd name="connsiteY28" fmla="*/ 4529531 h 6858054"/>
              <a:gd name="connsiteX29" fmla="*/ 4810498 w 7631184"/>
              <a:gd name="connsiteY29" fmla="*/ 4493882 h 6858054"/>
              <a:gd name="connsiteX30" fmla="*/ 4839803 w 7631184"/>
              <a:gd name="connsiteY30" fmla="*/ 4523190 h 6858054"/>
              <a:gd name="connsiteX31" fmla="*/ 4841024 w 7631184"/>
              <a:gd name="connsiteY31" fmla="*/ 4528074 h 6858054"/>
              <a:gd name="connsiteX32" fmla="*/ 4841973 w 7631184"/>
              <a:gd name="connsiteY32" fmla="*/ 4528617 h 6858054"/>
              <a:gd name="connsiteX33" fmla="*/ 4830035 w 7631184"/>
              <a:gd name="connsiteY33" fmla="*/ 4523190 h 6858054"/>
              <a:gd name="connsiteX34" fmla="*/ 4810498 w 7631184"/>
              <a:gd name="connsiteY34" fmla="*/ 4493882 h 6858054"/>
              <a:gd name="connsiteX35" fmla="*/ 7008435 w 7631184"/>
              <a:gd name="connsiteY35" fmla="*/ 4405958 h 6858054"/>
              <a:gd name="connsiteX36" fmla="*/ 7018204 w 7631184"/>
              <a:gd name="connsiteY36" fmla="*/ 4425497 h 6858054"/>
              <a:gd name="connsiteX37" fmla="*/ 7008435 w 7631184"/>
              <a:gd name="connsiteY37" fmla="*/ 4415727 h 6858054"/>
              <a:gd name="connsiteX38" fmla="*/ 7008435 w 7631184"/>
              <a:gd name="connsiteY38" fmla="*/ 4405958 h 6858054"/>
              <a:gd name="connsiteX39" fmla="*/ 6441856 w 7631184"/>
              <a:gd name="connsiteY39" fmla="*/ 4210572 h 6858054"/>
              <a:gd name="connsiteX40" fmla="*/ 6441856 w 7631184"/>
              <a:gd name="connsiteY40" fmla="*/ 4210572 h 6858054"/>
              <a:gd name="connsiteX41" fmla="*/ 6443077 w 7631184"/>
              <a:gd name="connsiteY41" fmla="*/ 4211793 h 6858054"/>
              <a:gd name="connsiteX42" fmla="*/ 6285558 w 7631184"/>
              <a:gd name="connsiteY42" fmla="*/ 4161725 h 6858054"/>
              <a:gd name="connsiteX43" fmla="*/ 6295327 w 7631184"/>
              <a:gd name="connsiteY43" fmla="*/ 4171495 h 6858054"/>
              <a:gd name="connsiteX44" fmla="*/ 6285558 w 7631184"/>
              <a:gd name="connsiteY44" fmla="*/ 4171495 h 6858054"/>
              <a:gd name="connsiteX45" fmla="*/ 6285558 w 7631184"/>
              <a:gd name="connsiteY45" fmla="*/ 4161725 h 6858054"/>
              <a:gd name="connsiteX46" fmla="*/ 6511213 w 7631184"/>
              <a:gd name="connsiteY46" fmla="*/ 4151956 h 6858054"/>
              <a:gd name="connsiteX47" fmla="*/ 6518784 w 7631184"/>
              <a:gd name="connsiteY47" fmla="*/ 4151956 h 6858054"/>
              <a:gd name="connsiteX48" fmla="*/ 6520005 w 7631184"/>
              <a:gd name="connsiteY48" fmla="*/ 4151956 h 6858054"/>
              <a:gd name="connsiteX49" fmla="*/ 6513899 w 7631184"/>
              <a:gd name="connsiteY49" fmla="*/ 4154398 h 6858054"/>
              <a:gd name="connsiteX50" fmla="*/ 6226946 w 7631184"/>
              <a:gd name="connsiteY50" fmla="*/ 4151956 h 6858054"/>
              <a:gd name="connsiteX51" fmla="*/ 6236715 w 7631184"/>
              <a:gd name="connsiteY51" fmla="*/ 4161725 h 6858054"/>
              <a:gd name="connsiteX52" fmla="*/ 6226946 w 7631184"/>
              <a:gd name="connsiteY52" fmla="*/ 4161725 h 6858054"/>
              <a:gd name="connsiteX53" fmla="*/ 6226946 w 7631184"/>
              <a:gd name="connsiteY53" fmla="*/ 4151956 h 6858054"/>
              <a:gd name="connsiteX54" fmla="*/ 6510236 w 7631184"/>
              <a:gd name="connsiteY54" fmla="*/ 4151068 h 6858054"/>
              <a:gd name="connsiteX55" fmla="*/ 6511213 w 7631184"/>
              <a:gd name="connsiteY55" fmla="*/ 4151956 h 6858054"/>
              <a:gd name="connsiteX56" fmla="*/ 6510236 w 7631184"/>
              <a:gd name="connsiteY56" fmla="*/ 4151956 h 6858054"/>
              <a:gd name="connsiteX57" fmla="*/ 6207409 w 7631184"/>
              <a:gd name="connsiteY57" fmla="*/ 4122648 h 6858054"/>
              <a:gd name="connsiteX58" fmla="*/ 6256252 w 7631184"/>
              <a:gd name="connsiteY58" fmla="*/ 4142187 h 6858054"/>
              <a:gd name="connsiteX59" fmla="*/ 6285558 w 7631184"/>
              <a:gd name="connsiteY59" fmla="*/ 4171495 h 6858054"/>
              <a:gd name="connsiteX60" fmla="*/ 6295327 w 7631184"/>
              <a:gd name="connsiteY60" fmla="*/ 4181264 h 6858054"/>
              <a:gd name="connsiteX61" fmla="*/ 6305095 w 7631184"/>
              <a:gd name="connsiteY61" fmla="*/ 4191033 h 6858054"/>
              <a:gd name="connsiteX62" fmla="*/ 6314864 w 7631184"/>
              <a:gd name="connsiteY62" fmla="*/ 4191033 h 6858054"/>
              <a:gd name="connsiteX63" fmla="*/ 6324632 w 7631184"/>
              <a:gd name="connsiteY63" fmla="*/ 4200803 h 6858054"/>
              <a:gd name="connsiteX64" fmla="*/ 6334401 w 7631184"/>
              <a:gd name="connsiteY64" fmla="*/ 4200803 h 6858054"/>
              <a:gd name="connsiteX65" fmla="*/ 6344170 w 7631184"/>
              <a:gd name="connsiteY65" fmla="*/ 4220341 h 6858054"/>
              <a:gd name="connsiteX66" fmla="*/ 6353938 w 7631184"/>
              <a:gd name="connsiteY66" fmla="*/ 4239880 h 6858054"/>
              <a:gd name="connsiteX67" fmla="*/ 6334401 w 7631184"/>
              <a:gd name="connsiteY67" fmla="*/ 4230110 h 6858054"/>
              <a:gd name="connsiteX68" fmla="*/ 6324632 w 7631184"/>
              <a:gd name="connsiteY68" fmla="*/ 4220341 h 6858054"/>
              <a:gd name="connsiteX69" fmla="*/ 6314864 w 7631184"/>
              <a:gd name="connsiteY69" fmla="*/ 4210572 h 6858054"/>
              <a:gd name="connsiteX70" fmla="*/ 6295327 w 7631184"/>
              <a:gd name="connsiteY70" fmla="*/ 4200803 h 6858054"/>
              <a:gd name="connsiteX71" fmla="*/ 6305095 w 7631184"/>
              <a:gd name="connsiteY71" fmla="*/ 4210572 h 6858054"/>
              <a:gd name="connsiteX72" fmla="*/ 6295327 w 7631184"/>
              <a:gd name="connsiteY72" fmla="*/ 4210572 h 6858054"/>
              <a:gd name="connsiteX73" fmla="*/ 6285558 w 7631184"/>
              <a:gd name="connsiteY73" fmla="*/ 4200803 h 6858054"/>
              <a:gd name="connsiteX74" fmla="*/ 6285558 w 7631184"/>
              <a:gd name="connsiteY74" fmla="*/ 4191033 h 6858054"/>
              <a:gd name="connsiteX75" fmla="*/ 6256252 w 7631184"/>
              <a:gd name="connsiteY75" fmla="*/ 4171495 h 6858054"/>
              <a:gd name="connsiteX76" fmla="*/ 6246483 w 7631184"/>
              <a:gd name="connsiteY76" fmla="*/ 4161725 h 6858054"/>
              <a:gd name="connsiteX77" fmla="*/ 6246483 w 7631184"/>
              <a:gd name="connsiteY77" fmla="*/ 4151956 h 6858054"/>
              <a:gd name="connsiteX78" fmla="*/ 6207409 w 7631184"/>
              <a:gd name="connsiteY78" fmla="*/ 4122648 h 6858054"/>
              <a:gd name="connsiteX79" fmla="*/ 5953425 w 7631184"/>
              <a:gd name="connsiteY79" fmla="*/ 4122648 h 6858054"/>
              <a:gd name="connsiteX80" fmla="*/ 5963194 w 7631184"/>
              <a:gd name="connsiteY80" fmla="*/ 4122648 h 6858054"/>
              <a:gd name="connsiteX81" fmla="*/ 5963194 w 7631184"/>
              <a:gd name="connsiteY81" fmla="*/ 4132417 h 6858054"/>
              <a:gd name="connsiteX82" fmla="*/ 5953425 w 7631184"/>
              <a:gd name="connsiteY82" fmla="*/ 4122648 h 6858054"/>
              <a:gd name="connsiteX83" fmla="*/ 3159602 w 7631184"/>
              <a:gd name="connsiteY83" fmla="*/ 4122648 h 6858054"/>
              <a:gd name="connsiteX84" fmla="*/ 3169371 w 7631184"/>
              <a:gd name="connsiteY84" fmla="*/ 4122648 h 6858054"/>
              <a:gd name="connsiteX85" fmla="*/ 3179139 w 7631184"/>
              <a:gd name="connsiteY85" fmla="*/ 4132417 h 6858054"/>
              <a:gd name="connsiteX86" fmla="*/ 3188908 w 7631184"/>
              <a:gd name="connsiteY86" fmla="*/ 4151956 h 6858054"/>
              <a:gd name="connsiteX87" fmla="*/ 3257288 w 7631184"/>
              <a:gd name="connsiteY87" fmla="*/ 4239880 h 6858054"/>
              <a:gd name="connsiteX88" fmla="*/ 3179139 w 7631184"/>
              <a:gd name="connsiteY88" fmla="*/ 4151956 h 6858054"/>
              <a:gd name="connsiteX89" fmla="*/ 3169371 w 7631184"/>
              <a:gd name="connsiteY89" fmla="*/ 4142187 h 6858054"/>
              <a:gd name="connsiteX90" fmla="*/ 3159602 w 7631184"/>
              <a:gd name="connsiteY90" fmla="*/ 4122648 h 6858054"/>
              <a:gd name="connsiteX91" fmla="*/ 6573122 w 7631184"/>
              <a:gd name="connsiteY91" fmla="*/ 4081281 h 6858054"/>
              <a:gd name="connsiteX92" fmla="*/ 6578616 w 7631184"/>
              <a:gd name="connsiteY92" fmla="*/ 4083571 h 6858054"/>
              <a:gd name="connsiteX93" fmla="*/ 6573732 w 7631184"/>
              <a:gd name="connsiteY93" fmla="*/ 4082350 h 6858054"/>
              <a:gd name="connsiteX94" fmla="*/ 4888646 w 7631184"/>
              <a:gd name="connsiteY94" fmla="*/ 4044494 h 6858054"/>
              <a:gd name="connsiteX95" fmla="*/ 4908184 w 7631184"/>
              <a:gd name="connsiteY95" fmla="*/ 4064032 h 6858054"/>
              <a:gd name="connsiteX96" fmla="*/ 4917952 w 7631184"/>
              <a:gd name="connsiteY96" fmla="*/ 4083571 h 6858054"/>
              <a:gd name="connsiteX97" fmla="*/ 4937490 w 7631184"/>
              <a:gd name="connsiteY97" fmla="*/ 4103109 h 6858054"/>
              <a:gd name="connsiteX98" fmla="*/ 4957027 w 7631184"/>
              <a:gd name="connsiteY98" fmla="*/ 4132417 h 6858054"/>
              <a:gd name="connsiteX99" fmla="*/ 4986333 w 7631184"/>
              <a:gd name="connsiteY99" fmla="*/ 4171495 h 6858054"/>
              <a:gd name="connsiteX100" fmla="*/ 5005870 w 7631184"/>
              <a:gd name="connsiteY100" fmla="*/ 4210572 h 6858054"/>
              <a:gd name="connsiteX101" fmla="*/ 5025407 w 7631184"/>
              <a:gd name="connsiteY101" fmla="*/ 4239880 h 6858054"/>
              <a:gd name="connsiteX102" fmla="*/ 5035176 w 7631184"/>
              <a:gd name="connsiteY102" fmla="*/ 4249649 h 6858054"/>
              <a:gd name="connsiteX103" fmla="*/ 5054713 w 7631184"/>
              <a:gd name="connsiteY103" fmla="*/ 4278957 h 6858054"/>
              <a:gd name="connsiteX104" fmla="*/ 5162168 w 7631184"/>
              <a:gd name="connsiteY104" fmla="*/ 4445035 h 6858054"/>
              <a:gd name="connsiteX105" fmla="*/ 5181705 w 7631184"/>
              <a:gd name="connsiteY105" fmla="*/ 4474343 h 6858054"/>
              <a:gd name="connsiteX106" fmla="*/ 5201242 w 7631184"/>
              <a:gd name="connsiteY106" fmla="*/ 4493882 h 6858054"/>
              <a:gd name="connsiteX107" fmla="*/ 5211011 w 7631184"/>
              <a:gd name="connsiteY107" fmla="*/ 4523190 h 6858054"/>
              <a:gd name="connsiteX108" fmla="*/ 5230548 w 7631184"/>
              <a:gd name="connsiteY108" fmla="*/ 4542728 h 6858054"/>
              <a:gd name="connsiteX109" fmla="*/ 5230548 w 7631184"/>
              <a:gd name="connsiteY109" fmla="*/ 4552498 h 6858054"/>
              <a:gd name="connsiteX110" fmla="*/ 5201242 w 7631184"/>
              <a:gd name="connsiteY110" fmla="*/ 4523190 h 6858054"/>
              <a:gd name="connsiteX111" fmla="*/ 5191473 w 7631184"/>
              <a:gd name="connsiteY111" fmla="*/ 4493882 h 6858054"/>
              <a:gd name="connsiteX112" fmla="*/ 5181705 w 7631184"/>
              <a:gd name="connsiteY112" fmla="*/ 4484112 h 6858054"/>
              <a:gd name="connsiteX113" fmla="*/ 5171936 w 7631184"/>
              <a:gd name="connsiteY113" fmla="*/ 4474343 h 6858054"/>
              <a:gd name="connsiteX114" fmla="*/ 5132862 w 7631184"/>
              <a:gd name="connsiteY114" fmla="*/ 4415727 h 6858054"/>
              <a:gd name="connsiteX115" fmla="*/ 5123093 w 7631184"/>
              <a:gd name="connsiteY115" fmla="*/ 4405958 h 6858054"/>
              <a:gd name="connsiteX116" fmla="*/ 5084019 w 7631184"/>
              <a:gd name="connsiteY116" fmla="*/ 4337573 h 6858054"/>
              <a:gd name="connsiteX117" fmla="*/ 5064481 w 7631184"/>
              <a:gd name="connsiteY117" fmla="*/ 4308265 h 6858054"/>
              <a:gd name="connsiteX118" fmla="*/ 5054713 w 7631184"/>
              <a:gd name="connsiteY118" fmla="*/ 4288726 h 6858054"/>
              <a:gd name="connsiteX119" fmla="*/ 4996101 w 7631184"/>
              <a:gd name="connsiteY119" fmla="*/ 4210572 h 6858054"/>
              <a:gd name="connsiteX120" fmla="*/ 4986333 w 7631184"/>
              <a:gd name="connsiteY120" fmla="*/ 4191033 h 6858054"/>
              <a:gd name="connsiteX121" fmla="*/ 4976564 w 7631184"/>
              <a:gd name="connsiteY121" fmla="*/ 4181264 h 6858054"/>
              <a:gd name="connsiteX122" fmla="*/ 4966795 w 7631184"/>
              <a:gd name="connsiteY122" fmla="*/ 4171495 h 6858054"/>
              <a:gd name="connsiteX123" fmla="*/ 4957027 w 7631184"/>
              <a:gd name="connsiteY123" fmla="*/ 4151956 h 6858054"/>
              <a:gd name="connsiteX124" fmla="*/ 4917952 w 7631184"/>
              <a:gd name="connsiteY124" fmla="*/ 4093340 h 6858054"/>
              <a:gd name="connsiteX125" fmla="*/ 4898415 w 7631184"/>
              <a:gd name="connsiteY125" fmla="*/ 4073801 h 6858054"/>
              <a:gd name="connsiteX126" fmla="*/ 4888646 w 7631184"/>
              <a:gd name="connsiteY126" fmla="*/ 4044494 h 6858054"/>
              <a:gd name="connsiteX127" fmla="*/ 7115890 w 7631184"/>
              <a:gd name="connsiteY127" fmla="*/ 4034724 h 6858054"/>
              <a:gd name="connsiteX128" fmla="*/ 7125658 w 7631184"/>
              <a:gd name="connsiteY128" fmla="*/ 4044494 h 6858054"/>
              <a:gd name="connsiteX129" fmla="*/ 7125658 w 7631184"/>
              <a:gd name="connsiteY129" fmla="*/ 4054263 h 6858054"/>
              <a:gd name="connsiteX130" fmla="*/ 7115890 w 7631184"/>
              <a:gd name="connsiteY130" fmla="*/ 4034724 h 6858054"/>
              <a:gd name="connsiteX131" fmla="*/ 6852137 w 7631184"/>
              <a:gd name="connsiteY131" fmla="*/ 3995647 h 6858054"/>
              <a:gd name="connsiteX132" fmla="*/ 6881443 w 7631184"/>
              <a:gd name="connsiteY132" fmla="*/ 4015186 h 6858054"/>
              <a:gd name="connsiteX133" fmla="*/ 6891212 w 7631184"/>
              <a:gd name="connsiteY133" fmla="*/ 4024955 h 6858054"/>
              <a:gd name="connsiteX134" fmla="*/ 6891212 w 7631184"/>
              <a:gd name="connsiteY134" fmla="*/ 4034724 h 6858054"/>
              <a:gd name="connsiteX135" fmla="*/ 6881443 w 7631184"/>
              <a:gd name="connsiteY135" fmla="*/ 4034724 h 6858054"/>
              <a:gd name="connsiteX136" fmla="*/ 6861906 w 7631184"/>
              <a:gd name="connsiteY136" fmla="*/ 4015186 h 6858054"/>
              <a:gd name="connsiteX137" fmla="*/ 6852137 w 7631184"/>
              <a:gd name="connsiteY137" fmla="*/ 3995647 h 6858054"/>
              <a:gd name="connsiteX138" fmla="*/ 6764220 w 7631184"/>
              <a:gd name="connsiteY138" fmla="*/ 3985878 h 6858054"/>
              <a:gd name="connsiteX139" fmla="*/ 6773988 w 7631184"/>
              <a:gd name="connsiteY139" fmla="*/ 3985878 h 6858054"/>
              <a:gd name="connsiteX140" fmla="*/ 6783757 w 7631184"/>
              <a:gd name="connsiteY140" fmla="*/ 4005416 h 6858054"/>
              <a:gd name="connsiteX141" fmla="*/ 6783757 w 7631184"/>
              <a:gd name="connsiteY141" fmla="*/ 4015186 h 6858054"/>
              <a:gd name="connsiteX142" fmla="*/ 6773988 w 7631184"/>
              <a:gd name="connsiteY142" fmla="*/ 4005416 h 6858054"/>
              <a:gd name="connsiteX143" fmla="*/ 6764220 w 7631184"/>
              <a:gd name="connsiteY143" fmla="*/ 3985878 h 6858054"/>
              <a:gd name="connsiteX144" fmla="*/ 6832600 w 7631184"/>
              <a:gd name="connsiteY144" fmla="*/ 3976108 h 6858054"/>
              <a:gd name="connsiteX145" fmla="*/ 6842369 w 7631184"/>
              <a:gd name="connsiteY145" fmla="*/ 3976108 h 6858054"/>
              <a:gd name="connsiteX146" fmla="*/ 6852137 w 7631184"/>
              <a:gd name="connsiteY146" fmla="*/ 3985878 h 6858054"/>
              <a:gd name="connsiteX147" fmla="*/ 6852137 w 7631184"/>
              <a:gd name="connsiteY147" fmla="*/ 3995647 h 6858054"/>
              <a:gd name="connsiteX148" fmla="*/ 6832600 w 7631184"/>
              <a:gd name="connsiteY148" fmla="*/ 3976108 h 6858054"/>
              <a:gd name="connsiteX149" fmla="*/ 5621292 w 7631184"/>
              <a:gd name="connsiteY149" fmla="*/ 3956570 h 6858054"/>
              <a:gd name="connsiteX150" fmla="*/ 5631061 w 7631184"/>
              <a:gd name="connsiteY150" fmla="*/ 3956570 h 6858054"/>
              <a:gd name="connsiteX151" fmla="*/ 5640830 w 7631184"/>
              <a:gd name="connsiteY151" fmla="*/ 3966339 h 6858054"/>
              <a:gd name="connsiteX152" fmla="*/ 5621292 w 7631184"/>
              <a:gd name="connsiteY152" fmla="*/ 3956570 h 6858054"/>
              <a:gd name="connsiteX153" fmla="*/ 6914827 w 7631184"/>
              <a:gd name="connsiteY153" fmla="*/ 3944167 h 6858054"/>
              <a:gd name="connsiteX154" fmla="*/ 6920518 w 7631184"/>
              <a:gd name="connsiteY154" fmla="*/ 3946800 h 6858054"/>
              <a:gd name="connsiteX155" fmla="*/ 6915634 w 7631184"/>
              <a:gd name="connsiteY155" fmla="*/ 3945579 h 6858054"/>
              <a:gd name="connsiteX156" fmla="*/ 6881443 w 7631184"/>
              <a:gd name="connsiteY156" fmla="*/ 3907723 h 6858054"/>
              <a:gd name="connsiteX157" fmla="*/ 6891212 w 7631184"/>
              <a:gd name="connsiteY157" fmla="*/ 3917493 h 6858054"/>
              <a:gd name="connsiteX158" fmla="*/ 6910749 w 7631184"/>
              <a:gd name="connsiteY158" fmla="*/ 3937031 h 6858054"/>
              <a:gd name="connsiteX159" fmla="*/ 6914827 w 7631184"/>
              <a:gd name="connsiteY159" fmla="*/ 3944167 h 6858054"/>
              <a:gd name="connsiteX160" fmla="*/ 6910291 w 7631184"/>
              <a:gd name="connsiteY160" fmla="*/ 3942068 h 6858054"/>
              <a:gd name="connsiteX161" fmla="*/ 6881443 w 7631184"/>
              <a:gd name="connsiteY161" fmla="*/ 3907723 h 6858054"/>
              <a:gd name="connsiteX162" fmla="*/ 6422318 w 7631184"/>
              <a:gd name="connsiteY162" fmla="*/ 3862899 h 6858054"/>
              <a:gd name="connsiteX163" fmla="*/ 6432087 w 7631184"/>
              <a:gd name="connsiteY163" fmla="*/ 3868646 h 6858054"/>
              <a:gd name="connsiteX164" fmla="*/ 6422318 w 7631184"/>
              <a:gd name="connsiteY164" fmla="*/ 3868646 h 6858054"/>
              <a:gd name="connsiteX165" fmla="*/ 6422318 w 7631184"/>
              <a:gd name="connsiteY165" fmla="*/ 3863762 h 6858054"/>
              <a:gd name="connsiteX166" fmla="*/ 6920518 w 7631184"/>
              <a:gd name="connsiteY166" fmla="*/ 3858877 h 6858054"/>
              <a:gd name="connsiteX167" fmla="*/ 6940055 w 7631184"/>
              <a:gd name="connsiteY167" fmla="*/ 3868646 h 6858054"/>
              <a:gd name="connsiteX168" fmla="*/ 6930286 w 7631184"/>
              <a:gd name="connsiteY168" fmla="*/ 3868646 h 6858054"/>
              <a:gd name="connsiteX169" fmla="*/ 6940055 w 7631184"/>
              <a:gd name="connsiteY169" fmla="*/ 3878415 h 6858054"/>
              <a:gd name="connsiteX170" fmla="*/ 6949823 w 7631184"/>
              <a:gd name="connsiteY170" fmla="*/ 3888185 h 6858054"/>
              <a:gd name="connsiteX171" fmla="*/ 6940055 w 7631184"/>
              <a:gd name="connsiteY171" fmla="*/ 3888185 h 6858054"/>
              <a:gd name="connsiteX172" fmla="*/ 6930286 w 7631184"/>
              <a:gd name="connsiteY172" fmla="*/ 3878415 h 6858054"/>
              <a:gd name="connsiteX173" fmla="*/ 6920518 w 7631184"/>
              <a:gd name="connsiteY173" fmla="*/ 3868646 h 6858054"/>
              <a:gd name="connsiteX174" fmla="*/ 6920518 w 7631184"/>
              <a:gd name="connsiteY174" fmla="*/ 3858877 h 6858054"/>
              <a:gd name="connsiteX175" fmla="*/ 6373475 w 7631184"/>
              <a:gd name="connsiteY175" fmla="*/ 3855946 h 6858054"/>
              <a:gd name="connsiteX176" fmla="*/ 6375918 w 7631184"/>
              <a:gd name="connsiteY176" fmla="*/ 3857656 h 6858054"/>
              <a:gd name="connsiteX177" fmla="*/ 6373475 w 7631184"/>
              <a:gd name="connsiteY177" fmla="*/ 3858877 h 6858054"/>
              <a:gd name="connsiteX178" fmla="*/ 6910749 w 7631184"/>
              <a:gd name="connsiteY178" fmla="*/ 3849107 h 6858054"/>
              <a:gd name="connsiteX179" fmla="*/ 6920518 w 7631184"/>
              <a:gd name="connsiteY179" fmla="*/ 3858877 h 6858054"/>
              <a:gd name="connsiteX180" fmla="*/ 6910749 w 7631184"/>
              <a:gd name="connsiteY180" fmla="*/ 3849107 h 6858054"/>
              <a:gd name="connsiteX181" fmla="*/ 6903902 w 7631184"/>
              <a:gd name="connsiteY181" fmla="*/ 3844451 h 6858054"/>
              <a:gd name="connsiteX182" fmla="*/ 6910749 w 7631184"/>
              <a:gd name="connsiteY182" fmla="*/ 3849107 h 6858054"/>
              <a:gd name="connsiteX183" fmla="*/ 6905865 w 7631184"/>
              <a:gd name="connsiteY183" fmla="*/ 3847886 h 6858054"/>
              <a:gd name="connsiteX184" fmla="*/ 6861906 w 7631184"/>
              <a:gd name="connsiteY184" fmla="*/ 3839338 h 6858054"/>
              <a:gd name="connsiteX185" fmla="*/ 6871675 w 7631184"/>
              <a:gd name="connsiteY185" fmla="*/ 3849107 h 6858054"/>
              <a:gd name="connsiteX186" fmla="*/ 6891212 w 7631184"/>
              <a:gd name="connsiteY186" fmla="*/ 3868646 h 6858054"/>
              <a:gd name="connsiteX187" fmla="*/ 6900980 w 7631184"/>
              <a:gd name="connsiteY187" fmla="*/ 3878415 h 6858054"/>
              <a:gd name="connsiteX188" fmla="*/ 6900980 w 7631184"/>
              <a:gd name="connsiteY188" fmla="*/ 3888185 h 6858054"/>
              <a:gd name="connsiteX189" fmla="*/ 6891212 w 7631184"/>
              <a:gd name="connsiteY189" fmla="*/ 3878415 h 6858054"/>
              <a:gd name="connsiteX190" fmla="*/ 6871675 w 7631184"/>
              <a:gd name="connsiteY190" fmla="*/ 3858877 h 6858054"/>
              <a:gd name="connsiteX191" fmla="*/ 6861906 w 7631184"/>
              <a:gd name="connsiteY191" fmla="*/ 3839338 h 6858054"/>
              <a:gd name="connsiteX192" fmla="*/ 5220779 w 7631184"/>
              <a:gd name="connsiteY192" fmla="*/ 3810030 h 6858054"/>
              <a:gd name="connsiteX193" fmla="*/ 5259854 w 7631184"/>
              <a:gd name="connsiteY193" fmla="*/ 3829569 h 6858054"/>
              <a:gd name="connsiteX194" fmla="*/ 5269622 w 7631184"/>
              <a:gd name="connsiteY194" fmla="*/ 3839338 h 6858054"/>
              <a:gd name="connsiteX195" fmla="*/ 5289160 w 7631184"/>
              <a:gd name="connsiteY195" fmla="*/ 3849107 h 6858054"/>
              <a:gd name="connsiteX196" fmla="*/ 5308697 w 7631184"/>
              <a:gd name="connsiteY196" fmla="*/ 3868646 h 6858054"/>
              <a:gd name="connsiteX197" fmla="*/ 5357540 w 7631184"/>
              <a:gd name="connsiteY197" fmla="*/ 3897954 h 6858054"/>
              <a:gd name="connsiteX198" fmla="*/ 5367308 w 7631184"/>
              <a:gd name="connsiteY198" fmla="*/ 3897954 h 6858054"/>
              <a:gd name="connsiteX199" fmla="*/ 5396614 w 7631184"/>
              <a:gd name="connsiteY199" fmla="*/ 3927262 h 6858054"/>
              <a:gd name="connsiteX200" fmla="*/ 5396614 w 7631184"/>
              <a:gd name="connsiteY200" fmla="*/ 3937031 h 6858054"/>
              <a:gd name="connsiteX201" fmla="*/ 5377077 w 7631184"/>
              <a:gd name="connsiteY201" fmla="*/ 3917493 h 6858054"/>
              <a:gd name="connsiteX202" fmla="*/ 5328234 w 7631184"/>
              <a:gd name="connsiteY202" fmla="*/ 3888185 h 6858054"/>
              <a:gd name="connsiteX203" fmla="*/ 5298928 w 7631184"/>
              <a:gd name="connsiteY203" fmla="*/ 3868646 h 6858054"/>
              <a:gd name="connsiteX204" fmla="*/ 5269622 w 7631184"/>
              <a:gd name="connsiteY204" fmla="*/ 3849107 h 6858054"/>
              <a:gd name="connsiteX205" fmla="*/ 5250085 w 7631184"/>
              <a:gd name="connsiteY205" fmla="*/ 3829569 h 6858054"/>
              <a:gd name="connsiteX206" fmla="*/ 5230548 w 7631184"/>
              <a:gd name="connsiteY206" fmla="*/ 3819799 h 6858054"/>
              <a:gd name="connsiteX207" fmla="*/ 5220779 w 7631184"/>
              <a:gd name="connsiteY207" fmla="*/ 3810030 h 6858054"/>
              <a:gd name="connsiteX208" fmla="*/ 6207409 w 7631184"/>
              <a:gd name="connsiteY208" fmla="*/ 3790492 h 6858054"/>
              <a:gd name="connsiteX209" fmla="*/ 6226946 w 7631184"/>
              <a:gd name="connsiteY209" fmla="*/ 3800261 h 6858054"/>
              <a:gd name="connsiteX210" fmla="*/ 6233052 w 7631184"/>
              <a:gd name="connsiteY210" fmla="*/ 3805146 h 6858054"/>
              <a:gd name="connsiteX211" fmla="*/ 6236715 w 7631184"/>
              <a:gd name="connsiteY211" fmla="*/ 3806478 h 6858054"/>
              <a:gd name="connsiteX212" fmla="*/ 6246483 w 7631184"/>
              <a:gd name="connsiteY212" fmla="*/ 3810030 h 6858054"/>
              <a:gd name="connsiteX213" fmla="*/ 6285558 w 7631184"/>
              <a:gd name="connsiteY213" fmla="*/ 3839338 h 6858054"/>
              <a:gd name="connsiteX214" fmla="*/ 6305095 w 7631184"/>
              <a:gd name="connsiteY214" fmla="*/ 3858877 h 6858054"/>
              <a:gd name="connsiteX215" fmla="*/ 6324632 w 7631184"/>
              <a:gd name="connsiteY215" fmla="*/ 3868646 h 6858054"/>
              <a:gd name="connsiteX216" fmla="*/ 6344170 w 7631184"/>
              <a:gd name="connsiteY216" fmla="*/ 3888185 h 6858054"/>
              <a:gd name="connsiteX217" fmla="*/ 6324632 w 7631184"/>
              <a:gd name="connsiteY217" fmla="*/ 3888185 h 6858054"/>
              <a:gd name="connsiteX218" fmla="*/ 6314864 w 7631184"/>
              <a:gd name="connsiteY218" fmla="*/ 3868646 h 6858054"/>
              <a:gd name="connsiteX219" fmla="*/ 6314864 w 7631184"/>
              <a:gd name="connsiteY219" fmla="*/ 3878415 h 6858054"/>
              <a:gd name="connsiteX220" fmla="*/ 6305095 w 7631184"/>
              <a:gd name="connsiteY220" fmla="*/ 3878415 h 6858054"/>
              <a:gd name="connsiteX221" fmla="*/ 6305095 w 7631184"/>
              <a:gd name="connsiteY221" fmla="*/ 3868646 h 6858054"/>
              <a:gd name="connsiteX222" fmla="*/ 6295327 w 7631184"/>
              <a:gd name="connsiteY222" fmla="*/ 3858877 h 6858054"/>
              <a:gd name="connsiteX223" fmla="*/ 6285558 w 7631184"/>
              <a:gd name="connsiteY223" fmla="*/ 3849107 h 6858054"/>
              <a:gd name="connsiteX224" fmla="*/ 6275789 w 7631184"/>
              <a:gd name="connsiteY224" fmla="*/ 3849107 h 6858054"/>
              <a:gd name="connsiteX225" fmla="*/ 6256252 w 7631184"/>
              <a:gd name="connsiteY225" fmla="*/ 3829569 h 6858054"/>
              <a:gd name="connsiteX226" fmla="*/ 6226946 w 7631184"/>
              <a:gd name="connsiteY226" fmla="*/ 3810030 h 6858054"/>
              <a:gd name="connsiteX227" fmla="*/ 6207409 w 7631184"/>
              <a:gd name="connsiteY227" fmla="*/ 3800261 h 6858054"/>
              <a:gd name="connsiteX228" fmla="*/ 6197640 w 7631184"/>
              <a:gd name="connsiteY228" fmla="*/ 3800261 h 6858054"/>
              <a:gd name="connsiteX229" fmla="*/ 6207409 w 7631184"/>
              <a:gd name="connsiteY229" fmla="*/ 3790492 h 6858054"/>
              <a:gd name="connsiteX230" fmla="*/ 6642884 w 7631184"/>
              <a:gd name="connsiteY230" fmla="*/ 3783293 h 6858054"/>
              <a:gd name="connsiteX231" fmla="*/ 6650660 w 7631184"/>
              <a:gd name="connsiteY231" fmla="*/ 3786828 h 6858054"/>
              <a:gd name="connsiteX232" fmla="*/ 6656765 w 7631184"/>
              <a:gd name="connsiteY232" fmla="*/ 3800261 h 6858054"/>
              <a:gd name="connsiteX233" fmla="*/ 6646997 w 7631184"/>
              <a:gd name="connsiteY233" fmla="*/ 3790492 h 6858054"/>
              <a:gd name="connsiteX234" fmla="*/ 6637228 w 7631184"/>
              <a:gd name="connsiteY234" fmla="*/ 3780722 h 6858054"/>
              <a:gd name="connsiteX235" fmla="*/ 6642112 w 7631184"/>
              <a:gd name="connsiteY235" fmla="*/ 3781943 h 6858054"/>
              <a:gd name="connsiteX236" fmla="*/ 6642884 w 7631184"/>
              <a:gd name="connsiteY236" fmla="*/ 3783293 h 6858054"/>
              <a:gd name="connsiteX237" fmla="*/ 6217178 w 7631184"/>
              <a:gd name="connsiteY237" fmla="*/ 3780722 h 6858054"/>
              <a:gd name="connsiteX238" fmla="*/ 6226946 w 7631184"/>
              <a:gd name="connsiteY238" fmla="*/ 3790492 h 6858054"/>
              <a:gd name="connsiteX239" fmla="*/ 6236715 w 7631184"/>
              <a:gd name="connsiteY239" fmla="*/ 3800261 h 6858054"/>
              <a:gd name="connsiteX240" fmla="*/ 6217178 w 7631184"/>
              <a:gd name="connsiteY240" fmla="*/ 3780722 h 6858054"/>
              <a:gd name="connsiteX241" fmla="*/ 6634016 w 7631184"/>
              <a:gd name="connsiteY241" fmla="*/ 3771890 h 6858054"/>
              <a:gd name="connsiteX242" fmla="*/ 6636007 w 7631184"/>
              <a:gd name="connsiteY242" fmla="*/ 3772174 h 6858054"/>
              <a:gd name="connsiteX243" fmla="*/ 6637228 w 7631184"/>
              <a:gd name="connsiteY243" fmla="*/ 3780722 h 6858054"/>
              <a:gd name="connsiteX244" fmla="*/ 6216042 w 7631184"/>
              <a:gd name="connsiteY244" fmla="*/ 3770726 h 6858054"/>
              <a:gd name="connsiteX245" fmla="*/ 6217178 w 7631184"/>
              <a:gd name="connsiteY245" fmla="*/ 3770953 h 6858054"/>
              <a:gd name="connsiteX246" fmla="*/ 6218430 w 7631184"/>
              <a:gd name="connsiteY246" fmla="*/ 3772915 h 6858054"/>
              <a:gd name="connsiteX247" fmla="*/ 6197640 w 7631184"/>
              <a:gd name="connsiteY247" fmla="*/ 3761184 h 6858054"/>
              <a:gd name="connsiteX248" fmla="*/ 6212293 w 7631184"/>
              <a:gd name="connsiteY248" fmla="*/ 3767290 h 6858054"/>
              <a:gd name="connsiteX249" fmla="*/ 6216042 w 7631184"/>
              <a:gd name="connsiteY249" fmla="*/ 3770726 h 6858054"/>
              <a:gd name="connsiteX250" fmla="*/ 6211072 w 7631184"/>
              <a:gd name="connsiteY250" fmla="*/ 3769732 h 6858054"/>
              <a:gd name="connsiteX251" fmla="*/ 6197640 w 7631184"/>
              <a:gd name="connsiteY251" fmla="*/ 3761184 h 6858054"/>
              <a:gd name="connsiteX252" fmla="*/ 6148797 w 7631184"/>
              <a:gd name="connsiteY252" fmla="*/ 3712337 h 6858054"/>
              <a:gd name="connsiteX253" fmla="*/ 6148797 w 7631184"/>
              <a:gd name="connsiteY253" fmla="*/ 3722106 h 6858054"/>
              <a:gd name="connsiteX254" fmla="*/ 6158566 w 7631184"/>
              <a:gd name="connsiteY254" fmla="*/ 3722106 h 6858054"/>
              <a:gd name="connsiteX255" fmla="*/ 6158566 w 7631184"/>
              <a:gd name="connsiteY255" fmla="*/ 3731876 h 6858054"/>
              <a:gd name="connsiteX256" fmla="*/ 6168335 w 7631184"/>
              <a:gd name="connsiteY256" fmla="*/ 3731876 h 6858054"/>
              <a:gd name="connsiteX257" fmla="*/ 6168335 w 7631184"/>
              <a:gd name="connsiteY257" fmla="*/ 3741645 h 6858054"/>
              <a:gd name="connsiteX258" fmla="*/ 6178103 w 7631184"/>
              <a:gd name="connsiteY258" fmla="*/ 3751414 h 6858054"/>
              <a:gd name="connsiteX259" fmla="*/ 6187872 w 7631184"/>
              <a:gd name="connsiteY259" fmla="*/ 3751414 h 6858054"/>
              <a:gd name="connsiteX260" fmla="*/ 6197640 w 7631184"/>
              <a:gd name="connsiteY260" fmla="*/ 3761184 h 6858054"/>
              <a:gd name="connsiteX261" fmla="*/ 6217178 w 7631184"/>
              <a:gd name="connsiteY261" fmla="*/ 3780722 h 6858054"/>
              <a:gd name="connsiteX262" fmla="*/ 6187872 w 7631184"/>
              <a:gd name="connsiteY262" fmla="*/ 3770953 h 6858054"/>
              <a:gd name="connsiteX263" fmla="*/ 6178103 w 7631184"/>
              <a:gd name="connsiteY263" fmla="*/ 3761184 h 6858054"/>
              <a:gd name="connsiteX264" fmla="*/ 6168335 w 7631184"/>
              <a:gd name="connsiteY264" fmla="*/ 3751414 h 6858054"/>
              <a:gd name="connsiteX265" fmla="*/ 6158566 w 7631184"/>
              <a:gd name="connsiteY265" fmla="*/ 3741645 h 6858054"/>
              <a:gd name="connsiteX266" fmla="*/ 6148797 w 7631184"/>
              <a:gd name="connsiteY266" fmla="*/ 3712337 h 6858054"/>
              <a:gd name="connsiteX267" fmla="*/ 6593269 w 7631184"/>
              <a:gd name="connsiteY267" fmla="*/ 3698904 h 6858054"/>
              <a:gd name="connsiteX268" fmla="*/ 6598153 w 7631184"/>
              <a:gd name="connsiteY268" fmla="*/ 3702568 h 6858054"/>
              <a:gd name="connsiteX269" fmla="*/ 6591873 w 7631184"/>
              <a:gd name="connsiteY269" fmla="*/ 3699951 h 6858054"/>
              <a:gd name="connsiteX270" fmla="*/ 6617691 w 7631184"/>
              <a:gd name="connsiteY270" fmla="*/ 3692798 h 6858054"/>
              <a:gd name="connsiteX271" fmla="*/ 6627459 w 7631184"/>
              <a:gd name="connsiteY271" fmla="*/ 3702568 h 6858054"/>
              <a:gd name="connsiteX272" fmla="*/ 6617691 w 7631184"/>
              <a:gd name="connsiteY272" fmla="*/ 3692798 h 6858054"/>
              <a:gd name="connsiteX273" fmla="*/ 6637228 w 7631184"/>
              <a:gd name="connsiteY273" fmla="*/ 3653722 h 6858054"/>
              <a:gd name="connsiteX274" fmla="*/ 6648218 w 7631184"/>
              <a:gd name="connsiteY274" fmla="*/ 3663491 h 6858054"/>
              <a:gd name="connsiteX275" fmla="*/ 6666534 w 7631184"/>
              <a:gd name="connsiteY275" fmla="*/ 3673260 h 6858054"/>
              <a:gd name="connsiteX276" fmla="*/ 6676302 w 7631184"/>
              <a:gd name="connsiteY276" fmla="*/ 3683029 h 6858054"/>
              <a:gd name="connsiteX277" fmla="*/ 6675081 w 7631184"/>
              <a:gd name="connsiteY277" fmla="*/ 3683029 h 6858054"/>
              <a:gd name="connsiteX278" fmla="*/ 6671418 w 7631184"/>
              <a:gd name="connsiteY278" fmla="*/ 3683029 h 6858054"/>
              <a:gd name="connsiteX279" fmla="*/ 6667755 w 7631184"/>
              <a:gd name="connsiteY279" fmla="*/ 3683029 h 6858054"/>
              <a:gd name="connsiteX280" fmla="*/ 6666534 w 7631184"/>
              <a:gd name="connsiteY280" fmla="*/ 3683029 h 6858054"/>
              <a:gd name="connsiteX281" fmla="*/ 6646997 w 7631184"/>
              <a:gd name="connsiteY281" fmla="*/ 3663491 h 6858054"/>
              <a:gd name="connsiteX282" fmla="*/ 6637228 w 7631184"/>
              <a:gd name="connsiteY282" fmla="*/ 3653721 h 6858054"/>
              <a:gd name="connsiteX283" fmla="*/ 6637228 w 7631184"/>
              <a:gd name="connsiteY283" fmla="*/ 3653722 h 6858054"/>
              <a:gd name="connsiteX284" fmla="*/ 6637228 w 7631184"/>
              <a:gd name="connsiteY284" fmla="*/ 3653721 h 6858054"/>
              <a:gd name="connsiteX285" fmla="*/ 6637228 w 7631184"/>
              <a:gd name="connsiteY285" fmla="*/ 3643952 h 6858054"/>
              <a:gd name="connsiteX286" fmla="*/ 6639352 w 7631184"/>
              <a:gd name="connsiteY286" fmla="*/ 3645085 h 6858054"/>
              <a:gd name="connsiteX287" fmla="*/ 6642112 w 7631184"/>
              <a:gd name="connsiteY287" fmla="*/ 3647616 h 6858054"/>
              <a:gd name="connsiteX288" fmla="*/ 6651181 w 7631184"/>
              <a:gd name="connsiteY288" fmla="*/ 3651394 h 6858054"/>
              <a:gd name="connsiteX289" fmla="*/ 6655544 w 7631184"/>
              <a:gd name="connsiteY289" fmla="*/ 3653721 h 6858054"/>
              <a:gd name="connsiteX290" fmla="*/ 6658026 w 7631184"/>
              <a:gd name="connsiteY290" fmla="*/ 3655928 h 6858054"/>
              <a:gd name="connsiteX291" fmla="*/ 6661650 w 7631184"/>
              <a:gd name="connsiteY291" fmla="*/ 3662269 h 6858054"/>
              <a:gd name="connsiteX292" fmla="*/ 6666534 w 7631184"/>
              <a:gd name="connsiteY292" fmla="*/ 3663491 h 6858054"/>
              <a:gd name="connsiteX293" fmla="*/ 6637228 w 7631184"/>
              <a:gd name="connsiteY293" fmla="*/ 3643952 h 6858054"/>
              <a:gd name="connsiteX294" fmla="*/ 6627459 w 7631184"/>
              <a:gd name="connsiteY294" fmla="*/ 3634183 h 6858054"/>
              <a:gd name="connsiteX295" fmla="*/ 6637094 w 7631184"/>
              <a:gd name="connsiteY295" fmla="*/ 3643015 h 6858054"/>
              <a:gd name="connsiteX296" fmla="*/ 6637228 w 7631184"/>
              <a:gd name="connsiteY296" fmla="*/ 3643952 h 6858054"/>
              <a:gd name="connsiteX297" fmla="*/ 6631122 w 7631184"/>
              <a:gd name="connsiteY297" fmla="*/ 3637846 h 6858054"/>
              <a:gd name="connsiteX298" fmla="*/ 6627459 w 7631184"/>
              <a:gd name="connsiteY298" fmla="*/ 3634183 h 6858054"/>
              <a:gd name="connsiteX299" fmla="*/ 6627459 w 7631184"/>
              <a:gd name="connsiteY299" fmla="*/ 3634183 h 6858054"/>
              <a:gd name="connsiteX300" fmla="*/ 6627459 w 7631184"/>
              <a:gd name="connsiteY300" fmla="*/ 3634183 h 6858054"/>
              <a:gd name="connsiteX301" fmla="*/ 4439290 w 7631184"/>
              <a:gd name="connsiteY301" fmla="*/ 3624414 h 6858054"/>
              <a:gd name="connsiteX302" fmla="*/ 4451501 w 7631184"/>
              <a:gd name="connsiteY302" fmla="*/ 3636625 h 6858054"/>
              <a:gd name="connsiteX303" fmla="*/ 4458828 w 7631184"/>
              <a:gd name="connsiteY303" fmla="*/ 3643952 h 6858054"/>
              <a:gd name="connsiteX304" fmla="*/ 4527208 w 7631184"/>
              <a:gd name="connsiteY304" fmla="*/ 3712337 h 6858054"/>
              <a:gd name="connsiteX305" fmla="*/ 4536976 w 7631184"/>
              <a:gd name="connsiteY305" fmla="*/ 3731876 h 6858054"/>
              <a:gd name="connsiteX306" fmla="*/ 4546745 w 7631184"/>
              <a:gd name="connsiteY306" fmla="*/ 3751414 h 6858054"/>
              <a:gd name="connsiteX307" fmla="*/ 4527208 w 7631184"/>
              <a:gd name="connsiteY307" fmla="*/ 3731876 h 6858054"/>
              <a:gd name="connsiteX308" fmla="*/ 4468596 w 7631184"/>
              <a:gd name="connsiteY308" fmla="*/ 3663491 h 6858054"/>
              <a:gd name="connsiteX309" fmla="*/ 4453943 w 7631184"/>
              <a:gd name="connsiteY309" fmla="*/ 3647616 h 6858054"/>
              <a:gd name="connsiteX310" fmla="*/ 4439289 w 7631184"/>
              <a:gd name="connsiteY310" fmla="*/ 3624412 h 6858054"/>
              <a:gd name="connsiteX311" fmla="*/ 4439290 w 7631184"/>
              <a:gd name="connsiteY311" fmla="*/ 3624413 h 6858054"/>
              <a:gd name="connsiteX312" fmla="*/ 4439290 w 7631184"/>
              <a:gd name="connsiteY312" fmla="*/ 3624414 h 6858054"/>
              <a:gd name="connsiteX313" fmla="*/ 4380679 w 7631184"/>
              <a:gd name="connsiteY313" fmla="*/ 3556028 h 6858054"/>
              <a:gd name="connsiteX314" fmla="*/ 4400216 w 7631184"/>
              <a:gd name="connsiteY314" fmla="*/ 3575567 h 6858054"/>
              <a:gd name="connsiteX315" fmla="*/ 4429522 w 7631184"/>
              <a:gd name="connsiteY315" fmla="*/ 3614644 h 6858054"/>
              <a:gd name="connsiteX316" fmla="*/ 4439289 w 7631184"/>
              <a:gd name="connsiteY316" fmla="*/ 3624412 h 6858054"/>
              <a:gd name="connsiteX317" fmla="*/ 4420974 w 7631184"/>
              <a:gd name="connsiteY317" fmla="*/ 3609759 h 6858054"/>
              <a:gd name="connsiteX318" fmla="*/ 4409985 w 7631184"/>
              <a:gd name="connsiteY318" fmla="*/ 3595105 h 6858054"/>
              <a:gd name="connsiteX319" fmla="*/ 4380679 w 7631184"/>
              <a:gd name="connsiteY319" fmla="*/ 3556028 h 6858054"/>
              <a:gd name="connsiteX320" fmla="*/ 4766539 w 7631184"/>
              <a:gd name="connsiteY320" fmla="*/ 3536490 h 6858054"/>
              <a:gd name="connsiteX321" fmla="*/ 4771423 w 7631184"/>
              <a:gd name="connsiteY321" fmla="*/ 3536490 h 6858054"/>
              <a:gd name="connsiteX322" fmla="*/ 4770535 w 7631184"/>
              <a:gd name="connsiteY322" fmla="*/ 3539154 h 6858054"/>
              <a:gd name="connsiteX323" fmla="*/ 4488133 w 7631184"/>
              <a:gd name="connsiteY323" fmla="*/ 3536490 h 6858054"/>
              <a:gd name="connsiteX324" fmla="*/ 4496980 w 7631184"/>
              <a:gd name="connsiteY324" fmla="*/ 3539808 h 6858054"/>
              <a:gd name="connsiteX325" fmla="*/ 4497902 w 7631184"/>
              <a:gd name="connsiteY325" fmla="*/ 3546259 h 6858054"/>
              <a:gd name="connsiteX326" fmla="*/ 4517439 w 7631184"/>
              <a:gd name="connsiteY326" fmla="*/ 3565797 h 6858054"/>
              <a:gd name="connsiteX327" fmla="*/ 4536976 w 7631184"/>
              <a:gd name="connsiteY327" fmla="*/ 3585336 h 6858054"/>
              <a:gd name="connsiteX328" fmla="*/ 4576051 w 7631184"/>
              <a:gd name="connsiteY328" fmla="*/ 3624413 h 6858054"/>
              <a:gd name="connsiteX329" fmla="*/ 4605357 w 7631184"/>
              <a:gd name="connsiteY329" fmla="*/ 3673260 h 6858054"/>
              <a:gd name="connsiteX330" fmla="*/ 4615125 w 7631184"/>
              <a:gd name="connsiteY330" fmla="*/ 3683029 h 6858054"/>
              <a:gd name="connsiteX331" fmla="*/ 4663968 w 7631184"/>
              <a:gd name="connsiteY331" fmla="*/ 3741645 h 6858054"/>
              <a:gd name="connsiteX332" fmla="*/ 4673737 w 7631184"/>
              <a:gd name="connsiteY332" fmla="*/ 3751414 h 6858054"/>
              <a:gd name="connsiteX333" fmla="*/ 4683506 w 7631184"/>
              <a:gd name="connsiteY333" fmla="*/ 3770953 h 6858054"/>
              <a:gd name="connsiteX334" fmla="*/ 4712811 w 7631184"/>
              <a:gd name="connsiteY334" fmla="*/ 3800261 h 6858054"/>
              <a:gd name="connsiteX335" fmla="*/ 4732349 w 7631184"/>
              <a:gd name="connsiteY335" fmla="*/ 3819799 h 6858054"/>
              <a:gd name="connsiteX336" fmla="*/ 4742117 w 7631184"/>
              <a:gd name="connsiteY336" fmla="*/ 3839338 h 6858054"/>
              <a:gd name="connsiteX337" fmla="*/ 4751886 w 7631184"/>
              <a:gd name="connsiteY337" fmla="*/ 3849107 h 6858054"/>
              <a:gd name="connsiteX338" fmla="*/ 4761655 w 7631184"/>
              <a:gd name="connsiteY338" fmla="*/ 3868646 h 6858054"/>
              <a:gd name="connsiteX339" fmla="*/ 4771423 w 7631184"/>
              <a:gd name="connsiteY339" fmla="*/ 3878415 h 6858054"/>
              <a:gd name="connsiteX340" fmla="*/ 4781192 w 7631184"/>
              <a:gd name="connsiteY340" fmla="*/ 3888185 h 6858054"/>
              <a:gd name="connsiteX341" fmla="*/ 4790960 w 7631184"/>
              <a:gd name="connsiteY341" fmla="*/ 3907723 h 6858054"/>
              <a:gd name="connsiteX342" fmla="*/ 4800729 w 7631184"/>
              <a:gd name="connsiteY342" fmla="*/ 3917493 h 6858054"/>
              <a:gd name="connsiteX343" fmla="*/ 4820266 w 7631184"/>
              <a:gd name="connsiteY343" fmla="*/ 3946800 h 6858054"/>
              <a:gd name="connsiteX344" fmla="*/ 4830035 w 7631184"/>
              <a:gd name="connsiteY344" fmla="*/ 3956570 h 6858054"/>
              <a:gd name="connsiteX345" fmla="*/ 4869109 w 7631184"/>
              <a:gd name="connsiteY345" fmla="*/ 4005416 h 6858054"/>
              <a:gd name="connsiteX346" fmla="*/ 4888646 w 7631184"/>
              <a:gd name="connsiteY346" fmla="*/ 4044494 h 6858054"/>
              <a:gd name="connsiteX347" fmla="*/ 4869109 w 7631184"/>
              <a:gd name="connsiteY347" fmla="*/ 4034724 h 6858054"/>
              <a:gd name="connsiteX348" fmla="*/ 4859341 w 7631184"/>
              <a:gd name="connsiteY348" fmla="*/ 4024955 h 6858054"/>
              <a:gd name="connsiteX349" fmla="*/ 4839803 w 7631184"/>
              <a:gd name="connsiteY349" fmla="*/ 3995647 h 6858054"/>
              <a:gd name="connsiteX350" fmla="*/ 4820266 w 7631184"/>
              <a:gd name="connsiteY350" fmla="*/ 3966339 h 6858054"/>
              <a:gd name="connsiteX351" fmla="*/ 4781192 w 7631184"/>
              <a:gd name="connsiteY351" fmla="*/ 3907723 h 6858054"/>
              <a:gd name="connsiteX352" fmla="*/ 4761655 w 7631184"/>
              <a:gd name="connsiteY352" fmla="*/ 3878415 h 6858054"/>
              <a:gd name="connsiteX353" fmla="*/ 4732349 w 7631184"/>
              <a:gd name="connsiteY353" fmla="*/ 3839338 h 6858054"/>
              <a:gd name="connsiteX354" fmla="*/ 4712811 w 7631184"/>
              <a:gd name="connsiteY354" fmla="*/ 3819799 h 6858054"/>
              <a:gd name="connsiteX355" fmla="*/ 4654200 w 7631184"/>
              <a:gd name="connsiteY355" fmla="*/ 3741645 h 6858054"/>
              <a:gd name="connsiteX356" fmla="*/ 4585820 w 7631184"/>
              <a:gd name="connsiteY356" fmla="*/ 3663491 h 6858054"/>
              <a:gd name="connsiteX357" fmla="*/ 4576051 w 7631184"/>
              <a:gd name="connsiteY357" fmla="*/ 3653721 h 6858054"/>
              <a:gd name="connsiteX358" fmla="*/ 4556514 w 7631184"/>
              <a:gd name="connsiteY358" fmla="*/ 3624413 h 6858054"/>
              <a:gd name="connsiteX359" fmla="*/ 4497902 w 7631184"/>
              <a:gd name="connsiteY359" fmla="*/ 3556028 h 6858054"/>
              <a:gd name="connsiteX360" fmla="*/ 4488133 w 7631184"/>
              <a:gd name="connsiteY360" fmla="*/ 3536490 h 6858054"/>
              <a:gd name="connsiteX361" fmla="*/ 4762876 w 7631184"/>
              <a:gd name="connsiteY361" fmla="*/ 3534047 h 6858054"/>
              <a:gd name="connsiteX362" fmla="*/ 4766539 w 7631184"/>
              <a:gd name="connsiteY362" fmla="*/ 3536490 h 6858054"/>
              <a:gd name="connsiteX363" fmla="*/ 4761655 w 7631184"/>
              <a:gd name="connsiteY363" fmla="*/ 3536490 h 6858054"/>
              <a:gd name="connsiteX364" fmla="*/ 4751886 w 7631184"/>
              <a:gd name="connsiteY364" fmla="*/ 3536490 h 6858054"/>
              <a:gd name="connsiteX365" fmla="*/ 4762876 w 7631184"/>
              <a:gd name="connsiteY365" fmla="*/ 3534047 h 6858054"/>
              <a:gd name="connsiteX366" fmla="*/ 4820266 w 7631184"/>
              <a:gd name="connsiteY366" fmla="*/ 3526720 h 6858054"/>
              <a:gd name="connsiteX367" fmla="*/ 4830035 w 7631184"/>
              <a:gd name="connsiteY367" fmla="*/ 3526720 h 6858054"/>
              <a:gd name="connsiteX368" fmla="*/ 4839803 w 7631184"/>
              <a:gd name="connsiteY368" fmla="*/ 3536490 h 6858054"/>
              <a:gd name="connsiteX369" fmla="*/ 4849572 w 7631184"/>
              <a:gd name="connsiteY369" fmla="*/ 3546259 h 6858054"/>
              <a:gd name="connsiteX370" fmla="*/ 4839803 w 7631184"/>
              <a:gd name="connsiteY370" fmla="*/ 3546259 h 6858054"/>
              <a:gd name="connsiteX371" fmla="*/ 4820266 w 7631184"/>
              <a:gd name="connsiteY371" fmla="*/ 3536490 h 6858054"/>
              <a:gd name="connsiteX372" fmla="*/ 4820266 w 7631184"/>
              <a:gd name="connsiteY372" fmla="*/ 3526720 h 6858054"/>
              <a:gd name="connsiteX373" fmla="*/ 4292761 w 7631184"/>
              <a:gd name="connsiteY373" fmla="*/ 3497412 h 6858054"/>
              <a:gd name="connsiteX374" fmla="*/ 4302530 w 7631184"/>
              <a:gd name="connsiteY374" fmla="*/ 3497412 h 6858054"/>
              <a:gd name="connsiteX375" fmla="*/ 4312298 w 7631184"/>
              <a:gd name="connsiteY375" fmla="*/ 3507182 h 6858054"/>
              <a:gd name="connsiteX376" fmla="*/ 4322067 w 7631184"/>
              <a:gd name="connsiteY376" fmla="*/ 3507182 h 6858054"/>
              <a:gd name="connsiteX377" fmla="*/ 4331836 w 7631184"/>
              <a:gd name="connsiteY377" fmla="*/ 3516951 h 6858054"/>
              <a:gd name="connsiteX378" fmla="*/ 4324509 w 7631184"/>
              <a:gd name="connsiteY378" fmla="*/ 3516951 h 6858054"/>
              <a:gd name="connsiteX379" fmla="*/ 4322067 w 7631184"/>
              <a:gd name="connsiteY379" fmla="*/ 3516951 h 6858054"/>
              <a:gd name="connsiteX380" fmla="*/ 4331836 w 7631184"/>
              <a:gd name="connsiteY380" fmla="*/ 3526720 h 6858054"/>
              <a:gd name="connsiteX381" fmla="*/ 4322067 w 7631184"/>
              <a:gd name="connsiteY381" fmla="*/ 3526720 h 6858054"/>
              <a:gd name="connsiteX382" fmla="*/ 4312298 w 7631184"/>
              <a:gd name="connsiteY382" fmla="*/ 3516951 h 6858054"/>
              <a:gd name="connsiteX383" fmla="*/ 4302530 w 7631184"/>
              <a:gd name="connsiteY383" fmla="*/ 3507182 h 6858054"/>
              <a:gd name="connsiteX384" fmla="*/ 4292761 w 7631184"/>
              <a:gd name="connsiteY384" fmla="*/ 3497412 h 6858054"/>
              <a:gd name="connsiteX385" fmla="*/ 4253687 w 7631184"/>
              <a:gd name="connsiteY385" fmla="*/ 3487643 h 6858054"/>
              <a:gd name="connsiteX386" fmla="*/ 4263455 w 7631184"/>
              <a:gd name="connsiteY386" fmla="*/ 3497412 h 6858054"/>
              <a:gd name="connsiteX387" fmla="*/ 4253687 w 7631184"/>
              <a:gd name="connsiteY387" fmla="*/ 3487643 h 6858054"/>
              <a:gd name="connsiteX388" fmla="*/ 6959592 w 7631184"/>
              <a:gd name="connsiteY388" fmla="*/ 3458335 h 6858054"/>
              <a:gd name="connsiteX389" fmla="*/ 6959592 w 7631184"/>
              <a:gd name="connsiteY389" fmla="*/ 3468104 h 6858054"/>
              <a:gd name="connsiteX390" fmla="*/ 6959592 w 7631184"/>
              <a:gd name="connsiteY390" fmla="*/ 3458335 h 6858054"/>
              <a:gd name="connsiteX391" fmla="*/ 6979129 w 7631184"/>
              <a:gd name="connsiteY391" fmla="*/ 3389950 h 6858054"/>
              <a:gd name="connsiteX392" fmla="*/ 7008435 w 7631184"/>
              <a:gd name="connsiteY392" fmla="*/ 3419258 h 6858054"/>
              <a:gd name="connsiteX393" fmla="*/ 6988898 w 7631184"/>
              <a:gd name="connsiteY393" fmla="*/ 3409489 h 6858054"/>
              <a:gd name="connsiteX394" fmla="*/ 6988898 w 7631184"/>
              <a:gd name="connsiteY394" fmla="*/ 3399719 h 6858054"/>
              <a:gd name="connsiteX395" fmla="*/ 6979129 w 7631184"/>
              <a:gd name="connsiteY395" fmla="*/ 3399719 h 6858054"/>
              <a:gd name="connsiteX396" fmla="*/ 6979129 w 7631184"/>
              <a:gd name="connsiteY396" fmla="*/ 3389950 h 6858054"/>
              <a:gd name="connsiteX397" fmla="*/ 6933217 w 7631184"/>
              <a:gd name="connsiteY397" fmla="*/ 3370411 h 6858054"/>
              <a:gd name="connsiteX398" fmla="*/ 6938834 w 7631184"/>
              <a:gd name="connsiteY398" fmla="*/ 3370411 h 6858054"/>
              <a:gd name="connsiteX399" fmla="*/ 6940055 w 7631184"/>
              <a:gd name="connsiteY399" fmla="*/ 3370411 h 6858054"/>
              <a:gd name="connsiteX400" fmla="*/ 6945784 w 7631184"/>
              <a:gd name="connsiteY400" fmla="*/ 3371128 h 6858054"/>
              <a:gd name="connsiteX401" fmla="*/ 6950739 w 7631184"/>
              <a:gd name="connsiteY401" fmla="*/ 3379570 h 6858054"/>
              <a:gd name="connsiteX402" fmla="*/ 6949823 w 7631184"/>
              <a:gd name="connsiteY402" fmla="*/ 3389950 h 6858054"/>
              <a:gd name="connsiteX403" fmla="*/ 6949823 w 7631184"/>
              <a:gd name="connsiteY403" fmla="*/ 3380181 h 6858054"/>
              <a:gd name="connsiteX404" fmla="*/ 6940055 w 7631184"/>
              <a:gd name="connsiteY404" fmla="*/ 3380181 h 6858054"/>
              <a:gd name="connsiteX405" fmla="*/ 6931507 w 7631184"/>
              <a:gd name="connsiteY405" fmla="*/ 3367969 h 6858054"/>
              <a:gd name="connsiteX406" fmla="*/ 6933217 w 7631184"/>
              <a:gd name="connsiteY406" fmla="*/ 3370411 h 6858054"/>
              <a:gd name="connsiteX407" fmla="*/ 6930286 w 7631184"/>
              <a:gd name="connsiteY407" fmla="*/ 3370411 h 6858054"/>
              <a:gd name="connsiteX408" fmla="*/ 6931507 w 7631184"/>
              <a:gd name="connsiteY408" fmla="*/ 3367969 h 6858054"/>
              <a:gd name="connsiteX409" fmla="*/ 6783757 w 7631184"/>
              <a:gd name="connsiteY409" fmla="*/ 3350873 h 6858054"/>
              <a:gd name="connsiteX410" fmla="*/ 6793526 w 7631184"/>
              <a:gd name="connsiteY410" fmla="*/ 3350873 h 6858054"/>
              <a:gd name="connsiteX411" fmla="*/ 6793526 w 7631184"/>
              <a:gd name="connsiteY411" fmla="*/ 3360642 h 6858054"/>
              <a:gd name="connsiteX412" fmla="*/ 6783757 w 7631184"/>
              <a:gd name="connsiteY412" fmla="*/ 3350873 h 6858054"/>
              <a:gd name="connsiteX413" fmla="*/ 6861906 w 7631184"/>
              <a:gd name="connsiteY413" fmla="*/ 3331334 h 6858054"/>
              <a:gd name="connsiteX414" fmla="*/ 6871675 w 7631184"/>
              <a:gd name="connsiteY414" fmla="*/ 3341103 h 6858054"/>
              <a:gd name="connsiteX415" fmla="*/ 6861906 w 7631184"/>
              <a:gd name="connsiteY415" fmla="*/ 3341103 h 6858054"/>
              <a:gd name="connsiteX416" fmla="*/ 6861906 w 7631184"/>
              <a:gd name="connsiteY416" fmla="*/ 3331334 h 6858054"/>
              <a:gd name="connsiteX417" fmla="*/ 6861906 w 7631184"/>
              <a:gd name="connsiteY417" fmla="*/ 3321565 h 6858054"/>
              <a:gd name="connsiteX418" fmla="*/ 6871675 w 7631184"/>
              <a:gd name="connsiteY418" fmla="*/ 3331334 h 6858054"/>
              <a:gd name="connsiteX419" fmla="*/ 6881443 w 7631184"/>
              <a:gd name="connsiteY419" fmla="*/ 3341103 h 6858054"/>
              <a:gd name="connsiteX420" fmla="*/ 6871675 w 7631184"/>
              <a:gd name="connsiteY420" fmla="*/ 3341103 h 6858054"/>
              <a:gd name="connsiteX421" fmla="*/ 6861906 w 7631184"/>
              <a:gd name="connsiteY421" fmla="*/ 3331334 h 6858054"/>
              <a:gd name="connsiteX422" fmla="*/ 6861906 w 7631184"/>
              <a:gd name="connsiteY422" fmla="*/ 3321565 h 6858054"/>
              <a:gd name="connsiteX423" fmla="*/ 6715377 w 7631184"/>
              <a:gd name="connsiteY423" fmla="*/ 3145717 h 6858054"/>
              <a:gd name="connsiteX424" fmla="*/ 6725145 w 7631184"/>
              <a:gd name="connsiteY424" fmla="*/ 3145717 h 6858054"/>
              <a:gd name="connsiteX425" fmla="*/ 6731516 w 7631184"/>
              <a:gd name="connsiteY425" fmla="*/ 3145717 h 6858054"/>
              <a:gd name="connsiteX426" fmla="*/ 6737435 w 7631184"/>
              <a:gd name="connsiteY426" fmla="*/ 3150760 h 6858054"/>
              <a:gd name="connsiteX427" fmla="*/ 6742241 w 7631184"/>
              <a:gd name="connsiteY427" fmla="*/ 3160372 h 6858054"/>
              <a:gd name="connsiteX428" fmla="*/ 6764220 w 7631184"/>
              <a:gd name="connsiteY428" fmla="*/ 3175025 h 6858054"/>
              <a:gd name="connsiteX429" fmla="*/ 6793526 w 7631184"/>
              <a:gd name="connsiteY429" fmla="*/ 3204333 h 6858054"/>
              <a:gd name="connsiteX430" fmla="*/ 6773988 w 7631184"/>
              <a:gd name="connsiteY430" fmla="*/ 3194564 h 6858054"/>
              <a:gd name="connsiteX431" fmla="*/ 6764220 w 7631184"/>
              <a:gd name="connsiteY431" fmla="*/ 3184794 h 6858054"/>
              <a:gd name="connsiteX432" fmla="*/ 6754451 w 7631184"/>
              <a:gd name="connsiteY432" fmla="*/ 3175025 h 6858054"/>
              <a:gd name="connsiteX433" fmla="*/ 6734914 w 7631184"/>
              <a:gd name="connsiteY433" fmla="*/ 3165256 h 6858054"/>
              <a:gd name="connsiteX434" fmla="*/ 6715377 w 7631184"/>
              <a:gd name="connsiteY434" fmla="*/ 3145717 h 6858054"/>
              <a:gd name="connsiteX435" fmla="*/ 5929404 w 7631184"/>
              <a:gd name="connsiteY435" fmla="*/ 2375864 h 6858054"/>
              <a:gd name="connsiteX436" fmla="*/ 5937551 w 7631184"/>
              <a:gd name="connsiteY436" fmla="*/ 2378827 h 6858054"/>
              <a:gd name="connsiteX437" fmla="*/ 5943657 w 7631184"/>
              <a:gd name="connsiteY437" fmla="*/ 2383711 h 6858054"/>
              <a:gd name="connsiteX438" fmla="*/ 5963194 w 7631184"/>
              <a:gd name="connsiteY438" fmla="*/ 2393481 h 6858054"/>
              <a:gd name="connsiteX439" fmla="*/ 5972962 w 7631184"/>
              <a:gd name="connsiteY439" fmla="*/ 2403250 h 6858054"/>
              <a:gd name="connsiteX440" fmla="*/ 5933888 w 7631184"/>
              <a:gd name="connsiteY440" fmla="*/ 2383711 h 6858054"/>
              <a:gd name="connsiteX441" fmla="*/ 5924119 w 7631184"/>
              <a:gd name="connsiteY441" fmla="*/ 2373942 h 6858054"/>
              <a:gd name="connsiteX442" fmla="*/ 5929003 w 7631184"/>
              <a:gd name="connsiteY442" fmla="*/ 2375163 h 6858054"/>
              <a:gd name="connsiteX443" fmla="*/ 5929404 w 7631184"/>
              <a:gd name="connsiteY443" fmla="*/ 2375864 h 6858054"/>
              <a:gd name="connsiteX444" fmla="*/ 824904 w 7631184"/>
              <a:gd name="connsiteY444" fmla="*/ 2344634 h 6858054"/>
              <a:gd name="connsiteX445" fmla="*/ 834673 w 7631184"/>
              <a:gd name="connsiteY445" fmla="*/ 2344634 h 6858054"/>
              <a:gd name="connsiteX446" fmla="*/ 844441 w 7631184"/>
              <a:gd name="connsiteY446" fmla="*/ 2344634 h 6858054"/>
              <a:gd name="connsiteX447" fmla="*/ 873747 w 7631184"/>
              <a:gd name="connsiteY447" fmla="*/ 2354403 h 6858054"/>
              <a:gd name="connsiteX448" fmla="*/ 863978 w 7631184"/>
              <a:gd name="connsiteY448" fmla="*/ 2354403 h 6858054"/>
              <a:gd name="connsiteX449" fmla="*/ 834673 w 7631184"/>
              <a:gd name="connsiteY449" fmla="*/ 2354403 h 6858054"/>
              <a:gd name="connsiteX450" fmla="*/ 824904 w 7631184"/>
              <a:gd name="connsiteY450" fmla="*/ 2344634 h 6858054"/>
              <a:gd name="connsiteX451" fmla="*/ 1069119 w 7631184"/>
              <a:gd name="connsiteY451" fmla="*/ 2325095 h 6858054"/>
              <a:gd name="connsiteX452" fmla="*/ 1078888 w 7631184"/>
              <a:gd name="connsiteY452" fmla="*/ 2325095 h 6858054"/>
              <a:gd name="connsiteX453" fmla="*/ 1069119 w 7631184"/>
              <a:gd name="connsiteY453" fmla="*/ 2325095 h 6858054"/>
              <a:gd name="connsiteX454" fmla="*/ 346242 w 7631184"/>
              <a:gd name="connsiteY454" fmla="*/ 2237172 h 6858054"/>
              <a:gd name="connsiteX455" fmla="*/ 385317 w 7631184"/>
              <a:gd name="connsiteY455" fmla="*/ 2237172 h 6858054"/>
              <a:gd name="connsiteX456" fmla="*/ 414622 w 7631184"/>
              <a:gd name="connsiteY456" fmla="*/ 2246941 h 6858054"/>
              <a:gd name="connsiteX457" fmla="*/ 365779 w 7631184"/>
              <a:gd name="connsiteY457" fmla="*/ 2246941 h 6858054"/>
              <a:gd name="connsiteX458" fmla="*/ 316936 w 7631184"/>
              <a:gd name="connsiteY458" fmla="*/ 2246941 h 6858054"/>
              <a:gd name="connsiteX459" fmla="*/ 297399 w 7631184"/>
              <a:gd name="connsiteY459" fmla="*/ 2246941 h 6858054"/>
              <a:gd name="connsiteX460" fmla="*/ 277862 w 7631184"/>
              <a:gd name="connsiteY460" fmla="*/ 2246941 h 6858054"/>
              <a:gd name="connsiteX461" fmla="*/ 268093 w 7631184"/>
              <a:gd name="connsiteY461" fmla="*/ 2246941 h 6858054"/>
              <a:gd name="connsiteX462" fmla="*/ 346242 w 7631184"/>
              <a:gd name="connsiteY462" fmla="*/ 2237172 h 6858054"/>
              <a:gd name="connsiteX463" fmla="*/ 3608958 w 7631184"/>
              <a:gd name="connsiteY463" fmla="*/ 2012477 h 6858054"/>
              <a:gd name="connsiteX464" fmla="*/ 3618250 w 7631184"/>
              <a:gd name="connsiteY464" fmla="*/ 2015337 h 6858054"/>
              <a:gd name="connsiteX465" fmla="*/ 3617506 w 7631184"/>
              <a:gd name="connsiteY465" fmla="*/ 2019804 h 6858054"/>
              <a:gd name="connsiteX466" fmla="*/ 3608958 w 7631184"/>
              <a:gd name="connsiteY466" fmla="*/ 2012477 h 6858054"/>
              <a:gd name="connsiteX467" fmla="*/ 871305 w 7631184"/>
              <a:gd name="connsiteY467" fmla="*/ 1999045 h 6858054"/>
              <a:gd name="connsiteX468" fmla="*/ 883516 w 7631184"/>
              <a:gd name="connsiteY468" fmla="*/ 2002708 h 6858054"/>
              <a:gd name="connsiteX469" fmla="*/ 879852 w 7631184"/>
              <a:gd name="connsiteY469" fmla="*/ 2002708 h 6858054"/>
              <a:gd name="connsiteX470" fmla="*/ 873747 w 7631184"/>
              <a:gd name="connsiteY470" fmla="*/ 2002708 h 6858054"/>
              <a:gd name="connsiteX471" fmla="*/ 871305 w 7631184"/>
              <a:gd name="connsiteY471" fmla="*/ 1999045 h 6858054"/>
              <a:gd name="connsiteX472" fmla="*/ 990970 w 7631184"/>
              <a:gd name="connsiteY472" fmla="*/ 1905015 h 6858054"/>
              <a:gd name="connsiteX473" fmla="*/ 1000739 w 7631184"/>
              <a:gd name="connsiteY473" fmla="*/ 1905015 h 6858054"/>
              <a:gd name="connsiteX474" fmla="*/ 1010508 w 7631184"/>
              <a:gd name="connsiteY474" fmla="*/ 1914784 h 6858054"/>
              <a:gd name="connsiteX475" fmla="*/ 1000739 w 7631184"/>
              <a:gd name="connsiteY475" fmla="*/ 1914784 h 6858054"/>
              <a:gd name="connsiteX476" fmla="*/ 990970 w 7631184"/>
              <a:gd name="connsiteY476" fmla="*/ 1905015 h 6858054"/>
              <a:gd name="connsiteX477" fmla="*/ 326705 w 7631184"/>
              <a:gd name="connsiteY477" fmla="*/ 1836630 h 6858054"/>
              <a:gd name="connsiteX478" fmla="*/ 356011 w 7631184"/>
              <a:gd name="connsiteY478" fmla="*/ 1836630 h 6858054"/>
              <a:gd name="connsiteX479" fmla="*/ 385317 w 7631184"/>
              <a:gd name="connsiteY479" fmla="*/ 1836630 h 6858054"/>
              <a:gd name="connsiteX480" fmla="*/ 395085 w 7631184"/>
              <a:gd name="connsiteY480" fmla="*/ 1846399 h 6858054"/>
              <a:gd name="connsiteX481" fmla="*/ 388980 w 7631184"/>
              <a:gd name="connsiteY481" fmla="*/ 1846399 h 6858054"/>
              <a:gd name="connsiteX482" fmla="*/ 365779 w 7631184"/>
              <a:gd name="connsiteY482" fmla="*/ 1846399 h 6858054"/>
              <a:gd name="connsiteX483" fmla="*/ 326705 w 7631184"/>
              <a:gd name="connsiteY483" fmla="*/ 1836630 h 6858054"/>
              <a:gd name="connsiteX484" fmla="*/ 3091222 w 7631184"/>
              <a:gd name="connsiteY484" fmla="*/ 1787783 h 6858054"/>
              <a:gd name="connsiteX485" fmla="*/ 3100991 w 7631184"/>
              <a:gd name="connsiteY485" fmla="*/ 1787783 h 6858054"/>
              <a:gd name="connsiteX486" fmla="*/ 3110759 w 7631184"/>
              <a:gd name="connsiteY486" fmla="*/ 1797552 h 6858054"/>
              <a:gd name="connsiteX487" fmla="*/ 3100991 w 7631184"/>
              <a:gd name="connsiteY487" fmla="*/ 1797552 h 6858054"/>
              <a:gd name="connsiteX488" fmla="*/ 3091222 w 7631184"/>
              <a:gd name="connsiteY488" fmla="*/ 1787783 h 6858054"/>
              <a:gd name="connsiteX489" fmla="*/ 2612560 w 7631184"/>
              <a:gd name="connsiteY489" fmla="*/ 1748706 h 6858054"/>
              <a:gd name="connsiteX490" fmla="*/ 2641866 w 7631184"/>
              <a:gd name="connsiteY490" fmla="*/ 1758475 h 6858054"/>
              <a:gd name="connsiteX491" fmla="*/ 2622214 w 7631184"/>
              <a:gd name="connsiteY491" fmla="*/ 1754338 h 6858054"/>
              <a:gd name="connsiteX492" fmla="*/ 2475799 w 7631184"/>
              <a:gd name="connsiteY492" fmla="*/ 1729168 h 6858054"/>
              <a:gd name="connsiteX493" fmla="*/ 2514874 w 7631184"/>
              <a:gd name="connsiteY493" fmla="*/ 1748706 h 6858054"/>
              <a:gd name="connsiteX494" fmla="*/ 2475799 w 7631184"/>
              <a:gd name="connsiteY494" fmla="*/ 1729168 h 6858054"/>
              <a:gd name="connsiteX495" fmla="*/ 4341 w 7631184"/>
              <a:gd name="connsiteY495" fmla="*/ 1719398 h 6858054"/>
              <a:gd name="connsiteX496" fmla="*/ 33646 w 7631184"/>
              <a:gd name="connsiteY496" fmla="*/ 1719398 h 6858054"/>
              <a:gd name="connsiteX497" fmla="*/ 62952 w 7631184"/>
              <a:gd name="connsiteY497" fmla="*/ 1729168 h 6858054"/>
              <a:gd name="connsiteX498" fmla="*/ 62036 w 7631184"/>
              <a:gd name="connsiteY498" fmla="*/ 1729168 h 6858054"/>
              <a:gd name="connsiteX499" fmla="*/ 4341 w 7631184"/>
              <a:gd name="connsiteY499" fmla="*/ 1729168 h 6858054"/>
              <a:gd name="connsiteX500" fmla="*/ 4341 w 7631184"/>
              <a:gd name="connsiteY500" fmla="*/ 1719398 h 6858054"/>
              <a:gd name="connsiteX501" fmla="*/ 72721 w 7631184"/>
              <a:gd name="connsiteY501" fmla="*/ 1686427 h 6858054"/>
              <a:gd name="connsiteX502" fmla="*/ 92258 w 7631184"/>
              <a:gd name="connsiteY502" fmla="*/ 1690090 h 6858054"/>
              <a:gd name="connsiteX503" fmla="*/ 180176 w 7631184"/>
              <a:gd name="connsiteY503" fmla="*/ 1709629 h 6858054"/>
              <a:gd name="connsiteX504" fmla="*/ 219250 w 7631184"/>
              <a:gd name="connsiteY504" fmla="*/ 1709629 h 6858054"/>
              <a:gd name="connsiteX505" fmla="*/ 297399 w 7631184"/>
              <a:gd name="connsiteY505" fmla="*/ 1719398 h 6858054"/>
              <a:gd name="connsiteX506" fmla="*/ 307168 w 7631184"/>
              <a:gd name="connsiteY506" fmla="*/ 1719398 h 6858054"/>
              <a:gd name="connsiteX507" fmla="*/ 356011 w 7631184"/>
              <a:gd name="connsiteY507" fmla="*/ 1719398 h 6858054"/>
              <a:gd name="connsiteX508" fmla="*/ 414622 w 7631184"/>
              <a:gd name="connsiteY508" fmla="*/ 1729168 h 6858054"/>
              <a:gd name="connsiteX509" fmla="*/ 399969 w 7631184"/>
              <a:gd name="connsiteY509" fmla="*/ 1729168 h 6858054"/>
              <a:gd name="connsiteX510" fmla="*/ 375548 w 7631184"/>
              <a:gd name="connsiteY510" fmla="*/ 1729168 h 6858054"/>
              <a:gd name="connsiteX511" fmla="*/ 209482 w 7631184"/>
              <a:gd name="connsiteY511" fmla="*/ 1719398 h 6858054"/>
              <a:gd name="connsiteX512" fmla="*/ 82489 w 7631184"/>
              <a:gd name="connsiteY512" fmla="*/ 1690090 h 6858054"/>
              <a:gd name="connsiteX513" fmla="*/ 72721 w 7631184"/>
              <a:gd name="connsiteY513" fmla="*/ 1686427 h 6858054"/>
              <a:gd name="connsiteX514" fmla="*/ 2426956 w 7631184"/>
              <a:gd name="connsiteY514" fmla="*/ 1647350 h 6858054"/>
              <a:gd name="connsiteX515" fmla="*/ 2436725 w 7631184"/>
              <a:gd name="connsiteY515" fmla="*/ 1651013 h 6858054"/>
              <a:gd name="connsiteX516" fmla="*/ 2495337 w 7631184"/>
              <a:gd name="connsiteY516" fmla="*/ 1670551 h 6858054"/>
              <a:gd name="connsiteX517" fmla="*/ 2593023 w 7631184"/>
              <a:gd name="connsiteY517" fmla="*/ 1709629 h 6858054"/>
              <a:gd name="connsiteX518" fmla="*/ 2563717 w 7631184"/>
              <a:gd name="connsiteY518" fmla="*/ 1699859 h 6858054"/>
              <a:gd name="connsiteX519" fmla="*/ 2534411 w 7631184"/>
              <a:gd name="connsiteY519" fmla="*/ 1690090 h 6858054"/>
              <a:gd name="connsiteX520" fmla="*/ 2514874 w 7631184"/>
              <a:gd name="connsiteY520" fmla="*/ 1690090 h 6858054"/>
              <a:gd name="connsiteX521" fmla="*/ 2505105 w 7631184"/>
              <a:gd name="connsiteY521" fmla="*/ 1690090 h 6858054"/>
              <a:gd name="connsiteX522" fmla="*/ 2485568 w 7631184"/>
              <a:gd name="connsiteY522" fmla="*/ 1680321 h 6858054"/>
              <a:gd name="connsiteX523" fmla="*/ 2456262 w 7631184"/>
              <a:gd name="connsiteY523" fmla="*/ 1680321 h 6858054"/>
              <a:gd name="connsiteX524" fmla="*/ 2426956 w 7631184"/>
              <a:gd name="connsiteY524" fmla="*/ 1660782 h 6858054"/>
              <a:gd name="connsiteX525" fmla="*/ 2417188 w 7631184"/>
              <a:gd name="connsiteY525" fmla="*/ 1651013 h 6858054"/>
              <a:gd name="connsiteX526" fmla="*/ 2426956 w 7631184"/>
              <a:gd name="connsiteY526" fmla="*/ 1647350 h 6858054"/>
              <a:gd name="connsiteX527" fmla="*/ 2319502 w 7631184"/>
              <a:gd name="connsiteY527" fmla="*/ 1631475 h 6858054"/>
              <a:gd name="connsiteX528" fmla="*/ 2339039 w 7631184"/>
              <a:gd name="connsiteY528" fmla="*/ 1641244 h 6858054"/>
              <a:gd name="connsiteX529" fmla="*/ 2397650 w 7631184"/>
              <a:gd name="connsiteY529" fmla="*/ 1660782 h 6858054"/>
              <a:gd name="connsiteX530" fmla="*/ 2407419 w 7631184"/>
              <a:gd name="connsiteY530" fmla="*/ 1660782 h 6858054"/>
              <a:gd name="connsiteX531" fmla="*/ 2436725 w 7631184"/>
              <a:gd name="connsiteY531" fmla="*/ 1680321 h 6858054"/>
              <a:gd name="connsiteX532" fmla="*/ 2524642 w 7631184"/>
              <a:gd name="connsiteY532" fmla="*/ 1709629 h 6858054"/>
              <a:gd name="connsiteX533" fmla="*/ 2563717 w 7631184"/>
              <a:gd name="connsiteY533" fmla="*/ 1729168 h 6858054"/>
              <a:gd name="connsiteX534" fmla="*/ 2583254 w 7631184"/>
              <a:gd name="connsiteY534" fmla="*/ 1738937 h 6858054"/>
              <a:gd name="connsiteX535" fmla="*/ 2612560 w 7631184"/>
              <a:gd name="connsiteY535" fmla="*/ 1748706 h 6858054"/>
              <a:gd name="connsiteX536" fmla="*/ 2602791 w 7631184"/>
              <a:gd name="connsiteY536" fmla="*/ 1748706 h 6858054"/>
              <a:gd name="connsiteX537" fmla="*/ 2553948 w 7631184"/>
              <a:gd name="connsiteY537" fmla="*/ 1729168 h 6858054"/>
              <a:gd name="connsiteX538" fmla="*/ 2524642 w 7631184"/>
              <a:gd name="connsiteY538" fmla="*/ 1719398 h 6858054"/>
              <a:gd name="connsiteX539" fmla="*/ 2485568 w 7631184"/>
              <a:gd name="connsiteY539" fmla="*/ 1709629 h 6858054"/>
              <a:gd name="connsiteX540" fmla="*/ 2446494 w 7631184"/>
              <a:gd name="connsiteY540" fmla="*/ 1699859 h 6858054"/>
              <a:gd name="connsiteX541" fmla="*/ 2358576 w 7631184"/>
              <a:gd name="connsiteY541" fmla="*/ 1660782 h 6858054"/>
              <a:gd name="connsiteX542" fmla="*/ 2329270 w 7631184"/>
              <a:gd name="connsiteY542" fmla="*/ 1651013 h 6858054"/>
              <a:gd name="connsiteX543" fmla="*/ 2319502 w 7631184"/>
              <a:gd name="connsiteY543" fmla="*/ 1631475 h 6858054"/>
              <a:gd name="connsiteX544" fmla="*/ 1508707 w 7631184"/>
              <a:gd name="connsiteY544" fmla="*/ 1631475 h 6858054"/>
              <a:gd name="connsiteX545" fmla="*/ 1518475 w 7631184"/>
              <a:gd name="connsiteY545" fmla="*/ 1641244 h 6858054"/>
              <a:gd name="connsiteX546" fmla="*/ 1508707 w 7631184"/>
              <a:gd name="connsiteY546" fmla="*/ 1631475 h 6858054"/>
              <a:gd name="connsiteX547" fmla="*/ 2700477 w 7631184"/>
              <a:gd name="connsiteY547" fmla="*/ 1611936 h 6858054"/>
              <a:gd name="connsiteX548" fmla="*/ 2720015 w 7631184"/>
              <a:gd name="connsiteY548" fmla="*/ 1611936 h 6858054"/>
              <a:gd name="connsiteX549" fmla="*/ 2720015 w 7631184"/>
              <a:gd name="connsiteY549" fmla="*/ 1621705 h 6858054"/>
              <a:gd name="connsiteX550" fmla="*/ 2700477 w 7631184"/>
              <a:gd name="connsiteY550" fmla="*/ 1611936 h 6858054"/>
              <a:gd name="connsiteX551" fmla="*/ 2426956 w 7631184"/>
              <a:gd name="connsiteY551" fmla="*/ 1611936 h 6858054"/>
              <a:gd name="connsiteX552" fmla="*/ 2436725 w 7631184"/>
              <a:gd name="connsiteY552" fmla="*/ 1611936 h 6858054"/>
              <a:gd name="connsiteX553" fmla="*/ 2475799 w 7631184"/>
              <a:gd name="connsiteY553" fmla="*/ 1621705 h 6858054"/>
              <a:gd name="connsiteX554" fmla="*/ 2485568 w 7631184"/>
              <a:gd name="connsiteY554" fmla="*/ 1621705 h 6858054"/>
              <a:gd name="connsiteX555" fmla="*/ 2534411 w 7631184"/>
              <a:gd name="connsiteY555" fmla="*/ 1631475 h 6858054"/>
              <a:gd name="connsiteX556" fmla="*/ 2563717 w 7631184"/>
              <a:gd name="connsiteY556" fmla="*/ 1641244 h 6858054"/>
              <a:gd name="connsiteX557" fmla="*/ 2583254 w 7631184"/>
              <a:gd name="connsiteY557" fmla="*/ 1651013 h 6858054"/>
              <a:gd name="connsiteX558" fmla="*/ 2593023 w 7631184"/>
              <a:gd name="connsiteY558" fmla="*/ 1651013 h 6858054"/>
              <a:gd name="connsiteX559" fmla="*/ 2641866 w 7631184"/>
              <a:gd name="connsiteY559" fmla="*/ 1670551 h 6858054"/>
              <a:gd name="connsiteX560" fmla="*/ 2622329 w 7631184"/>
              <a:gd name="connsiteY560" fmla="*/ 1670551 h 6858054"/>
              <a:gd name="connsiteX561" fmla="*/ 2602791 w 7631184"/>
              <a:gd name="connsiteY561" fmla="*/ 1660782 h 6858054"/>
              <a:gd name="connsiteX562" fmla="*/ 2583254 w 7631184"/>
              <a:gd name="connsiteY562" fmla="*/ 1660782 h 6858054"/>
              <a:gd name="connsiteX563" fmla="*/ 2544180 w 7631184"/>
              <a:gd name="connsiteY563" fmla="*/ 1641244 h 6858054"/>
              <a:gd name="connsiteX564" fmla="*/ 2514874 w 7631184"/>
              <a:gd name="connsiteY564" fmla="*/ 1631475 h 6858054"/>
              <a:gd name="connsiteX565" fmla="*/ 2456262 w 7631184"/>
              <a:gd name="connsiteY565" fmla="*/ 1621705 h 6858054"/>
              <a:gd name="connsiteX566" fmla="*/ 2426956 w 7631184"/>
              <a:gd name="connsiteY566" fmla="*/ 1611936 h 6858054"/>
              <a:gd name="connsiteX567" fmla="*/ 2251121 w 7631184"/>
              <a:gd name="connsiteY567" fmla="*/ 1611936 h 6858054"/>
              <a:gd name="connsiteX568" fmla="*/ 2260890 w 7631184"/>
              <a:gd name="connsiteY568" fmla="*/ 1621705 h 6858054"/>
              <a:gd name="connsiteX569" fmla="*/ 2299964 w 7631184"/>
              <a:gd name="connsiteY569" fmla="*/ 1621705 h 6858054"/>
              <a:gd name="connsiteX570" fmla="*/ 2319502 w 7631184"/>
              <a:gd name="connsiteY570" fmla="*/ 1631475 h 6858054"/>
              <a:gd name="connsiteX571" fmla="*/ 2290196 w 7631184"/>
              <a:gd name="connsiteY571" fmla="*/ 1631475 h 6858054"/>
              <a:gd name="connsiteX572" fmla="*/ 2251121 w 7631184"/>
              <a:gd name="connsiteY572" fmla="*/ 1631475 h 6858054"/>
              <a:gd name="connsiteX573" fmla="*/ 2251121 w 7631184"/>
              <a:gd name="connsiteY573" fmla="*/ 1641244 h 6858054"/>
              <a:gd name="connsiteX574" fmla="*/ 2241353 w 7631184"/>
              <a:gd name="connsiteY574" fmla="*/ 1641244 h 6858054"/>
              <a:gd name="connsiteX575" fmla="*/ 2231584 w 7631184"/>
              <a:gd name="connsiteY575" fmla="*/ 1641244 h 6858054"/>
              <a:gd name="connsiteX576" fmla="*/ 2221815 w 7631184"/>
              <a:gd name="connsiteY576" fmla="*/ 1631475 h 6858054"/>
              <a:gd name="connsiteX577" fmla="*/ 2241353 w 7631184"/>
              <a:gd name="connsiteY577" fmla="*/ 1621705 h 6858054"/>
              <a:gd name="connsiteX578" fmla="*/ 2251121 w 7631184"/>
              <a:gd name="connsiteY578" fmla="*/ 1611936 h 6858054"/>
              <a:gd name="connsiteX579" fmla="*/ 1215648 w 7631184"/>
              <a:gd name="connsiteY579" fmla="*/ 1572858 h 6858054"/>
              <a:gd name="connsiteX580" fmla="*/ 1225417 w 7631184"/>
              <a:gd name="connsiteY580" fmla="*/ 1582628 h 6858054"/>
              <a:gd name="connsiteX581" fmla="*/ 1235186 w 7631184"/>
              <a:gd name="connsiteY581" fmla="*/ 1582628 h 6858054"/>
              <a:gd name="connsiteX582" fmla="*/ 1244954 w 7631184"/>
              <a:gd name="connsiteY582" fmla="*/ 1582628 h 6858054"/>
              <a:gd name="connsiteX583" fmla="*/ 1235186 w 7631184"/>
              <a:gd name="connsiteY583" fmla="*/ 1592397 h 6858054"/>
              <a:gd name="connsiteX584" fmla="*/ 1225417 w 7631184"/>
              <a:gd name="connsiteY584" fmla="*/ 1592397 h 6858054"/>
              <a:gd name="connsiteX585" fmla="*/ 1205880 w 7631184"/>
              <a:gd name="connsiteY585" fmla="*/ 1582628 h 6858054"/>
              <a:gd name="connsiteX586" fmla="*/ 1215648 w 7631184"/>
              <a:gd name="connsiteY586" fmla="*/ 1582628 h 6858054"/>
              <a:gd name="connsiteX587" fmla="*/ 1215648 w 7631184"/>
              <a:gd name="connsiteY587" fmla="*/ 1572858 h 6858054"/>
              <a:gd name="connsiteX588" fmla="*/ 512461 w 7631184"/>
              <a:gd name="connsiteY588" fmla="*/ 1441736 h 6858054"/>
              <a:gd name="connsiteX589" fmla="*/ 522077 w 7631184"/>
              <a:gd name="connsiteY589" fmla="*/ 1445857 h 6858054"/>
              <a:gd name="connsiteX590" fmla="*/ 512461 w 7631184"/>
              <a:gd name="connsiteY590" fmla="*/ 1441736 h 6858054"/>
              <a:gd name="connsiteX591" fmla="*/ 1918988 w 7631184"/>
              <a:gd name="connsiteY591" fmla="*/ 1299318 h 6858054"/>
              <a:gd name="connsiteX592" fmla="*/ 1928757 w 7631184"/>
              <a:gd name="connsiteY592" fmla="*/ 1309087 h 6858054"/>
              <a:gd name="connsiteX593" fmla="*/ 1918988 w 7631184"/>
              <a:gd name="connsiteY593" fmla="*/ 1309087 h 6858054"/>
              <a:gd name="connsiteX594" fmla="*/ 1918988 w 7631184"/>
              <a:gd name="connsiteY594" fmla="*/ 1299318 h 6858054"/>
              <a:gd name="connsiteX595" fmla="*/ 1860377 w 7631184"/>
              <a:gd name="connsiteY595" fmla="*/ 1230933 h 6858054"/>
              <a:gd name="connsiteX596" fmla="*/ 1879914 w 7631184"/>
              <a:gd name="connsiteY596" fmla="*/ 1240702 h 6858054"/>
              <a:gd name="connsiteX597" fmla="*/ 1860377 w 7631184"/>
              <a:gd name="connsiteY597" fmla="*/ 1230933 h 6858054"/>
              <a:gd name="connsiteX598" fmla="*/ 4175538 w 7631184"/>
              <a:gd name="connsiteY598" fmla="*/ 1191855 h 6858054"/>
              <a:gd name="connsiteX599" fmla="*/ 4195075 w 7631184"/>
              <a:gd name="connsiteY599" fmla="*/ 1201625 h 6858054"/>
              <a:gd name="connsiteX600" fmla="*/ 4188817 w 7631184"/>
              <a:gd name="connsiteY600" fmla="*/ 1198572 h 6858054"/>
              <a:gd name="connsiteX601" fmla="*/ 4174339 w 7631184"/>
              <a:gd name="connsiteY601" fmla="*/ 1191866 h 6858054"/>
              <a:gd name="connsiteX602" fmla="*/ 1767575 w 7631184"/>
              <a:gd name="connsiteY602" fmla="*/ 1077066 h 6858054"/>
              <a:gd name="connsiteX603" fmla="*/ 1762691 w 7631184"/>
              <a:gd name="connsiteY603" fmla="*/ 1084393 h 6858054"/>
              <a:gd name="connsiteX604" fmla="*/ 1772459 w 7631184"/>
              <a:gd name="connsiteY604" fmla="*/ 1084393 h 6858054"/>
              <a:gd name="connsiteX605" fmla="*/ 1767575 w 7631184"/>
              <a:gd name="connsiteY605" fmla="*/ 1077066 h 6858054"/>
              <a:gd name="connsiteX606" fmla="*/ 1612498 w 7631184"/>
              <a:gd name="connsiteY606" fmla="*/ 1070960 h 6858054"/>
              <a:gd name="connsiteX607" fmla="*/ 1625930 w 7631184"/>
              <a:gd name="connsiteY607" fmla="*/ 1074624 h 6858054"/>
              <a:gd name="connsiteX608" fmla="*/ 1635699 w 7631184"/>
              <a:gd name="connsiteY608" fmla="*/ 1074624 h 6858054"/>
              <a:gd name="connsiteX609" fmla="*/ 1655236 w 7631184"/>
              <a:gd name="connsiteY609" fmla="*/ 1084393 h 6858054"/>
              <a:gd name="connsiteX610" fmla="*/ 1665005 w 7631184"/>
              <a:gd name="connsiteY610" fmla="*/ 1084393 h 6858054"/>
              <a:gd name="connsiteX611" fmla="*/ 1674773 w 7631184"/>
              <a:gd name="connsiteY611" fmla="*/ 1084393 h 6858054"/>
              <a:gd name="connsiteX612" fmla="*/ 1713848 w 7631184"/>
              <a:gd name="connsiteY612" fmla="*/ 1084393 h 6858054"/>
              <a:gd name="connsiteX613" fmla="*/ 1723616 w 7631184"/>
              <a:gd name="connsiteY613" fmla="*/ 1094162 h 6858054"/>
              <a:gd name="connsiteX614" fmla="*/ 1762691 w 7631184"/>
              <a:gd name="connsiteY614" fmla="*/ 1113701 h 6858054"/>
              <a:gd name="connsiteX615" fmla="*/ 1713848 w 7631184"/>
              <a:gd name="connsiteY615" fmla="*/ 1103932 h 6858054"/>
              <a:gd name="connsiteX616" fmla="*/ 1704079 w 7631184"/>
              <a:gd name="connsiteY616" fmla="*/ 1103932 h 6858054"/>
              <a:gd name="connsiteX617" fmla="*/ 1694310 w 7631184"/>
              <a:gd name="connsiteY617" fmla="*/ 1103932 h 6858054"/>
              <a:gd name="connsiteX618" fmla="*/ 1665005 w 7631184"/>
              <a:gd name="connsiteY618" fmla="*/ 1103932 h 6858054"/>
              <a:gd name="connsiteX619" fmla="*/ 1645467 w 7631184"/>
              <a:gd name="connsiteY619" fmla="*/ 1094162 h 6858054"/>
              <a:gd name="connsiteX620" fmla="*/ 1625930 w 7631184"/>
              <a:gd name="connsiteY620" fmla="*/ 1094162 h 6858054"/>
              <a:gd name="connsiteX621" fmla="*/ 1616162 w 7631184"/>
              <a:gd name="connsiteY621" fmla="*/ 1084393 h 6858054"/>
              <a:gd name="connsiteX622" fmla="*/ 1596624 w 7631184"/>
              <a:gd name="connsiteY622" fmla="*/ 1084393 h 6858054"/>
              <a:gd name="connsiteX623" fmla="*/ 1577087 w 7631184"/>
              <a:gd name="connsiteY623" fmla="*/ 1084393 h 6858054"/>
              <a:gd name="connsiteX624" fmla="*/ 1596624 w 7631184"/>
              <a:gd name="connsiteY624" fmla="*/ 1074624 h 6858054"/>
              <a:gd name="connsiteX625" fmla="*/ 1606393 w 7631184"/>
              <a:gd name="connsiteY625" fmla="*/ 1074624 h 6858054"/>
              <a:gd name="connsiteX626" fmla="*/ 1612498 w 7631184"/>
              <a:gd name="connsiteY626" fmla="*/ 1070960 h 6858054"/>
              <a:gd name="connsiteX627" fmla="*/ 4400216 w 7631184"/>
              <a:gd name="connsiteY627" fmla="*/ 986700 h 6858054"/>
              <a:gd name="connsiteX628" fmla="*/ 4400216 w 7631184"/>
              <a:gd name="connsiteY628" fmla="*/ 996469 h 6858054"/>
              <a:gd name="connsiteX629" fmla="*/ 4400216 w 7631184"/>
              <a:gd name="connsiteY629" fmla="*/ 986700 h 6858054"/>
              <a:gd name="connsiteX630" fmla="*/ 1586856 w 7631184"/>
              <a:gd name="connsiteY630" fmla="*/ 976931 h 6858054"/>
              <a:gd name="connsiteX631" fmla="*/ 1655236 w 7631184"/>
              <a:gd name="connsiteY631" fmla="*/ 996469 h 6858054"/>
              <a:gd name="connsiteX632" fmla="*/ 1665005 w 7631184"/>
              <a:gd name="connsiteY632" fmla="*/ 996469 h 6858054"/>
              <a:gd name="connsiteX633" fmla="*/ 1704079 w 7631184"/>
              <a:gd name="connsiteY633" fmla="*/ 1006239 h 6858054"/>
              <a:gd name="connsiteX634" fmla="*/ 1684542 w 7631184"/>
              <a:gd name="connsiteY634" fmla="*/ 1006239 h 6858054"/>
              <a:gd name="connsiteX635" fmla="*/ 1665005 w 7631184"/>
              <a:gd name="connsiteY635" fmla="*/ 1006239 h 6858054"/>
              <a:gd name="connsiteX636" fmla="*/ 1625930 w 7631184"/>
              <a:gd name="connsiteY636" fmla="*/ 996469 h 6858054"/>
              <a:gd name="connsiteX637" fmla="*/ 1606393 w 7631184"/>
              <a:gd name="connsiteY637" fmla="*/ 986700 h 6858054"/>
              <a:gd name="connsiteX638" fmla="*/ 1586856 w 7631184"/>
              <a:gd name="connsiteY638" fmla="*/ 976931 h 6858054"/>
              <a:gd name="connsiteX639" fmla="*/ 1860377 w 7631184"/>
              <a:gd name="connsiteY639" fmla="*/ 859699 h 6858054"/>
              <a:gd name="connsiteX640" fmla="*/ 1879914 w 7631184"/>
              <a:gd name="connsiteY640" fmla="*/ 859699 h 6858054"/>
              <a:gd name="connsiteX641" fmla="*/ 1899451 w 7631184"/>
              <a:gd name="connsiteY641" fmla="*/ 869468 h 6858054"/>
              <a:gd name="connsiteX642" fmla="*/ 1909220 w 7631184"/>
              <a:gd name="connsiteY642" fmla="*/ 869468 h 6858054"/>
              <a:gd name="connsiteX643" fmla="*/ 1928757 w 7631184"/>
              <a:gd name="connsiteY643" fmla="*/ 879238 h 6858054"/>
              <a:gd name="connsiteX644" fmla="*/ 1918988 w 7631184"/>
              <a:gd name="connsiteY644" fmla="*/ 879238 h 6858054"/>
              <a:gd name="connsiteX645" fmla="*/ 1909220 w 7631184"/>
              <a:gd name="connsiteY645" fmla="*/ 879238 h 6858054"/>
              <a:gd name="connsiteX646" fmla="*/ 1889683 w 7631184"/>
              <a:gd name="connsiteY646" fmla="*/ 869468 h 6858054"/>
              <a:gd name="connsiteX647" fmla="*/ 1870145 w 7631184"/>
              <a:gd name="connsiteY647" fmla="*/ 869468 h 6858054"/>
              <a:gd name="connsiteX648" fmla="*/ 1860377 w 7631184"/>
              <a:gd name="connsiteY648" fmla="*/ 859699 h 6858054"/>
              <a:gd name="connsiteX649" fmla="*/ 2329270 w 7631184"/>
              <a:gd name="connsiteY649" fmla="*/ 644774 h 6858054"/>
              <a:gd name="connsiteX650" fmla="*/ 2330491 w 7631184"/>
              <a:gd name="connsiteY650" fmla="*/ 645995 h 6858054"/>
              <a:gd name="connsiteX651" fmla="*/ 2336872 w 7631184"/>
              <a:gd name="connsiteY651" fmla="*/ 652377 h 6858054"/>
              <a:gd name="connsiteX652" fmla="*/ 2337818 w 7631184"/>
              <a:gd name="connsiteY652" fmla="*/ 653322 h 6858054"/>
              <a:gd name="connsiteX653" fmla="*/ 2339039 w 7631184"/>
              <a:gd name="connsiteY653" fmla="*/ 654543 h 6858054"/>
              <a:gd name="connsiteX654" fmla="*/ 2336872 w 7631184"/>
              <a:gd name="connsiteY654" fmla="*/ 652377 h 6858054"/>
              <a:gd name="connsiteX655" fmla="*/ 1577087 w 7631184"/>
              <a:gd name="connsiteY655" fmla="*/ 644774 h 6858054"/>
              <a:gd name="connsiteX656" fmla="*/ 1596624 w 7631184"/>
              <a:gd name="connsiteY656" fmla="*/ 644774 h 6858054"/>
              <a:gd name="connsiteX657" fmla="*/ 1625930 w 7631184"/>
              <a:gd name="connsiteY657" fmla="*/ 644774 h 6858054"/>
              <a:gd name="connsiteX658" fmla="*/ 1655236 w 7631184"/>
              <a:gd name="connsiteY658" fmla="*/ 654543 h 6858054"/>
              <a:gd name="connsiteX659" fmla="*/ 1645467 w 7631184"/>
              <a:gd name="connsiteY659" fmla="*/ 654543 h 6858054"/>
              <a:gd name="connsiteX660" fmla="*/ 1596624 w 7631184"/>
              <a:gd name="connsiteY660" fmla="*/ 654543 h 6858054"/>
              <a:gd name="connsiteX661" fmla="*/ 1577087 w 7631184"/>
              <a:gd name="connsiteY661" fmla="*/ 644774 h 6858054"/>
              <a:gd name="connsiteX662" fmla="*/ 1928757 w 7631184"/>
              <a:gd name="connsiteY662" fmla="*/ 635005 h 6858054"/>
              <a:gd name="connsiteX663" fmla="*/ 1948294 w 7631184"/>
              <a:gd name="connsiteY663" fmla="*/ 635005 h 6858054"/>
              <a:gd name="connsiteX664" fmla="*/ 2006906 w 7631184"/>
              <a:gd name="connsiteY664" fmla="*/ 654543 h 6858054"/>
              <a:gd name="connsiteX665" fmla="*/ 2016675 w 7631184"/>
              <a:gd name="connsiteY665" fmla="*/ 654543 h 6858054"/>
              <a:gd name="connsiteX666" fmla="*/ 2026443 w 7631184"/>
              <a:gd name="connsiteY666" fmla="*/ 664313 h 6858054"/>
              <a:gd name="connsiteX667" fmla="*/ 2026443 w 7631184"/>
              <a:gd name="connsiteY667" fmla="*/ 674082 h 6858054"/>
              <a:gd name="connsiteX668" fmla="*/ 2016675 w 7631184"/>
              <a:gd name="connsiteY668" fmla="*/ 664313 h 6858054"/>
              <a:gd name="connsiteX669" fmla="*/ 2006906 w 7631184"/>
              <a:gd name="connsiteY669" fmla="*/ 664313 h 6858054"/>
              <a:gd name="connsiteX670" fmla="*/ 1958063 w 7631184"/>
              <a:gd name="connsiteY670" fmla="*/ 654543 h 6858054"/>
              <a:gd name="connsiteX671" fmla="*/ 1987369 w 7631184"/>
              <a:gd name="connsiteY671" fmla="*/ 654543 h 6858054"/>
              <a:gd name="connsiteX672" fmla="*/ 1928757 w 7631184"/>
              <a:gd name="connsiteY672" fmla="*/ 635005 h 6858054"/>
              <a:gd name="connsiteX673" fmla="*/ 1811534 w 7631184"/>
              <a:gd name="connsiteY673" fmla="*/ 625236 h 6858054"/>
              <a:gd name="connsiteX674" fmla="*/ 1821302 w 7631184"/>
              <a:gd name="connsiteY674" fmla="*/ 625236 h 6858054"/>
              <a:gd name="connsiteX675" fmla="*/ 1840840 w 7631184"/>
              <a:gd name="connsiteY675" fmla="*/ 625236 h 6858054"/>
              <a:gd name="connsiteX676" fmla="*/ 1850608 w 7631184"/>
              <a:gd name="connsiteY676" fmla="*/ 625236 h 6858054"/>
              <a:gd name="connsiteX677" fmla="*/ 1860377 w 7631184"/>
              <a:gd name="connsiteY677" fmla="*/ 635005 h 6858054"/>
              <a:gd name="connsiteX678" fmla="*/ 1889683 w 7631184"/>
              <a:gd name="connsiteY678" fmla="*/ 635005 h 6858054"/>
              <a:gd name="connsiteX679" fmla="*/ 1918988 w 7631184"/>
              <a:gd name="connsiteY679" fmla="*/ 644774 h 6858054"/>
              <a:gd name="connsiteX680" fmla="*/ 1928757 w 7631184"/>
              <a:gd name="connsiteY680" fmla="*/ 644774 h 6858054"/>
              <a:gd name="connsiteX681" fmla="*/ 1958063 w 7631184"/>
              <a:gd name="connsiteY681" fmla="*/ 654543 h 6858054"/>
              <a:gd name="connsiteX682" fmla="*/ 1938526 w 7631184"/>
              <a:gd name="connsiteY682" fmla="*/ 654543 h 6858054"/>
              <a:gd name="connsiteX683" fmla="*/ 1889683 w 7631184"/>
              <a:gd name="connsiteY683" fmla="*/ 644774 h 6858054"/>
              <a:gd name="connsiteX684" fmla="*/ 1840840 w 7631184"/>
              <a:gd name="connsiteY684" fmla="*/ 635005 h 6858054"/>
              <a:gd name="connsiteX685" fmla="*/ 1811534 w 7631184"/>
              <a:gd name="connsiteY685" fmla="*/ 625236 h 6858054"/>
              <a:gd name="connsiteX686" fmla="*/ 1752922 w 7631184"/>
              <a:gd name="connsiteY686" fmla="*/ 615466 h 6858054"/>
              <a:gd name="connsiteX687" fmla="*/ 1762691 w 7631184"/>
              <a:gd name="connsiteY687" fmla="*/ 615466 h 6858054"/>
              <a:gd name="connsiteX688" fmla="*/ 1772459 w 7631184"/>
              <a:gd name="connsiteY688" fmla="*/ 615466 h 6858054"/>
              <a:gd name="connsiteX689" fmla="*/ 1791997 w 7631184"/>
              <a:gd name="connsiteY689" fmla="*/ 615466 h 6858054"/>
              <a:gd name="connsiteX690" fmla="*/ 1801765 w 7631184"/>
              <a:gd name="connsiteY690" fmla="*/ 615466 h 6858054"/>
              <a:gd name="connsiteX691" fmla="*/ 1811534 w 7631184"/>
              <a:gd name="connsiteY691" fmla="*/ 625236 h 6858054"/>
              <a:gd name="connsiteX692" fmla="*/ 1772459 w 7631184"/>
              <a:gd name="connsiteY692" fmla="*/ 625236 h 6858054"/>
              <a:gd name="connsiteX693" fmla="*/ 1752922 w 7631184"/>
              <a:gd name="connsiteY693" fmla="*/ 615466 h 6858054"/>
              <a:gd name="connsiteX694" fmla="*/ 1971495 w 7631184"/>
              <a:gd name="connsiteY694" fmla="*/ 500677 h 6858054"/>
              <a:gd name="connsiteX695" fmla="*/ 1967832 w 7631184"/>
              <a:gd name="connsiteY695" fmla="*/ 508004 h 6858054"/>
              <a:gd name="connsiteX696" fmla="*/ 1948294 w 7631184"/>
              <a:gd name="connsiteY696" fmla="*/ 508004 h 6858054"/>
              <a:gd name="connsiteX697" fmla="*/ 1987369 w 7631184"/>
              <a:gd name="connsiteY697" fmla="*/ 517773 h 6858054"/>
              <a:gd name="connsiteX698" fmla="*/ 2016675 w 7631184"/>
              <a:gd name="connsiteY698" fmla="*/ 517773 h 6858054"/>
              <a:gd name="connsiteX699" fmla="*/ 2026443 w 7631184"/>
              <a:gd name="connsiteY699" fmla="*/ 517773 h 6858054"/>
              <a:gd name="connsiteX700" fmla="*/ 2036212 w 7631184"/>
              <a:gd name="connsiteY700" fmla="*/ 517773 h 6858054"/>
              <a:gd name="connsiteX701" fmla="*/ 1997137 w 7631184"/>
              <a:gd name="connsiteY701" fmla="*/ 508004 h 6858054"/>
              <a:gd name="connsiteX702" fmla="*/ 1971495 w 7631184"/>
              <a:gd name="connsiteY702" fmla="*/ 500677 h 6858054"/>
              <a:gd name="connsiteX703" fmla="*/ 1489170 w 7631184"/>
              <a:gd name="connsiteY703" fmla="*/ 381003 h 6858054"/>
              <a:gd name="connsiteX704" fmla="*/ 1508707 w 7631184"/>
              <a:gd name="connsiteY704" fmla="*/ 381003 h 6858054"/>
              <a:gd name="connsiteX705" fmla="*/ 1567319 w 7631184"/>
              <a:gd name="connsiteY705" fmla="*/ 390772 h 6858054"/>
              <a:gd name="connsiteX706" fmla="*/ 1557550 w 7631184"/>
              <a:gd name="connsiteY706" fmla="*/ 390772 h 6858054"/>
              <a:gd name="connsiteX707" fmla="*/ 1498938 w 7631184"/>
              <a:gd name="connsiteY707" fmla="*/ 390772 h 6858054"/>
              <a:gd name="connsiteX708" fmla="*/ 1489170 w 7631184"/>
              <a:gd name="connsiteY708" fmla="*/ 381003 h 6858054"/>
              <a:gd name="connsiteX709" fmla="*/ 3237751 w 7631184"/>
              <a:gd name="connsiteY709" fmla="*/ 341926 h 6858054"/>
              <a:gd name="connsiteX710" fmla="*/ 3247520 w 7631184"/>
              <a:gd name="connsiteY710" fmla="*/ 351695 h 6858054"/>
              <a:gd name="connsiteX711" fmla="*/ 3237751 w 7631184"/>
              <a:gd name="connsiteY711" fmla="*/ 341926 h 6858054"/>
              <a:gd name="connsiteX712" fmla="*/ 1538013 w 7631184"/>
              <a:gd name="connsiteY712" fmla="*/ 322387 h 6858054"/>
              <a:gd name="connsiteX713" fmla="*/ 1567319 w 7631184"/>
              <a:gd name="connsiteY713" fmla="*/ 322387 h 6858054"/>
              <a:gd name="connsiteX714" fmla="*/ 1577087 w 7631184"/>
              <a:gd name="connsiteY714" fmla="*/ 322387 h 6858054"/>
              <a:gd name="connsiteX715" fmla="*/ 1586856 w 7631184"/>
              <a:gd name="connsiteY715" fmla="*/ 332156 h 6858054"/>
              <a:gd name="connsiteX716" fmla="*/ 1557550 w 7631184"/>
              <a:gd name="connsiteY716" fmla="*/ 332156 h 6858054"/>
              <a:gd name="connsiteX717" fmla="*/ 1547781 w 7631184"/>
              <a:gd name="connsiteY717" fmla="*/ 332156 h 6858054"/>
              <a:gd name="connsiteX718" fmla="*/ 1528244 w 7631184"/>
              <a:gd name="connsiteY718" fmla="*/ 332156 h 6858054"/>
              <a:gd name="connsiteX719" fmla="*/ 1538013 w 7631184"/>
              <a:gd name="connsiteY719" fmla="*/ 322387 h 6858054"/>
              <a:gd name="connsiteX720" fmla="*/ 1541676 w 7631184"/>
              <a:gd name="connsiteY720" fmla="*/ 308954 h 6858054"/>
              <a:gd name="connsiteX721" fmla="*/ 1547781 w 7631184"/>
              <a:gd name="connsiteY721" fmla="*/ 312618 h 6858054"/>
              <a:gd name="connsiteX722" fmla="*/ 1539234 w 7631184"/>
              <a:gd name="connsiteY722" fmla="*/ 312618 h 6858054"/>
              <a:gd name="connsiteX723" fmla="*/ 1528244 w 7631184"/>
              <a:gd name="connsiteY723" fmla="*/ 312618 h 6858054"/>
              <a:gd name="connsiteX724" fmla="*/ 1541676 w 7631184"/>
              <a:gd name="connsiteY724" fmla="*/ 308954 h 6858054"/>
              <a:gd name="connsiteX725" fmla="*/ 1518475 w 7631184"/>
              <a:gd name="connsiteY725" fmla="*/ 302849 h 6858054"/>
              <a:gd name="connsiteX726" fmla="*/ 1528244 w 7631184"/>
              <a:gd name="connsiteY726" fmla="*/ 312618 h 6858054"/>
              <a:gd name="connsiteX727" fmla="*/ 1518475 w 7631184"/>
              <a:gd name="connsiteY727" fmla="*/ 312618 h 6858054"/>
              <a:gd name="connsiteX728" fmla="*/ 1518475 w 7631184"/>
              <a:gd name="connsiteY728" fmla="*/ 302849 h 6858054"/>
              <a:gd name="connsiteX729" fmla="*/ 1453758 w 7631184"/>
              <a:gd name="connsiteY729" fmla="*/ 221031 h 6858054"/>
              <a:gd name="connsiteX730" fmla="*/ 1479401 w 7631184"/>
              <a:gd name="connsiteY730" fmla="*/ 224694 h 6858054"/>
              <a:gd name="connsiteX731" fmla="*/ 1469632 w 7631184"/>
              <a:gd name="connsiteY731" fmla="*/ 224694 h 6858054"/>
              <a:gd name="connsiteX732" fmla="*/ 1469632 w 7631184"/>
              <a:gd name="connsiteY732" fmla="*/ 234463 h 6858054"/>
              <a:gd name="connsiteX733" fmla="*/ 1430558 w 7631184"/>
              <a:gd name="connsiteY733" fmla="*/ 234463 h 6858054"/>
              <a:gd name="connsiteX734" fmla="*/ 1440327 w 7631184"/>
              <a:gd name="connsiteY734" fmla="*/ 224694 h 6858054"/>
              <a:gd name="connsiteX735" fmla="*/ 1450095 w 7631184"/>
              <a:gd name="connsiteY735" fmla="*/ 224694 h 6858054"/>
              <a:gd name="connsiteX736" fmla="*/ 1453758 w 7631184"/>
              <a:gd name="connsiteY736" fmla="*/ 221031 h 6858054"/>
              <a:gd name="connsiteX737" fmla="*/ 2165775 w 7631184"/>
              <a:gd name="connsiteY737" fmla="*/ 188188 h 6858054"/>
              <a:gd name="connsiteX738" fmla="*/ 2192510 w 7631184"/>
              <a:gd name="connsiteY738" fmla="*/ 195386 h 6858054"/>
              <a:gd name="connsiteX739" fmla="*/ 2172972 w 7631184"/>
              <a:gd name="connsiteY739" fmla="*/ 195386 h 6858054"/>
              <a:gd name="connsiteX740" fmla="*/ 2168088 w 7631184"/>
              <a:gd name="connsiteY740" fmla="*/ 190502 h 6858054"/>
              <a:gd name="connsiteX741" fmla="*/ 2163204 w 7631184"/>
              <a:gd name="connsiteY741" fmla="*/ 185617 h 6858054"/>
              <a:gd name="connsiteX742" fmla="*/ 2165775 w 7631184"/>
              <a:gd name="connsiteY742" fmla="*/ 188188 h 6858054"/>
              <a:gd name="connsiteX743" fmla="*/ 2163483 w 7631184"/>
              <a:gd name="connsiteY743" fmla="*/ 187571 h 6858054"/>
              <a:gd name="connsiteX744" fmla="*/ 1635699 w 7631184"/>
              <a:gd name="connsiteY744" fmla="*/ 127001 h 6858054"/>
              <a:gd name="connsiteX745" fmla="*/ 1645467 w 7631184"/>
              <a:gd name="connsiteY745" fmla="*/ 127001 h 6858054"/>
              <a:gd name="connsiteX746" fmla="*/ 1655236 w 7631184"/>
              <a:gd name="connsiteY746" fmla="*/ 127001 h 6858054"/>
              <a:gd name="connsiteX747" fmla="*/ 1674773 w 7631184"/>
              <a:gd name="connsiteY747" fmla="*/ 136770 h 6858054"/>
              <a:gd name="connsiteX748" fmla="*/ 1661341 w 7631184"/>
              <a:gd name="connsiteY748" fmla="*/ 136770 h 6858054"/>
              <a:gd name="connsiteX749" fmla="*/ 1645467 w 7631184"/>
              <a:gd name="connsiteY749" fmla="*/ 136770 h 6858054"/>
              <a:gd name="connsiteX750" fmla="*/ 1635699 w 7631184"/>
              <a:gd name="connsiteY750" fmla="*/ 127001 h 6858054"/>
              <a:gd name="connsiteX751" fmla="*/ 1977600 w 7631184"/>
              <a:gd name="connsiteY751" fmla="*/ 117232 h 6858054"/>
              <a:gd name="connsiteX752" fmla="*/ 1987369 w 7631184"/>
              <a:gd name="connsiteY752" fmla="*/ 117232 h 6858054"/>
              <a:gd name="connsiteX753" fmla="*/ 1977600 w 7631184"/>
              <a:gd name="connsiteY753" fmla="*/ 117232 h 6858054"/>
              <a:gd name="connsiteX754" fmla="*/ 1909220 w 7631184"/>
              <a:gd name="connsiteY754" fmla="*/ 107462 h 6858054"/>
              <a:gd name="connsiteX755" fmla="*/ 1938526 w 7631184"/>
              <a:gd name="connsiteY755" fmla="*/ 107462 h 6858054"/>
              <a:gd name="connsiteX756" fmla="*/ 1948294 w 7631184"/>
              <a:gd name="connsiteY756" fmla="*/ 107462 h 6858054"/>
              <a:gd name="connsiteX757" fmla="*/ 1967832 w 7631184"/>
              <a:gd name="connsiteY757" fmla="*/ 117232 h 6858054"/>
              <a:gd name="connsiteX758" fmla="*/ 1958063 w 7631184"/>
              <a:gd name="connsiteY758" fmla="*/ 117232 h 6858054"/>
              <a:gd name="connsiteX759" fmla="*/ 1948294 w 7631184"/>
              <a:gd name="connsiteY759" fmla="*/ 117232 h 6858054"/>
              <a:gd name="connsiteX760" fmla="*/ 1928757 w 7631184"/>
              <a:gd name="connsiteY760" fmla="*/ 117232 h 6858054"/>
              <a:gd name="connsiteX761" fmla="*/ 1909220 w 7631184"/>
              <a:gd name="connsiteY761" fmla="*/ 107462 h 6858054"/>
              <a:gd name="connsiteX762" fmla="*/ 1704079 w 7631184"/>
              <a:gd name="connsiteY762" fmla="*/ 107462 h 6858054"/>
              <a:gd name="connsiteX763" fmla="*/ 1713848 w 7631184"/>
              <a:gd name="connsiteY763" fmla="*/ 107462 h 6858054"/>
              <a:gd name="connsiteX764" fmla="*/ 1743154 w 7631184"/>
              <a:gd name="connsiteY764" fmla="*/ 107462 h 6858054"/>
              <a:gd name="connsiteX765" fmla="*/ 1762691 w 7631184"/>
              <a:gd name="connsiteY765" fmla="*/ 107462 h 6858054"/>
              <a:gd name="connsiteX766" fmla="*/ 1772459 w 7631184"/>
              <a:gd name="connsiteY766" fmla="*/ 117232 h 6858054"/>
              <a:gd name="connsiteX767" fmla="*/ 1801765 w 7631184"/>
              <a:gd name="connsiteY767" fmla="*/ 117232 h 6858054"/>
              <a:gd name="connsiteX768" fmla="*/ 1821302 w 7631184"/>
              <a:gd name="connsiteY768" fmla="*/ 117232 h 6858054"/>
              <a:gd name="connsiteX769" fmla="*/ 1831071 w 7631184"/>
              <a:gd name="connsiteY769" fmla="*/ 117232 h 6858054"/>
              <a:gd name="connsiteX770" fmla="*/ 1840840 w 7631184"/>
              <a:gd name="connsiteY770" fmla="*/ 117232 h 6858054"/>
              <a:gd name="connsiteX771" fmla="*/ 1870145 w 7631184"/>
              <a:gd name="connsiteY771" fmla="*/ 127001 h 6858054"/>
              <a:gd name="connsiteX772" fmla="*/ 1899451 w 7631184"/>
              <a:gd name="connsiteY772" fmla="*/ 127001 h 6858054"/>
              <a:gd name="connsiteX773" fmla="*/ 1909220 w 7631184"/>
              <a:gd name="connsiteY773" fmla="*/ 127001 h 6858054"/>
              <a:gd name="connsiteX774" fmla="*/ 1918988 w 7631184"/>
              <a:gd name="connsiteY774" fmla="*/ 136770 h 6858054"/>
              <a:gd name="connsiteX775" fmla="*/ 1928757 w 7631184"/>
              <a:gd name="connsiteY775" fmla="*/ 136770 h 6858054"/>
              <a:gd name="connsiteX776" fmla="*/ 1938526 w 7631184"/>
              <a:gd name="connsiteY776" fmla="*/ 136770 h 6858054"/>
              <a:gd name="connsiteX777" fmla="*/ 1938526 w 7631184"/>
              <a:gd name="connsiteY777" fmla="*/ 146540 h 6858054"/>
              <a:gd name="connsiteX778" fmla="*/ 1948294 w 7631184"/>
              <a:gd name="connsiteY778" fmla="*/ 146540 h 6858054"/>
              <a:gd name="connsiteX779" fmla="*/ 2006906 w 7631184"/>
              <a:gd name="connsiteY779" fmla="*/ 166078 h 6858054"/>
              <a:gd name="connsiteX780" fmla="*/ 2036212 w 7631184"/>
              <a:gd name="connsiteY780" fmla="*/ 166078 h 6858054"/>
              <a:gd name="connsiteX781" fmla="*/ 2045980 w 7631184"/>
              <a:gd name="connsiteY781" fmla="*/ 175848 h 6858054"/>
              <a:gd name="connsiteX782" fmla="*/ 2055749 w 7631184"/>
              <a:gd name="connsiteY782" fmla="*/ 175848 h 6858054"/>
              <a:gd name="connsiteX783" fmla="*/ 2065518 w 7631184"/>
              <a:gd name="connsiteY783" fmla="*/ 175848 h 6858054"/>
              <a:gd name="connsiteX784" fmla="*/ 2075286 w 7631184"/>
              <a:gd name="connsiteY784" fmla="*/ 175848 h 6858054"/>
              <a:gd name="connsiteX785" fmla="*/ 2114361 w 7631184"/>
              <a:gd name="connsiteY785" fmla="*/ 185617 h 6858054"/>
              <a:gd name="connsiteX786" fmla="*/ 2143667 w 7631184"/>
              <a:gd name="connsiteY786" fmla="*/ 185617 h 6858054"/>
              <a:gd name="connsiteX787" fmla="*/ 2160762 w 7631184"/>
              <a:gd name="connsiteY787" fmla="*/ 186838 h 6858054"/>
              <a:gd name="connsiteX788" fmla="*/ 2163483 w 7631184"/>
              <a:gd name="connsiteY788" fmla="*/ 187571 h 6858054"/>
              <a:gd name="connsiteX789" fmla="*/ 2164425 w 7631184"/>
              <a:gd name="connsiteY789" fmla="*/ 194165 h 6858054"/>
              <a:gd name="connsiteX790" fmla="*/ 2172972 w 7631184"/>
              <a:gd name="connsiteY790" fmla="*/ 195386 h 6858054"/>
              <a:gd name="connsiteX791" fmla="*/ 2143667 w 7631184"/>
              <a:gd name="connsiteY791" fmla="*/ 195386 h 6858054"/>
              <a:gd name="connsiteX792" fmla="*/ 2133898 w 7631184"/>
              <a:gd name="connsiteY792" fmla="*/ 195386 h 6858054"/>
              <a:gd name="connsiteX793" fmla="*/ 2124129 w 7631184"/>
              <a:gd name="connsiteY793" fmla="*/ 195386 h 6858054"/>
              <a:gd name="connsiteX794" fmla="*/ 2094824 w 7631184"/>
              <a:gd name="connsiteY794" fmla="*/ 185617 h 6858054"/>
              <a:gd name="connsiteX795" fmla="*/ 2085055 w 7631184"/>
              <a:gd name="connsiteY795" fmla="*/ 185617 h 6858054"/>
              <a:gd name="connsiteX796" fmla="*/ 2075286 w 7631184"/>
              <a:gd name="connsiteY796" fmla="*/ 185617 h 6858054"/>
              <a:gd name="connsiteX797" fmla="*/ 2055749 w 7631184"/>
              <a:gd name="connsiteY797" fmla="*/ 185617 h 6858054"/>
              <a:gd name="connsiteX798" fmla="*/ 2016675 w 7631184"/>
              <a:gd name="connsiteY798" fmla="*/ 175848 h 6858054"/>
              <a:gd name="connsiteX799" fmla="*/ 1997137 w 7631184"/>
              <a:gd name="connsiteY799" fmla="*/ 166078 h 6858054"/>
              <a:gd name="connsiteX800" fmla="*/ 1987369 w 7631184"/>
              <a:gd name="connsiteY800" fmla="*/ 166078 h 6858054"/>
              <a:gd name="connsiteX801" fmla="*/ 1967832 w 7631184"/>
              <a:gd name="connsiteY801" fmla="*/ 166078 h 6858054"/>
              <a:gd name="connsiteX802" fmla="*/ 1958063 w 7631184"/>
              <a:gd name="connsiteY802" fmla="*/ 166078 h 6858054"/>
              <a:gd name="connsiteX803" fmla="*/ 1938526 w 7631184"/>
              <a:gd name="connsiteY803" fmla="*/ 156309 h 6858054"/>
              <a:gd name="connsiteX804" fmla="*/ 1928757 w 7631184"/>
              <a:gd name="connsiteY804" fmla="*/ 156309 h 6858054"/>
              <a:gd name="connsiteX805" fmla="*/ 1909220 w 7631184"/>
              <a:gd name="connsiteY805" fmla="*/ 156309 h 6858054"/>
              <a:gd name="connsiteX806" fmla="*/ 1870145 w 7631184"/>
              <a:gd name="connsiteY806" fmla="*/ 146540 h 6858054"/>
              <a:gd name="connsiteX807" fmla="*/ 1850608 w 7631184"/>
              <a:gd name="connsiteY807" fmla="*/ 146540 h 6858054"/>
              <a:gd name="connsiteX808" fmla="*/ 1821302 w 7631184"/>
              <a:gd name="connsiteY808" fmla="*/ 136770 h 6858054"/>
              <a:gd name="connsiteX809" fmla="*/ 1782228 w 7631184"/>
              <a:gd name="connsiteY809" fmla="*/ 127001 h 6858054"/>
              <a:gd name="connsiteX810" fmla="*/ 1743154 w 7631184"/>
              <a:gd name="connsiteY810" fmla="*/ 127001 h 6858054"/>
              <a:gd name="connsiteX811" fmla="*/ 1694310 w 7631184"/>
              <a:gd name="connsiteY811" fmla="*/ 117232 h 6858054"/>
              <a:gd name="connsiteX812" fmla="*/ 1704079 w 7631184"/>
              <a:gd name="connsiteY812" fmla="*/ 107462 h 6858054"/>
              <a:gd name="connsiteX813" fmla="*/ 1674773 w 7631184"/>
              <a:gd name="connsiteY813" fmla="*/ 78155 h 6858054"/>
              <a:gd name="connsiteX814" fmla="*/ 1684542 w 7631184"/>
              <a:gd name="connsiteY814" fmla="*/ 78155 h 6858054"/>
              <a:gd name="connsiteX815" fmla="*/ 1694310 w 7631184"/>
              <a:gd name="connsiteY815" fmla="*/ 78155 h 6858054"/>
              <a:gd name="connsiteX816" fmla="*/ 1723616 w 7631184"/>
              <a:gd name="connsiteY816" fmla="*/ 78155 h 6858054"/>
              <a:gd name="connsiteX817" fmla="*/ 1743154 w 7631184"/>
              <a:gd name="connsiteY817" fmla="*/ 87924 h 6858054"/>
              <a:gd name="connsiteX818" fmla="*/ 1752922 w 7631184"/>
              <a:gd name="connsiteY818" fmla="*/ 87924 h 6858054"/>
              <a:gd name="connsiteX819" fmla="*/ 1772459 w 7631184"/>
              <a:gd name="connsiteY819" fmla="*/ 87924 h 6858054"/>
              <a:gd name="connsiteX820" fmla="*/ 1782228 w 7631184"/>
              <a:gd name="connsiteY820" fmla="*/ 87924 h 6858054"/>
              <a:gd name="connsiteX821" fmla="*/ 1791997 w 7631184"/>
              <a:gd name="connsiteY821" fmla="*/ 87924 h 6858054"/>
              <a:gd name="connsiteX822" fmla="*/ 1801765 w 7631184"/>
              <a:gd name="connsiteY822" fmla="*/ 87924 h 6858054"/>
              <a:gd name="connsiteX823" fmla="*/ 1811534 w 7631184"/>
              <a:gd name="connsiteY823" fmla="*/ 87924 h 6858054"/>
              <a:gd name="connsiteX824" fmla="*/ 1840840 w 7631184"/>
              <a:gd name="connsiteY824" fmla="*/ 87924 h 6858054"/>
              <a:gd name="connsiteX825" fmla="*/ 1860377 w 7631184"/>
              <a:gd name="connsiteY825" fmla="*/ 97693 h 6858054"/>
              <a:gd name="connsiteX826" fmla="*/ 1879914 w 7631184"/>
              <a:gd name="connsiteY826" fmla="*/ 97693 h 6858054"/>
              <a:gd name="connsiteX827" fmla="*/ 1909220 w 7631184"/>
              <a:gd name="connsiteY827" fmla="*/ 107462 h 6858054"/>
              <a:gd name="connsiteX828" fmla="*/ 1889683 w 7631184"/>
              <a:gd name="connsiteY828" fmla="*/ 107462 h 6858054"/>
              <a:gd name="connsiteX829" fmla="*/ 1889683 w 7631184"/>
              <a:gd name="connsiteY829" fmla="*/ 117232 h 6858054"/>
              <a:gd name="connsiteX830" fmla="*/ 1879914 w 7631184"/>
              <a:gd name="connsiteY830" fmla="*/ 117232 h 6858054"/>
              <a:gd name="connsiteX831" fmla="*/ 1860377 w 7631184"/>
              <a:gd name="connsiteY831" fmla="*/ 117232 h 6858054"/>
              <a:gd name="connsiteX832" fmla="*/ 1772459 w 7631184"/>
              <a:gd name="connsiteY832" fmla="*/ 97693 h 6858054"/>
              <a:gd name="connsiteX833" fmla="*/ 1743154 w 7631184"/>
              <a:gd name="connsiteY833" fmla="*/ 97693 h 6858054"/>
              <a:gd name="connsiteX834" fmla="*/ 1723616 w 7631184"/>
              <a:gd name="connsiteY834" fmla="*/ 87924 h 6858054"/>
              <a:gd name="connsiteX835" fmla="*/ 1684542 w 7631184"/>
              <a:gd name="connsiteY835" fmla="*/ 87924 h 6858054"/>
              <a:gd name="connsiteX836" fmla="*/ 1674773 w 7631184"/>
              <a:gd name="connsiteY836" fmla="*/ 78155 h 6858054"/>
              <a:gd name="connsiteX837" fmla="*/ 1782228 w 7631184"/>
              <a:gd name="connsiteY837" fmla="*/ 48846 h 6858054"/>
              <a:gd name="connsiteX838" fmla="*/ 1821302 w 7631184"/>
              <a:gd name="connsiteY838" fmla="*/ 48846 h 6858054"/>
              <a:gd name="connsiteX839" fmla="*/ 1831071 w 7631184"/>
              <a:gd name="connsiteY839" fmla="*/ 48846 h 6858054"/>
              <a:gd name="connsiteX840" fmla="*/ 1850608 w 7631184"/>
              <a:gd name="connsiteY840" fmla="*/ 48846 h 6858054"/>
              <a:gd name="connsiteX841" fmla="*/ 1870145 w 7631184"/>
              <a:gd name="connsiteY841" fmla="*/ 58616 h 6858054"/>
              <a:gd name="connsiteX842" fmla="*/ 1850608 w 7631184"/>
              <a:gd name="connsiteY842" fmla="*/ 58616 h 6858054"/>
              <a:gd name="connsiteX843" fmla="*/ 1840840 w 7631184"/>
              <a:gd name="connsiteY843" fmla="*/ 58616 h 6858054"/>
              <a:gd name="connsiteX844" fmla="*/ 1831071 w 7631184"/>
              <a:gd name="connsiteY844" fmla="*/ 58616 h 6858054"/>
              <a:gd name="connsiteX845" fmla="*/ 1821302 w 7631184"/>
              <a:gd name="connsiteY845" fmla="*/ 58616 h 6858054"/>
              <a:gd name="connsiteX846" fmla="*/ 1811534 w 7631184"/>
              <a:gd name="connsiteY846" fmla="*/ 58616 h 6858054"/>
              <a:gd name="connsiteX847" fmla="*/ 1782228 w 7631184"/>
              <a:gd name="connsiteY847" fmla="*/ 48846 h 6858054"/>
              <a:gd name="connsiteX848" fmla="*/ 1876251 w 7631184"/>
              <a:gd name="connsiteY848" fmla="*/ 6106 h 6858054"/>
              <a:gd name="connsiteX849" fmla="*/ 1899451 w 7631184"/>
              <a:gd name="connsiteY849" fmla="*/ 9769 h 6858054"/>
              <a:gd name="connsiteX850" fmla="*/ 1909220 w 7631184"/>
              <a:gd name="connsiteY850" fmla="*/ 9769 h 6858054"/>
              <a:gd name="connsiteX851" fmla="*/ 1938526 w 7631184"/>
              <a:gd name="connsiteY851" fmla="*/ 9769 h 6858054"/>
              <a:gd name="connsiteX852" fmla="*/ 1977600 w 7631184"/>
              <a:gd name="connsiteY852" fmla="*/ 9769 h 6858054"/>
              <a:gd name="connsiteX853" fmla="*/ 1987369 w 7631184"/>
              <a:gd name="connsiteY853" fmla="*/ 19539 h 6858054"/>
              <a:gd name="connsiteX854" fmla="*/ 2026443 w 7631184"/>
              <a:gd name="connsiteY854" fmla="*/ 19539 h 6858054"/>
              <a:gd name="connsiteX855" fmla="*/ 2026443 w 7631184"/>
              <a:gd name="connsiteY855" fmla="*/ 29308 h 6858054"/>
              <a:gd name="connsiteX856" fmla="*/ 2036212 w 7631184"/>
              <a:gd name="connsiteY856" fmla="*/ 29308 h 6858054"/>
              <a:gd name="connsiteX857" fmla="*/ 2055749 w 7631184"/>
              <a:gd name="connsiteY857" fmla="*/ 29308 h 6858054"/>
              <a:gd name="connsiteX858" fmla="*/ 2065518 w 7631184"/>
              <a:gd name="connsiteY858" fmla="*/ 29308 h 6858054"/>
              <a:gd name="connsiteX859" fmla="*/ 2075286 w 7631184"/>
              <a:gd name="connsiteY859" fmla="*/ 29308 h 6858054"/>
              <a:gd name="connsiteX860" fmla="*/ 2085055 w 7631184"/>
              <a:gd name="connsiteY860" fmla="*/ 29308 h 6858054"/>
              <a:gd name="connsiteX861" fmla="*/ 2094824 w 7631184"/>
              <a:gd name="connsiteY861" fmla="*/ 39077 h 6858054"/>
              <a:gd name="connsiteX862" fmla="*/ 2114361 w 7631184"/>
              <a:gd name="connsiteY862" fmla="*/ 39077 h 6858054"/>
              <a:gd name="connsiteX863" fmla="*/ 2124129 w 7631184"/>
              <a:gd name="connsiteY863" fmla="*/ 39077 h 6858054"/>
              <a:gd name="connsiteX864" fmla="*/ 2153435 w 7631184"/>
              <a:gd name="connsiteY864" fmla="*/ 48846 h 6858054"/>
              <a:gd name="connsiteX865" fmla="*/ 2172972 w 7631184"/>
              <a:gd name="connsiteY865" fmla="*/ 48846 h 6858054"/>
              <a:gd name="connsiteX866" fmla="*/ 2182741 w 7631184"/>
              <a:gd name="connsiteY866" fmla="*/ 48846 h 6858054"/>
              <a:gd name="connsiteX867" fmla="*/ 2192510 w 7631184"/>
              <a:gd name="connsiteY867" fmla="*/ 48846 h 6858054"/>
              <a:gd name="connsiteX868" fmla="*/ 2212047 w 7631184"/>
              <a:gd name="connsiteY868" fmla="*/ 48846 h 6858054"/>
              <a:gd name="connsiteX869" fmla="*/ 2221815 w 7631184"/>
              <a:gd name="connsiteY869" fmla="*/ 48846 h 6858054"/>
              <a:gd name="connsiteX870" fmla="*/ 2270659 w 7631184"/>
              <a:gd name="connsiteY870" fmla="*/ 58616 h 6858054"/>
              <a:gd name="connsiteX871" fmla="*/ 2290196 w 7631184"/>
              <a:gd name="connsiteY871" fmla="*/ 68385 h 6858054"/>
              <a:gd name="connsiteX872" fmla="*/ 2299964 w 7631184"/>
              <a:gd name="connsiteY872" fmla="*/ 68385 h 6858054"/>
              <a:gd name="connsiteX873" fmla="*/ 2348807 w 7631184"/>
              <a:gd name="connsiteY873" fmla="*/ 78155 h 6858054"/>
              <a:gd name="connsiteX874" fmla="*/ 2358576 w 7631184"/>
              <a:gd name="connsiteY874" fmla="*/ 78155 h 6858054"/>
              <a:gd name="connsiteX875" fmla="*/ 2378113 w 7631184"/>
              <a:gd name="connsiteY875" fmla="*/ 87924 h 6858054"/>
              <a:gd name="connsiteX876" fmla="*/ 2387882 w 7631184"/>
              <a:gd name="connsiteY876" fmla="*/ 87924 h 6858054"/>
              <a:gd name="connsiteX877" fmla="*/ 2397650 w 7631184"/>
              <a:gd name="connsiteY877" fmla="*/ 87924 h 6858054"/>
              <a:gd name="connsiteX878" fmla="*/ 2407419 w 7631184"/>
              <a:gd name="connsiteY878" fmla="*/ 87924 h 6858054"/>
              <a:gd name="connsiteX879" fmla="*/ 2436725 w 7631184"/>
              <a:gd name="connsiteY879" fmla="*/ 97693 h 6858054"/>
              <a:gd name="connsiteX880" fmla="*/ 2446494 w 7631184"/>
              <a:gd name="connsiteY880" fmla="*/ 97693 h 6858054"/>
              <a:gd name="connsiteX881" fmla="*/ 2456262 w 7631184"/>
              <a:gd name="connsiteY881" fmla="*/ 97693 h 6858054"/>
              <a:gd name="connsiteX882" fmla="*/ 2466031 w 7631184"/>
              <a:gd name="connsiteY882" fmla="*/ 97693 h 6858054"/>
              <a:gd name="connsiteX883" fmla="*/ 2475799 w 7631184"/>
              <a:gd name="connsiteY883" fmla="*/ 107462 h 6858054"/>
              <a:gd name="connsiteX884" fmla="*/ 2495337 w 7631184"/>
              <a:gd name="connsiteY884" fmla="*/ 107462 h 6858054"/>
              <a:gd name="connsiteX885" fmla="*/ 2505105 w 7631184"/>
              <a:gd name="connsiteY885" fmla="*/ 117232 h 6858054"/>
              <a:gd name="connsiteX886" fmla="*/ 2514874 w 7631184"/>
              <a:gd name="connsiteY886" fmla="*/ 117232 h 6858054"/>
              <a:gd name="connsiteX887" fmla="*/ 2524642 w 7631184"/>
              <a:gd name="connsiteY887" fmla="*/ 117232 h 6858054"/>
              <a:gd name="connsiteX888" fmla="*/ 2534411 w 7631184"/>
              <a:gd name="connsiteY888" fmla="*/ 117232 h 6858054"/>
              <a:gd name="connsiteX889" fmla="*/ 2544180 w 7631184"/>
              <a:gd name="connsiteY889" fmla="*/ 117232 h 6858054"/>
              <a:gd name="connsiteX890" fmla="*/ 2563717 w 7631184"/>
              <a:gd name="connsiteY890" fmla="*/ 127001 h 6858054"/>
              <a:gd name="connsiteX891" fmla="*/ 2602791 w 7631184"/>
              <a:gd name="connsiteY891" fmla="*/ 136770 h 6858054"/>
              <a:gd name="connsiteX892" fmla="*/ 2612560 w 7631184"/>
              <a:gd name="connsiteY892" fmla="*/ 136770 h 6858054"/>
              <a:gd name="connsiteX893" fmla="*/ 2632097 w 7631184"/>
              <a:gd name="connsiteY893" fmla="*/ 136770 h 6858054"/>
              <a:gd name="connsiteX894" fmla="*/ 2661403 w 7631184"/>
              <a:gd name="connsiteY894" fmla="*/ 146540 h 6858054"/>
              <a:gd name="connsiteX895" fmla="*/ 2700477 w 7631184"/>
              <a:gd name="connsiteY895" fmla="*/ 156309 h 6858054"/>
              <a:gd name="connsiteX896" fmla="*/ 2710246 w 7631184"/>
              <a:gd name="connsiteY896" fmla="*/ 156309 h 6858054"/>
              <a:gd name="connsiteX897" fmla="*/ 2720015 w 7631184"/>
              <a:gd name="connsiteY897" fmla="*/ 166078 h 6858054"/>
              <a:gd name="connsiteX898" fmla="*/ 2729783 w 7631184"/>
              <a:gd name="connsiteY898" fmla="*/ 166078 h 6858054"/>
              <a:gd name="connsiteX899" fmla="*/ 2759089 w 7631184"/>
              <a:gd name="connsiteY899" fmla="*/ 175848 h 6858054"/>
              <a:gd name="connsiteX900" fmla="*/ 2778626 w 7631184"/>
              <a:gd name="connsiteY900" fmla="*/ 175848 h 6858054"/>
              <a:gd name="connsiteX901" fmla="*/ 2798164 w 7631184"/>
              <a:gd name="connsiteY901" fmla="*/ 175848 h 6858054"/>
              <a:gd name="connsiteX902" fmla="*/ 2807932 w 7631184"/>
              <a:gd name="connsiteY902" fmla="*/ 185617 h 6858054"/>
              <a:gd name="connsiteX903" fmla="*/ 2817701 w 7631184"/>
              <a:gd name="connsiteY903" fmla="*/ 185617 h 6858054"/>
              <a:gd name="connsiteX904" fmla="*/ 2837238 w 7631184"/>
              <a:gd name="connsiteY904" fmla="*/ 195386 h 6858054"/>
              <a:gd name="connsiteX905" fmla="*/ 2886081 w 7631184"/>
              <a:gd name="connsiteY905" fmla="*/ 205156 h 6858054"/>
              <a:gd name="connsiteX906" fmla="*/ 2915387 w 7631184"/>
              <a:gd name="connsiteY906" fmla="*/ 214925 h 6858054"/>
              <a:gd name="connsiteX907" fmla="*/ 2925156 w 7631184"/>
              <a:gd name="connsiteY907" fmla="*/ 224694 h 6858054"/>
              <a:gd name="connsiteX908" fmla="*/ 2934924 w 7631184"/>
              <a:gd name="connsiteY908" fmla="*/ 224694 h 6858054"/>
              <a:gd name="connsiteX909" fmla="*/ 2944693 w 7631184"/>
              <a:gd name="connsiteY909" fmla="*/ 224694 h 6858054"/>
              <a:gd name="connsiteX910" fmla="*/ 2964230 w 7631184"/>
              <a:gd name="connsiteY910" fmla="*/ 234463 h 6858054"/>
              <a:gd name="connsiteX911" fmla="*/ 2983767 w 7631184"/>
              <a:gd name="connsiteY911" fmla="*/ 234463 h 6858054"/>
              <a:gd name="connsiteX912" fmla="*/ 3003304 w 7631184"/>
              <a:gd name="connsiteY912" fmla="*/ 244233 h 6858054"/>
              <a:gd name="connsiteX913" fmla="*/ 3022842 w 7631184"/>
              <a:gd name="connsiteY913" fmla="*/ 244233 h 6858054"/>
              <a:gd name="connsiteX914" fmla="*/ 3042379 w 7631184"/>
              <a:gd name="connsiteY914" fmla="*/ 254002 h 6858054"/>
              <a:gd name="connsiteX915" fmla="*/ 3052147 w 7631184"/>
              <a:gd name="connsiteY915" fmla="*/ 263771 h 6858054"/>
              <a:gd name="connsiteX916" fmla="*/ 3061916 w 7631184"/>
              <a:gd name="connsiteY916" fmla="*/ 263771 h 6858054"/>
              <a:gd name="connsiteX917" fmla="*/ 3071685 w 7631184"/>
              <a:gd name="connsiteY917" fmla="*/ 263771 h 6858054"/>
              <a:gd name="connsiteX918" fmla="*/ 3081453 w 7631184"/>
              <a:gd name="connsiteY918" fmla="*/ 263771 h 6858054"/>
              <a:gd name="connsiteX919" fmla="*/ 3120528 w 7631184"/>
              <a:gd name="connsiteY919" fmla="*/ 283310 h 6858054"/>
              <a:gd name="connsiteX920" fmla="*/ 3159602 w 7631184"/>
              <a:gd name="connsiteY920" fmla="*/ 293079 h 6858054"/>
              <a:gd name="connsiteX921" fmla="*/ 3188908 w 7631184"/>
              <a:gd name="connsiteY921" fmla="*/ 302849 h 6858054"/>
              <a:gd name="connsiteX922" fmla="*/ 3208445 w 7631184"/>
              <a:gd name="connsiteY922" fmla="*/ 312618 h 6858054"/>
              <a:gd name="connsiteX923" fmla="*/ 3237751 w 7631184"/>
              <a:gd name="connsiteY923" fmla="*/ 322387 h 6858054"/>
              <a:gd name="connsiteX924" fmla="*/ 3267057 w 7631184"/>
              <a:gd name="connsiteY924" fmla="*/ 332156 h 6858054"/>
              <a:gd name="connsiteX925" fmla="*/ 3276826 w 7631184"/>
              <a:gd name="connsiteY925" fmla="*/ 332156 h 6858054"/>
              <a:gd name="connsiteX926" fmla="*/ 3296363 w 7631184"/>
              <a:gd name="connsiteY926" fmla="*/ 341926 h 6858054"/>
              <a:gd name="connsiteX927" fmla="*/ 3286594 w 7631184"/>
              <a:gd name="connsiteY927" fmla="*/ 341926 h 6858054"/>
              <a:gd name="connsiteX928" fmla="*/ 3296363 w 7631184"/>
              <a:gd name="connsiteY928" fmla="*/ 351695 h 6858054"/>
              <a:gd name="connsiteX929" fmla="*/ 3276826 w 7631184"/>
              <a:gd name="connsiteY929" fmla="*/ 351695 h 6858054"/>
              <a:gd name="connsiteX930" fmla="*/ 3257288 w 7631184"/>
              <a:gd name="connsiteY930" fmla="*/ 341926 h 6858054"/>
              <a:gd name="connsiteX931" fmla="*/ 3227982 w 7631184"/>
              <a:gd name="connsiteY931" fmla="*/ 332156 h 6858054"/>
              <a:gd name="connsiteX932" fmla="*/ 3237751 w 7631184"/>
              <a:gd name="connsiteY932" fmla="*/ 341926 h 6858054"/>
              <a:gd name="connsiteX933" fmla="*/ 3227982 w 7631184"/>
              <a:gd name="connsiteY933" fmla="*/ 341926 h 6858054"/>
              <a:gd name="connsiteX934" fmla="*/ 3227982 w 7631184"/>
              <a:gd name="connsiteY934" fmla="*/ 351695 h 6858054"/>
              <a:gd name="connsiteX935" fmla="*/ 3247520 w 7631184"/>
              <a:gd name="connsiteY935" fmla="*/ 351695 h 6858054"/>
              <a:gd name="connsiteX936" fmla="*/ 3257288 w 7631184"/>
              <a:gd name="connsiteY936" fmla="*/ 351695 h 6858054"/>
              <a:gd name="connsiteX937" fmla="*/ 3267057 w 7631184"/>
              <a:gd name="connsiteY937" fmla="*/ 361464 h 6858054"/>
              <a:gd name="connsiteX938" fmla="*/ 3276826 w 7631184"/>
              <a:gd name="connsiteY938" fmla="*/ 361464 h 6858054"/>
              <a:gd name="connsiteX939" fmla="*/ 3296363 w 7631184"/>
              <a:gd name="connsiteY939" fmla="*/ 371234 h 6858054"/>
              <a:gd name="connsiteX940" fmla="*/ 3306131 w 7631184"/>
              <a:gd name="connsiteY940" fmla="*/ 371234 h 6858054"/>
              <a:gd name="connsiteX941" fmla="*/ 3315900 w 7631184"/>
              <a:gd name="connsiteY941" fmla="*/ 371234 h 6858054"/>
              <a:gd name="connsiteX942" fmla="*/ 3354974 w 7631184"/>
              <a:gd name="connsiteY942" fmla="*/ 371234 h 6858054"/>
              <a:gd name="connsiteX943" fmla="*/ 3374512 w 7631184"/>
              <a:gd name="connsiteY943" fmla="*/ 381003 h 6858054"/>
              <a:gd name="connsiteX944" fmla="*/ 3442892 w 7631184"/>
              <a:gd name="connsiteY944" fmla="*/ 410311 h 6858054"/>
              <a:gd name="connsiteX945" fmla="*/ 3481966 w 7631184"/>
              <a:gd name="connsiteY945" fmla="*/ 420080 h 6858054"/>
              <a:gd name="connsiteX946" fmla="*/ 3491735 w 7631184"/>
              <a:gd name="connsiteY946" fmla="*/ 429849 h 6858054"/>
              <a:gd name="connsiteX947" fmla="*/ 3511272 w 7631184"/>
              <a:gd name="connsiteY947" fmla="*/ 429849 h 6858054"/>
              <a:gd name="connsiteX948" fmla="*/ 3521041 w 7631184"/>
              <a:gd name="connsiteY948" fmla="*/ 429849 h 6858054"/>
              <a:gd name="connsiteX949" fmla="*/ 3530809 w 7631184"/>
              <a:gd name="connsiteY949" fmla="*/ 439619 h 6858054"/>
              <a:gd name="connsiteX950" fmla="*/ 3540578 w 7631184"/>
              <a:gd name="connsiteY950" fmla="*/ 439619 h 6858054"/>
              <a:gd name="connsiteX951" fmla="*/ 3540578 w 7631184"/>
              <a:gd name="connsiteY951" fmla="*/ 449388 h 6858054"/>
              <a:gd name="connsiteX952" fmla="*/ 3550347 w 7631184"/>
              <a:gd name="connsiteY952" fmla="*/ 459158 h 6858054"/>
              <a:gd name="connsiteX953" fmla="*/ 3530809 w 7631184"/>
              <a:gd name="connsiteY953" fmla="*/ 449388 h 6858054"/>
              <a:gd name="connsiteX954" fmla="*/ 3511272 w 7631184"/>
              <a:gd name="connsiteY954" fmla="*/ 449388 h 6858054"/>
              <a:gd name="connsiteX955" fmla="*/ 3501504 w 7631184"/>
              <a:gd name="connsiteY955" fmla="*/ 439619 h 6858054"/>
              <a:gd name="connsiteX956" fmla="*/ 3501504 w 7631184"/>
              <a:gd name="connsiteY956" fmla="*/ 449388 h 6858054"/>
              <a:gd name="connsiteX957" fmla="*/ 3511272 w 7631184"/>
              <a:gd name="connsiteY957" fmla="*/ 449388 h 6858054"/>
              <a:gd name="connsiteX958" fmla="*/ 3521041 w 7631184"/>
              <a:gd name="connsiteY958" fmla="*/ 459158 h 6858054"/>
              <a:gd name="connsiteX959" fmla="*/ 3569884 w 7631184"/>
              <a:gd name="connsiteY959" fmla="*/ 468927 h 6858054"/>
              <a:gd name="connsiteX960" fmla="*/ 3569884 w 7631184"/>
              <a:gd name="connsiteY960" fmla="*/ 478696 h 6858054"/>
              <a:gd name="connsiteX961" fmla="*/ 3589421 w 7631184"/>
              <a:gd name="connsiteY961" fmla="*/ 488465 h 6858054"/>
              <a:gd name="connsiteX962" fmla="*/ 3628496 w 7631184"/>
              <a:gd name="connsiteY962" fmla="*/ 508004 h 6858054"/>
              <a:gd name="connsiteX963" fmla="*/ 3657801 w 7631184"/>
              <a:gd name="connsiteY963" fmla="*/ 517773 h 6858054"/>
              <a:gd name="connsiteX964" fmla="*/ 3687107 w 7631184"/>
              <a:gd name="connsiteY964" fmla="*/ 527543 h 6858054"/>
              <a:gd name="connsiteX965" fmla="*/ 3706644 w 7631184"/>
              <a:gd name="connsiteY965" fmla="*/ 537312 h 6858054"/>
              <a:gd name="connsiteX966" fmla="*/ 3726182 w 7631184"/>
              <a:gd name="connsiteY966" fmla="*/ 547081 h 6858054"/>
              <a:gd name="connsiteX967" fmla="*/ 3775025 w 7631184"/>
              <a:gd name="connsiteY967" fmla="*/ 566620 h 6858054"/>
              <a:gd name="connsiteX968" fmla="*/ 3823868 w 7631184"/>
              <a:gd name="connsiteY968" fmla="*/ 586159 h 6858054"/>
              <a:gd name="connsiteX969" fmla="*/ 3833636 w 7631184"/>
              <a:gd name="connsiteY969" fmla="*/ 595928 h 6858054"/>
              <a:gd name="connsiteX970" fmla="*/ 3853174 w 7631184"/>
              <a:gd name="connsiteY970" fmla="*/ 595928 h 6858054"/>
              <a:gd name="connsiteX971" fmla="*/ 3892248 w 7631184"/>
              <a:gd name="connsiteY971" fmla="*/ 615466 h 6858054"/>
              <a:gd name="connsiteX972" fmla="*/ 3902017 w 7631184"/>
              <a:gd name="connsiteY972" fmla="*/ 615466 h 6858054"/>
              <a:gd name="connsiteX973" fmla="*/ 3921554 w 7631184"/>
              <a:gd name="connsiteY973" fmla="*/ 625236 h 6858054"/>
              <a:gd name="connsiteX974" fmla="*/ 3941091 w 7631184"/>
              <a:gd name="connsiteY974" fmla="*/ 635005 h 6858054"/>
              <a:gd name="connsiteX975" fmla="*/ 3941091 w 7631184"/>
              <a:gd name="connsiteY975" fmla="*/ 654543 h 6858054"/>
              <a:gd name="connsiteX976" fmla="*/ 3921554 w 7631184"/>
              <a:gd name="connsiteY976" fmla="*/ 664313 h 6858054"/>
              <a:gd name="connsiteX977" fmla="*/ 3941091 w 7631184"/>
              <a:gd name="connsiteY977" fmla="*/ 674082 h 6858054"/>
              <a:gd name="connsiteX978" fmla="*/ 3989934 w 7631184"/>
              <a:gd name="connsiteY978" fmla="*/ 693621 h 6858054"/>
              <a:gd name="connsiteX979" fmla="*/ 4029009 w 7631184"/>
              <a:gd name="connsiteY979" fmla="*/ 722929 h 6858054"/>
              <a:gd name="connsiteX980" fmla="*/ 4097389 w 7631184"/>
              <a:gd name="connsiteY980" fmla="*/ 762006 h 6858054"/>
              <a:gd name="connsiteX981" fmla="*/ 4185306 w 7631184"/>
              <a:gd name="connsiteY981" fmla="*/ 801083 h 6858054"/>
              <a:gd name="connsiteX982" fmla="*/ 4331836 w 7631184"/>
              <a:gd name="connsiteY982" fmla="*/ 869468 h 6858054"/>
              <a:gd name="connsiteX983" fmla="*/ 4351373 w 7631184"/>
              <a:gd name="connsiteY983" fmla="*/ 889007 h 6858054"/>
              <a:gd name="connsiteX984" fmla="*/ 4380679 w 7631184"/>
              <a:gd name="connsiteY984" fmla="*/ 889007 h 6858054"/>
              <a:gd name="connsiteX985" fmla="*/ 4380679 w 7631184"/>
              <a:gd name="connsiteY985" fmla="*/ 879238 h 6858054"/>
              <a:gd name="connsiteX986" fmla="*/ 4390447 w 7631184"/>
              <a:gd name="connsiteY986" fmla="*/ 879238 h 6858054"/>
              <a:gd name="connsiteX987" fmla="*/ 4409985 w 7631184"/>
              <a:gd name="connsiteY987" fmla="*/ 889007 h 6858054"/>
              <a:gd name="connsiteX988" fmla="*/ 4439290 w 7631184"/>
              <a:gd name="connsiteY988" fmla="*/ 889007 h 6858054"/>
              <a:gd name="connsiteX989" fmla="*/ 4458828 w 7631184"/>
              <a:gd name="connsiteY989" fmla="*/ 889007 h 6858054"/>
              <a:gd name="connsiteX990" fmla="*/ 4468596 w 7631184"/>
              <a:gd name="connsiteY990" fmla="*/ 898776 h 6858054"/>
              <a:gd name="connsiteX991" fmla="*/ 4478365 w 7631184"/>
              <a:gd name="connsiteY991" fmla="*/ 908546 h 6858054"/>
              <a:gd name="connsiteX992" fmla="*/ 4468596 w 7631184"/>
              <a:gd name="connsiteY992" fmla="*/ 918315 h 6858054"/>
              <a:gd name="connsiteX993" fmla="*/ 4449059 w 7631184"/>
              <a:gd name="connsiteY993" fmla="*/ 918315 h 6858054"/>
              <a:gd name="connsiteX994" fmla="*/ 4458828 w 7631184"/>
              <a:gd name="connsiteY994" fmla="*/ 928084 h 6858054"/>
              <a:gd name="connsiteX995" fmla="*/ 4488133 w 7631184"/>
              <a:gd name="connsiteY995" fmla="*/ 937853 h 6858054"/>
              <a:gd name="connsiteX996" fmla="*/ 4488133 w 7631184"/>
              <a:gd name="connsiteY996" fmla="*/ 947623 h 6858054"/>
              <a:gd name="connsiteX997" fmla="*/ 4478365 w 7631184"/>
              <a:gd name="connsiteY997" fmla="*/ 947623 h 6858054"/>
              <a:gd name="connsiteX998" fmla="*/ 4468596 w 7631184"/>
              <a:gd name="connsiteY998" fmla="*/ 937853 h 6858054"/>
              <a:gd name="connsiteX999" fmla="*/ 4449059 w 7631184"/>
              <a:gd name="connsiteY999" fmla="*/ 967161 h 6858054"/>
              <a:gd name="connsiteX1000" fmla="*/ 4439290 w 7631184"/>
              <a:gd name="connsiteY1000" fmla="*/ 967161 h 6858054"/>
              <a:gd name="connsiteX1001" fmla="*/ 4429522 w 7631184"/>
              <a:gd name="connsiteY1001" fmla="*/ 976931 h 6858054"/>
              <a:gd name="connsiteX1002" fmla="*/ 4429522 w 7631184"/>
              <a:gd name="connsiteY1002" fmla="*/ 986700 h 6858054"/>
              <a:gd name="connsiteX1003" fmla="*/ 4409985 w 7631184"/>
              <a:gd name="connsiteY1003" fmla="*/ 986700 h 6858054"/>
              <a:gd name="connsiteX1004" fmla="*/ 4400216 w 7631184"/>
              <a:gd name="connsiteY1004" fmla="*/ 976931 h 6858054"/>
              <a:gd name="connsiteX1005" fmla="*/ 4380679 w 7631184"/>
              <a:gd name="connsiteY1005" fmla="*/ 957392 h 6858054"/>
              <a:gd name="connsiteX1006" fmla="*/ 4351373 w 7631184"/>
              <a:gd name="connsiteY1006" fmla="*/ 937853 h 6858054"/>
              <a:gd name="connsiteX1007" fmla="*/ 4331836 w 7631184"/>
              <a:gd name="connsiteY1007" fmla="*/ 918315 h 6858054"/>
              <a:gd name="connsiteX1008" fmla="*/ 4322067 w 7631184"/>
              <a:gd name="connsiteY1008" fmla="*/ 908546 h 6858054"/>
              <a:gd name="connsiteX1009" fmla="*/ 4312298 w 7631184"/>
              <a:gd name="connsiteY1009" fmla="*/ 898776 h 6858054"/>
              <a:gd name="connsiteX1010" fmla="*/ 4312298 w 7631184"/>
              <a:gd name="connsiteY1010" fmla="*/ 879238 h 6858054"/>
              <a:gd name="connsiteX1011" fmla="*/ 4302530 w 7631184"/>
              <a:gd name="connsiteY1011" fmla="*/ 869468 h 6858054"/>
              <a:gd name="connsiteX1012" fmla="*/ 4243918 w 7631184"/>
              <a:gd name="connsiteY1012" fmla="*/ 840160 h 6858054"/>
              <a:gd name="connsiteX1013" fmla="*/ 4185306 w 7631184"/>
              <a:gd name="connsiteY1013" fmla="*/ 810853 h 6858054"/>
              <a:gd name="connsiteX1014" fmla="*/ 4156001 w 7631184"/>
              <a:gd name="connsiteY1014" fmla="*/ 801083 h 6858054"/>
              <a:gd name="connsiteX1015" fmla="*/ 4136463 w 7631184"/>
              <a:gd name="connsiteY1015" fmla="*/ 791314 h 6858054"/>
              <a:gd name="connsiteX1016" fmla="*/ 4126695 w 7631184"/>
              <a:gd name="connsiteY1016" fmla="*/ 781544 h 6858054"/>
              <a:gd name="connsiteX1017" fmla="*/ 4126695 w 7631184"/>
              <a:gd name="connsiteY1017" fmla="*/ 791314 h 6858054"/>
              <a:gd name="connsiteX1018" fmla="*/ 4107157 w 7631184"/>
              <a:gd name="connsiteY1018" fmla="*/ 801083 h 6858054"/>
              <a:gd name="connsiteX1019" fmla="*/ 4087620 w 7631184"/>
              <a:gd name="connsiteY1019" fmla="*/ 801083 h 6858054"/>
              <a:gd name="connsiteX1020" fmla="*/ 4048546 w 7631184"/>
              <a:gd name="connsiteY1020" fmla="*/ 781544 h 6858054"/>
              <a:gd name="connsiteX1021" fmla="*/ 4009471 w 7631184"/>
              <a:gd name="connsiteY1021" fmla="*/ 762006 h 6858054"/>
              <a:gd name="connsiteX1022" fmla="*/ 3989934 w 7631184"/>
              <a:gd name="connsiteY1022" fmla="*/ 752237 h 6858054"/>
              <a:gd name="connsiteX1023" fmla="*/ 3950860 w 7631184"/>
              <a:gd name="connsiteY1023" fmla="*/ 732698 h 6858054"/>
              <a:gd name="connsiteX1024" fmla="*/ 3941091 w 7631184"/>
              <a:gd name="connsiteY1024" fmla="*/ 742467 h 6858054"/>
              <a:gd name="connsiteX1025" fmla="*/ 3950860 w 7631184"/>
              <a:gd name="connsiteY1025" fmla="*/ 752237 h 6858054"/>
              <a:gd name="connsiteX1026" fmla="*/ 3970397 w 7631184"/>
              <a:gd name="connsiteY1026" fmla="*/ 762006 h 6858054"/>
              <a:gd name="connsiteX1027" fmla="*/ 3980166 w 7631184"/>
              <a:gd name="connsiteY1027" fmla="*/ 762006 h 6858054"/>
              <a:gd name="connsiteX1028" fmla="*/ 4038777 w 7631184"/>
              <a:gd name="connsiteY1028" fmla="*/ 791314 h 6858054"/>
              <a:gd name="connsiteX1029" fmla="*/ 4107157 w 7631184"/>
              <a:gd name="connsiteY1029" fmla="*/ 820622 h 6858054"/>
              <a:gd name="connsiteX1030" fmla="*/ 4116926 w 7631184"/>
              <a:gd name="connsiteY1030" fmla="*/ 830391 h 6858054"/>
              <a:gd name="connsiteX1031" fmla="*/ 4146232 w 7631184"/>
              <a:gd name="connsiteY1031" fmla="*/ 840160 h 6858054"/>
              <a:gd name="connsiteX1032" fmla="*/ 4185306 w 7631184"/>
              <a:gd name="connsiteY1032" fmla="*/ 859699 h 6858054"/>
              <a:gd name="connsiteX1033" fmla="*/ 4214612 w 7631184"/>
              <a:gd name="connsiteY1033" fmla="*/ 879238 h 6858054"/>
              <a:gd name="connsiteX1034" fmla="*/ 4253687 w 7631184"/>
              <a:gd name="connsiteY1034" fmla="*/ 898776 h 6858054"/>
              <a:gd name="connsiteX1035" fmla="*/ 4243918 w 7631184"/>
              <a:gd name="connsiteY1035" fmla="*/ 889007 h 6858054"/>
              <a:gd name="connsiteX1036" fmla="*/ 4204844 w 7631184"/>
              <a:gd name="connsiteY1036" fmla="*/ 879238 h 6858054"/>
              <a:gd name="connsiteX1037" fmla="*/ 4165769 w 7631184"/>
              <a:gd name="connsiteY1037" fmla="*/ 869468 h 6858054"/>
              <a:gd name="connsiteX1038" fmla="*/ 4214612 w 7631184"/>
              <a:gd name="connsiteY1038" fmla="*/ 889007 h 6858054"/>
              <a:gd name="connsiteX1039" fmla="*/ 4234150 w 7631184"/>
              <a:gd name="connsiteY1039" fmla="*/ 898776 h 6858054"/>
              <a:gd name="connsiteX1040" fmla="*/ 4243918 w 7631184"/>
              <a:gd name="connsiteY1040" fmla="*/ 908546 h 6858054"/>
              <a:gd name="connsiteX1041" fmla="*/ 4273224 w 7631184"/>
              <a:gd name="connsiteY1041" fmla="*/ 928084 h 6858054"/>
              <a:gd name="connsiteX1042" fmla="*/ 4302530 w 7631184"/>
              <a:gd name="connsiteY1042" fmla="*/ 947623 h 6858054"/>
              <a:gd name="connsiteX1043" fmla="*/ 4312298 w 7631184"/>
              <a:gd name="connsiteY1043" fmla="*/ 957392 h 6858054"/>
              <a:gd name="connsiteX1044" fmla="*/ 4322067 w 7631184"/>
              <a:gd name="connsiteY1044" fmla="*/ 947623 h 6858054"/>
              <a:gd name="connsiteX1045" fmla="*/ 4331836 w 7631184"/>
              <a:gd name="connsiteY1045" fmla="*/ 947623 h 6858054"/>
              <a:gd name="connsiteX1046" fmla="*/ 4351373 w 7631184"/>
              <a:gd name="connsiteY1046" fmla="*/ 957392 h 6858054"/>
              <a:gd name="connsiteX1047" fmla="*/ 4380679 w 7631184"/>
              <a:gd name="connsiteY1047" fmla="*/ 976931 h 6858054"/>
              <a:gd name="connsiteX1048" fmla="*/ 4400216 w 7631184"/>
              <a:gd name="connsiteY1048" fmla="*/ 986700 h 6858054"/>
              <a:gd name="connsiteX1049" fmla="*/ 4361141 w 7631184"/>
              <a:gd name="connsiteY1049" fmla="*/ 976931 h 6858054"/>
              <a:gd name="connsiteX1050" fmla="*/ 4370910 w 7631184"/>
              <a:gd name="connsiteY1050" fmla="*/ 986700 h 6858054"/>
              <a:gd name="connsiteX1051" fmla="*/ 4390447 w 7631184"/>
              <a:gd name="connsiteY1051" fmla="*/ 996469 h 6858054"/>
              <a:gd name="connsiteX1052" fmla="*/ 4370910 w 7631184"/>
              <a:gd name="connsiteY1052" fmla="*/ 1006239 h 6858054"/>
              <a:gd name="connsiteX1053" fmla="*/ 4361141 w 7631184"/>
              <a:gd name="connsiteY1053" fmla="*/ 996469 h 6858054"/>
              <a:gd name="connsiteX1054" fmla="*/ 4351373 w 7631184"/>
              <a:gd name="connsiteY1054" fmla="*/ 986700 h 6858054"/>
              <a:gd name="connsiteX1055" fmla="*/ 4331836 w 7631184"/>
              <a:gd name="connsiteY1055" fmla="*/ 986700 h 6858054"/>
              <a:gd name="connsiteX1056" fmla="*/ 4322067 w 7631184"/>
              <a:gd name="connsiteY1056" fmla="*/ 986700 h 6858054"/>
              <a:gd name="connsiteX1057" fmla="*/ 4302530 w 7631184"/>
              <a:gd name="connsiteY1057" fmla="*/ 976931 h 6858054"/>
              <a:gd name="connsiteX1058" fmla="*/ 4273224 w 7631184"/>
              <a:gd name="connsiteY1058" fmla="*/ 967161 h 6858054"/>
              <a:gd name="connsiteX1059" fmla="*/ 4263455 w 7631184"/>
              <a:gd name="connsiteY1059" fmla="*/ 957392 h 6858054"/>
              <a:gd name="connsiteX1060" fmla="*/ 4253687 w 7631184"/>
              <a:gd name="connsiteY1060" fmla="*/ 967161 h 6858054"/>
              <a:gd name="connsiteX1061" fmla="*/ 4243918 w 7631184"/>
              <a:gd name="connsiteY1061" fmla="*/ 957392 h 6858054"/>
              <a:gd name="connsiteX1062" fmla="*/ 4224381 w 7631184"/>
              <a:gd name="connsiteY1062" fmla="*/ 928084 h 6858054"/>
              <a:gd name="connsiteX1063" fmla="*/ 4185306 w 7631184"/>
              <a:gd name="connsiteY1063" fmla="*/ 918315 h 6858054"/>
              <a:gd name="connsiteX1064" fmla="*/ 4165769 w 7631184"/>
              <a:gd name="connsiteY1064" fmla="*/ 908546 h 6858054"/>
              <a:gd name="connsiteX1065" fmla="*/ 4175538 w 7631184"/>
              <a:gd name="connsiteY1065" fmla="*/ 918315 h 6858054"/>
              <a:gd name="connsiteX1066" fmla="*/ 4214612 w 7631184"/>
              <a:gd name="connsiteY1066" fmla="*/ 937853 h 6858054"/>
              <a:gd name="connsiteX1067" fmla="*/ 4224381 w 7631184"/>
              <a:gd name="connsiteY1067" fmla="*/ 947623 h 6858054"/>
              <a:gd name="connsiteX1068" fmla="*/ 4234150 w 7631184"/>
              <a:gd name="connsiteY1068" fmla="*/ 957392 h 6858054"/>
              <a:gd name="connsiteX1069" fmla="*/ 4214612 w 7631184"/>
              <a:gd name="connsiteY1069" fmla="*/ 947623 h 6858054"/>
              <a:gd name="connsiteX1070" fmla="*/ 4175538 w 7631184"/>
              <a:gd name="connsiteY1070" fmla="*/ 928084 h 6858054"/>
              <a:gd name="connsiteX1071" fmla="*/ 4146232 w 7631184"/>
              <a:gd name="connsiteY1071" fmla="*/ 918315 h 6858054"/>
              <a:gd name="connsiteX1072" fmla="*/ 4185306 w 7631184"/>
              <a:gd name="connsiteY1072" fmla="*/ 937853 h 6858054"/>
              <a:gd name="connsiteX1073" fmla="*/ 4214612 w 7631184"/>
              <a:gd name="connsiteY1073" fmla="*/ 947623 h 6858054"/>
              <a:gd name="connsiteX1074" fmla="*/ 4195075 w 7631184"/>
              <a:gd name="connsiteY1074" fmla="*/ 957392 h 6858054"/>
              <a:gd name="connsiteX1075" fmla="*/ 4175538 w 7631184"/>
              <a:gd name="connsiteY1075" fmla="*/ 947623 h 6858054"/>
              <a:gd name="connsiteX1076" fmla="*/ 4146232 w 7631184"/>
              <a:gd name="connsiteY1076" fmla="*/ 937853 h 6858054"/>
              <a:gd name="connsiteX1077" fmla="*/ 4116926 w 7631184"/>
              <a:gd name="connsiteY1077" fmla="*/ 928084 h 6858054"/>
              <a:gd name="connsiteX1078" fmla="*/ 4107157 w 7631184"/>
              <a:gd name="connsiteY1078" fmla="*/ 928084 h 6858054"/>
              <a:gd name="connsiteX1079" fmla="*/ 4107157 w 7631184"/>
              <a:gd name="connsiteY1079" fmla="*/ 937853 h 6858054"/>
              <a:gd name="connsiteX1080" fmla="*/ 4156001 w 7631184"/>
              <a:gd name="connsiteY1080" fmla="*/ 947623 h 6858054"/>
              <a:gd name="connsiteX1081" fmla="*/ 4165769 w 7631184"/>
              <a:gd name="connsiteY1081" fmla="*/ 957392 h 6858054"/>
              <a:gd name="connsiteX1082" fmla="*/ 4253687 w 7631184"/>
              <a:gd name="connsiteY1082" fmla="*/ 996469 h 6858054"/>
              <a:gd name="connsiteX1083" fmla="*/ 4292761 w 7631184"/>
              <a:gd name="connsiteY1083" fmla="*/ 1016008 h 6858054"/>
              <a:gd name="connsiteX1084" fmla="*/ 4312298 w 7631184"/>
              <a:gd name="connsiteY1084" fmla="*/ 1016008 h 6858054"/>
              <a:gd name="connsiteX1085" fmla="*/ 4312298 w 7631184"/>
              <a:gd name="connsiteY1085" fmla="*/ 1025777 h 6858054"/>
              <a:gd name="connsiteX1086" fmla="*/ 4263455 w 7631184"/>
              <a:gd name="connsiteY1086" fmla="*/ 1006239 h 6858054"/>
              <a:gd name="connsiteX1087" fmla="*/ 4214612 w 7631184"/>
              <a:gd name="connsiteY1087" fmla="*/ 986700 h 6858054"/>
              <a:gd name="connsiteX1088" fmla="*/ 4214612 w 7631184"/>
              <a:gd name="connsiteY1088" fmla="*/ 996469 h 6858054"/>
              <a:gd name="connsiteX1089" fmla="*/ 4234150 w 7631184"/>
              <a:gd name="connsiteY1089" fmla="*/ 1006239 h 6858054"/>
              <a:gd name="connsiteX1090" fmla="*/ 4253687 w 7631184"/>
              <a:gd name="connsiteY1090" fmla="*/ 1016008 h 6858054"/>
              <a:gd name="connsiteX1091" fmla="*/ 4263455 w 7631184"/>
              <a:gd name="connsiteY1091" fmla="*/ 1016008 h 6858054"/>
              <a:gd name="connsiteX1092" fmla="*/ 4282993 w 7631184"/>
              <a:gd name="connsiteY1092" fmla="*/ 1025777 h 6858054"/>
              <a:gd name="connsiteX1093" fmla="*/ 4312298 w 7631184"/>
              <a:gd name="connsiteY1093" fmla="*/ 1045316 h 6858054"/>
              <a:gd name="connsiteX1094" fmla="*/ 4322067 w 7631184"/>
              <a:gd name="connsiteY1094" fmla="*/ 1045316 h 6858054"/>
              <a:gd name="connsiteX1095" fmla="*/ 4351373 w 7631184"/>
              <a:gd name="connsiteY1095" fmla="*/ 1064854 h 6858054"/>
              <a:gd name="connsiteX1096" fmla="*/ 4351373 w 7631184"/>
              <a:gd name="connsiteY1096" fmla="*/ 1074624 h 6858054"/>
              <a:gd name="connsiteX1097" fmla="*/ 4322067 w 7631184"/>
              <a:gd name="connsiteY1097" fmla="*/ 1064854 h 6858054"/>
              <a:gd name="connsiteX1098" fmla="*/ 4312298 w 7631184"/>
              <a:gd name="connsiteY1098" fmla="*/ 1064854 h 6858054"/>
              <a:gd name="connsiteX1099" fmla="*/ 4292761 w 7631184"/>
              <a:gd name="connsiteY1099" fmla="*/ 1074624 h 6858054"/>
              <a:gd name="connsiteX1100" fmla="*/ 4312298 w 7631184"/>
              <a:gd name="connsiteY1100" fmla="*/ 1094162 h 6858054"/>
              <a:gd name="connsiteX1101" fmla="*/ 4312298 w 7631184"/>
              <a:gd name="connsiteY1101" fmla="*/ 1103932 h 6858054"/>
              <a:gd name="connsiteX1102" fmla="*/ 4322067 w 7631184"/>
              <a:gd name="connsiteY1102" fmla="*/ 1113701 h 6858054"/>
              <a:gd name="connsiteX1103" fmla="*/ 4331836 w 7631184"/>
              <a:gd name="connsiteY1103" fmla="*/ 1123471 h 6858054"/>
              <a:gd name="connsiteX1104" fmla="*/ 4322067 w 7631184"/>
              <a:gd name="connsiteY1104" fmla="*/ 1123471 h 6858054"/>
              <a:gd name="connsiteX1105" fmla="*/ 4312298 w 7631184"/>
              <a:gd name="connsiteY1105" fmla="*/ 1113701 h 6858054"/>
              <a:gd name="connsiteX1106" fmla="*/ 4312298 w 7631184"/>
              <a:gd name="connsiteY1106" fmla="*/ 1123471 h 6858054"/>
              <a:gd name="connsiteX1107" fmla="*/ 4302530 w 7631184"/>
              <a:gd name="connsiteY1107" fmla="*/ 1133240 h 6858054"/>
              <a:gd name="connsiteX1108" fmla="*/ 4273224 w 7631184"/>
              <a:gd name="connsiteY1108" fmla="*/ 1123471 h 6858054"/>
              <a:gd name="connsiteX1109" fmla="*/ 4263455 w 7631184"/>
              <a:gd name="connsiteY1109" fmla="*/ 1123471 h 6858054"/>
              <a:gd name="connsiteX1110" fmla="*/ 4302530 w 7631184"/>
              <a:gd name="connsiteY1110" fmla="*/ 1143009 h 6858054"/>
              <a:gd name="connsiteX1111" fmla="*/ 4312298 w 7631184"/>
              <a:gd name="connsiteY1111" fmla="*/ 1162547 h 6858054"/>
              <a:gd name="connsiteX1112" fmla="*/ 4263455 w 7631184"/>
              <a:gd name="connsiteY1112" fmla="*/ 1133240 h 6858054"/>
              <a:gd name="connsiteX1113" fmla="*/ 4253687 w 7631184"/>
              <a:gd name="connsiteY1113" fmla="*/ 1133240 h 6858054"/>
              <a:gd name="connsiteX1114" fmla="*/ 4234150 w 7631184"/>
              <a:gd name="connsiteY1114" fmla="*/ 1143009 h 6858054"/>
              <a:gd name="connsiteX1115" fmla="*/ 4204844 w 7631184"/>
              <a:gd name="connsiteY1115" fmla="*/ 1133240 h 6858054"/>
              <a:gd name="connsiteX1116" fmla="*/ 4185306 w 7631184"/>
              <a:gd name="connsiteY1116" fmla="*/ 1123471 h 6858054"/>
              <a:gd name="connsiteX1117" fmla="*/ 4156001 w 7631184"/>
              <a:gd name="connsiteY1117" fmla="*/ 1113701 h 6858054"/>
              <a:gd name="connsiteX1118" fmla="*/ 4137684 w 7631184"/>
              <a:gd name="connsiteY1118" fmla="*/ 1105153 h 6858054"/>
              <a:gd name="connsiteX1119" fmla="*/ 4137322 w 7631184"/>
              <a:gd name="connsiteY1119" fmla="*/ 1105113 h 6858054"/>
              <a:gd name="connsiteX1120" fmla="*/ 4136463 w 7631184"/>
              <a:gd name="connsiteY1120" fmla="*/ 1103932 h 6858054"/>
              <a:gd name="connsiteX1121" fmla="*/ 4126695 w 7631184"/>
              <a:gd name="connsiteY1121" fmla="*/ 1103932 h 6858054"/>
              <a:gd name="connsiteX1122" fmla="*/ 4137322 w 7631184"/>
              <a:gd name="connsiteY1122" fmla="*/ 1105113 h 6858054"/>
              <a:gd name="connsiteX1123" fmla="*/ 4146232 w 7631184"/>
              <a:gd name="connsiteY1123" fmla="*/ 1117365 h 6858054"/>
              <a:gd name="connsiteX1124" fmla="*/ 4156001 w 7631184"/>
              <a:gd name="connsiteY1124" fmla="*/ 1123471 h 6858054"/>
              <a:gd name="connsiteX1125" fmla="*/ 4146232 w 7631184"/>
              <a:gd name="connsiteY1125" fmla="*/ 1123471 h 6858054"/>
              <a:gd name="connsiteX1126" fmla="*/ 4116926 w 7631184"/>
              <a:gd name="connsiteY1126" fmla="*/ 1113701 h 6858054"/>
              <a:gd name="connsiteX1127" fmla="*/ 4107157 w 7631184"/>
              <a:gd name="connsiteY1127" fmla="*/ 1113701 h 6858054"/>
              <a:gd name="connsiteX1128" fmla="*/ 4068083 w 7631184"/>
              <a:gd name="connsiteY1128" fmla="*/ 1084393 h 6858054"/>
              <a:gd name="connsiteX1129" fmla="*/ 4048546 w 7631184"/>
              <a:gd name="connsiteY1129" fmla="*/ 1074624 h 6858054"/>
              <a:gd name="connsiteX1130" fmla="*/ 4048546 w 7631184"/>
              <a:gd name="connsiteY1130" fmla="*/ 1084393 h 6858054"/>
              <a:gd name="connsiteX1131" fmla="*/ 4038777 w 7631184"/>
              <a:gd name="connsiteY1131" fmla="*/ 1084393 h 6858054"/>
              <a:gd name="connsiteX1132" fmla="*/ 3989934 w 7631184"/>
              <a:gd name="connsiteY1132" fmla="*/ 1064854 h 6858054"/>
              <a:gd name="connsiteX1133" fmla="*/ 3980166 w 7631184"/>
              <a:gd name="connsiteY1133" fmla="*/ 1064854 h 6858054"/>
              <a:gd name="connsiteX1134" fmla="*/ 3999703 w 7631184"/>
              <a:gd name="connsiteY1134" fmla="*/ 1074624 h 6858054"/>
              <a:gd name="connsiteX1135" fmla="*/ 4029009 w 7631184"/>
              <a:gd name="connsiteY1135" fmla="*/ 1084393 h 6858054"/>
              <a:gd name="connsiteX1136" fmla="*/ 4097389 w 7631184"/>
              <a:gd name="connsiteY1136" fmla="*/ 1113701 h 6858054"/>
              <a:gd name="connsiteX1137" fmla="*/ 4107157 w 7631184"/>
              <a:gd name="connsiteY1137" fmla="*/ 1123471 h 6858054"/>
              <a:gd name="connsiteX1138" fmla="*/ 4116926 w 7631184"/>
              <a:gd name="connsiteY1138" fmla="*/ 1123471 h 6858054"/>
              <a:gd name="connsiteX1139" fmla="*/ 4116926 w 7631184"/>
              <a:gd name="connsiteY1139" fmla="*/ 1133240 h 6858054"/>
              <a:gd name="connsiteX1140" fmla="*/ 4136463 w 7631184"/>
              <a:gd name="connsiteY1140" fmla="*/ 1143009 h 6858054"/>
              <a:gd name="connsiteX1141" fmla="*/ 4126695 w 7631184"/>
              <a:gd name="connsiteY1141" fmla="*/ 1143009 h 6858054"/>
              <a:gd name="connsiteX1142" fmla="*/ 4107157 w 7631184"/>
              <a:gd name="connsiteY1142" fmla="*/ 1133240 h 6858054"/>
              <a:gd name="connsiteX1143" fmla="*/ 4097389 w 7631184"/>
              <a:gd name="connsiteY1143" fmla="*/ 1123471 h 6858054"/>
              <a:gd name="connsiteX1144" fmla="*/ 4077852 w 7631184"/>
              <a:gd name="connsiteY1144" fmla="*/ 1113701 h 6858054"/>
              <a:gd name="connsiteX1145" fmla="*/ 4058314 w 7631184"/>
              <a:gd name="connsiteY1145" fmla="*/ 1113701 h 6858054"/>
              <a:gd name="connsiteX1146" fmla="*/ 4068083 w 7631184"/>
              <a:gd name="connsiteY1146" fmla="*/ 1123471 h 6858054"/>
              <a:gd name="connsiteX1147" fmla="*/ 4077852 w 7631184"/>
              <a:gd name="connsiteY1147" fmla="*/ 1123471 h 6858054"/>
              <a:gd name="connsiteX1148" fmla="*/ 4097389 w 7631184"/>
              <a:gd name="connsiteY1148" fmla="*/ 1143009 h 6858054"/>
              <a:gd name="connsiteX1149" fmla="*/ 4087620 w 7631184"/>
              <a:gd name="connsiteY1149" fmla="*/ 1143009 h 6858054"/>
              <a:gd name="connsiteX1150" fmla="*/ 4068083 w 7631184"/>
              <a:gd name="connsiteY1150" fmla="*/ 1133240 h 6858054"/>
              <a:gd name="connsiteX1151" fmla="*/ 3989934 w 7631184"/>
              <a:gd name="connsiteY1151" fmla="*/ 1103932 h 6858054"/>
              <a:gd name="connsiteX1152" fmla="*/ 3941091 w 7631184"/>
              <a:gd name="connsiteY1152" fmla="*/ 1094162 h 6858054"/>
              <a:gd name="connsiteX1153" fmla="*/ 3960628 w 7631184"/>
              <a:gd name="connsiteY1153" fmla="*/ 1094162 h 6858054"/>
              <a:gd name="connsiteX1154" fmla="*/ 3989934 w 7631184"/>
              <a:gd name="connsiteY1154" fmla="*/ 1103932 h 6858054"/>
              <a:gd name="connsiteX1155" fmla="*/ 4009471 w 7631184"/>
              <a:gd name="connsiteY1155" fmla="*/ 1113701 h 6858054"/>
              <a:gd name="connsiteX1156" fmla="*/ 4048546 w 7631184"/>
              <a:gd name="connsiteY1156" fmla="*/ 1133240 h 6858054"/>
              <a:gd name="connsiteX1157" fmla="*/ 4087620 w 7631184"/>
              <a:gd name="connsiteY1157" fmla="*/ 1152778 h 6858054"/>
              <a:gd name="connsiteX1158" fmla="*/ 4097389 w 7631184"/>
              <a:gd name="connsiteY1158" fmla="*/ 1162547 h 6858054"/>
              <a:gd name="connsiteX1159" fmla="*/ 4116926 w 7631184"/>
              <a:gd name="connsiteY1159" fmla="*/ 1172317 h 6858054"/>
              <a:gd name="connsiteX1160" fmla="*/ 4146232 w 7631184"/>
              <a:gd name="connsiteY1160" fmla="*/ 1182086 h 6858054"/>
              <a:gd name="connsiteX1161" fmla="*/ 4174317 w 7631184"/>
              <a:gd name="connsiteY1161" fmla="*/ 1191856 h 6858054"/>
              <a:gd name="connsiteX1162" fmla="*/ 4174339 w 7631184"/>
              <a:gd name="connsiteY1162" fmla="*/ 1191866 h 6858054"/>
              <a:gd name="connsiteX1163" fmla="*/ 4157527 w 7631184"/>
              <a:gd name="connsiteY1163" fmla="*/ 1192008 h 6858054"/>
              <a:gd name="connsiteX1164" fmla="*/ 4165769 w 7631184"/>
              <a:gd name="connsiteY1164" fmla="*/ 1201625 h 6858054"/>
              <a:gd name="connsiteX1165" fmla="*/ 4195075 w 7631184"/>
              <a:gd name="connsiteY1165" fmla="*/ 1211394 h 6858054"/>
              <a:gd name="connsiteX1166" fmla="*/ 4429522 w 7631184"/>
              <a:gd name="connsiteY1166" fmla="*/ 1338395 h 6858054"/>
              <a:gd name="connsiteX1167" fmla="*/ 4478365 w 7631184"/>
              <a:gd name="connsiteY1167" fmla="*/ 1367703 h 6858054"/>
              <a:gd name="connsiteX1168" fmla="*/ 4527208 w 7631184"/>
              <a:gd name="connsiteY1168" fmla="*/ 1397011 h 6858054"/>
              <a:gd name="connsiteX1169" fmla="*/ 4576051 w 7631184"/>
              <a:gd name="connsiteY1169" fmla="*/ 1436088 h 6858054"/>
              <a:gd name="connsiteX1170" fmla="*/ 4605357 w 7631184"/>
              <a:gd name="connsiteY1170" fmla="*/ 1445857 h 6858054"/>
              <a:gd name="connsiteX1171" fmla="*/ 4634663 w 7631184"/>
              <a:gd name="connsiteY1171" fmla="*/ 1465396 h 6858054"/>
              <a:gd name="connsiteX1172" fmla="*/ 4703043 w 7631184"/>
              <a:gd name="connsiteY1172" fmla="*/ 1514243 h 6858054"/>
              <a:gd name="connsiteX1173" fmla="*/ 4790960 w 7631184"/>
              <a:gd name="connsiteY1173" fmla="*/ 1563089 h 6858054"/>
              <a:gd name="connsiteX1174" fmla="*/ 4830035 w 7631184"/>
              <a:gd name="connsiteY1174" fmla="*/ 1582628 h 6858054"/>
              <a:gd name="connsiteX1175" fmla="*/ 4869109 w 7631184"/>
              <a:gd name="connsiteY1175" fmla="*/ 1602166 h 6858054"/>
              <a:gd name="connsiteX1176" fmla="*/ 4898415 w 7631184"/>
              <a:gd name="connsiteY1176" fmla="*/ 1631475 h 6858054"/>
              <a:gd name="connsiteX1177" fmla="*/ 4927721 w 7631184"/>
              <a:gd name="connsiteY1177" fmla="*/ 1651013 h 6858054"/>
              <a:gd name="connsiteX1178" fmla="*/ 4966795 w 7631184"/>
              <a:gd name="connsiteY1178" fmla="*/ 1670551 h 6858054"/>
              <a:gd name="connsiteX1179" fmla="*/ 5035176 w 7631184"/>
              <a:gd name="connsiteY1179" fmla="*/ 1719398 h 6858054"/>
              <a:gd name="connsiteX1180" fmla="*/ 5132862 w 7631184"/>
              <a:gd name="connsiteY1180" fmla="*/ 1778014 h 6858054"/>
              <a:gd name="connsiteX1181" fmla="*/ 5220779 w 7631184"/>
              <a:gd name="connsiteY1181" fmla="*/ 1836630 h 6858054"/>
              <a:gd name="connsiteX1182" fmla="*/ 5259854 w 7631184"/>
              <a:gd name="connsiteY1182" fmla="*/ 1865938 h 6858054"/>
              <a:gd name="connsiteX1183" fmla="*/ 5289160 w 7631184"/>
              <a:gd name="connsiteY1183" fmla="*/ 1885476 h 6858054"/>
              <a:gd name="connsiteX1184" fmla="*/ 5250085 w 7631184"/>
              <a:gd name="connsiteY1184" fmla="*/ 1865938 h 6858054"/>
              <a:gd name="connsiteX1185" fmla="*/ 5211011 w 7631184"/>
              <a:gd name="connsiteY1185" fmla="*/ 1836630 h 6858054"/>
              <a:gd name="connsiteX1186" fmla="*/ 5171936 w 7631184"/>
              <a:gd name="connsiteY1186" fmla="*/ 1817091 h 6858054"/>
              <a:gd name="connsiteX1187" fmla="*/ 5142630 w 7631184"/>
              <a:gd name="connsiteY1187" fmla="*/ 1797552 h 6858054"/>
              <a:gd name="connsiteX1188" fmla="*/ 5113325 w 7631184"/>
              <a:gd name="connsiteY1188" fmla="*/ 1778014 h 6858054"/>
              <a:gd name="connsiteX1189" fmla="*/ 5084019 w 7631184"/>
              <a:gd name="connsiteY1189" fmla="*/ 1758475 h 6858054"/>
              <a:gd name="connsiteX1190" fmla="*/ 5054713 w 7631184"/>
              <a:gd name="connsiteY1190" fmla="*/ 1748706 h 6858054"/>
              <a:gd name="connsiteX1191" fmla="*/ 5005870 w 7631184"/>
              <a:gd name="connsiteY1191" fmla="*/ 1719398 h 6858054"/>
              <a:gd name="connsiteX1192" fmla="*/ 4976564 w 7631184"/>
              <a:gd name="connsiteY1192" fmla="*/ 1699859 h 6858054"/>
              <a:gd name="connsiteX1193" fmla="*/ 4947258 w 7631184"/>
              <a:gd name="connsiteY1193" fmla="*/ 1680321 h 6858054"/>
              <a:gd name="connsiteX1194" fmla="*/ 4937490 w 7631184"/>
              <a:gd name="connsiteY1194" fmla="*/ 1670551 h 6858054"/>
              <a:gd name="connsiteX1195" fmla="*/ 4927721 w 7631184"/>
              <a:gd name="connsiteY1195" fmla="*/ 1660782 h 6858054"/>
              <a:gd name="connsiteX1196" fmla="*/ 4898415 w 7631184"/>
              <a:gd name="connsiteY1196" fmla="*/ 1651013 h 6858054"/>
              <a:gd name="connsiteX1197" fmla="*/ 4859341 w 7631184"/>
              <a:gd name="connsiteY1197" fmla="*/ 1621705 h 6858054"/>
              <a:gd name="connsiteX1198" fmla="*/ 4810498 w 7631184"/>
              <a:gd name="connsiteY1198" fmla="*/ 1592397 h 6858054"/>
              <a:gd name="connsiteX1199" fmla="*/ 4781192 w 7631184"/>
              <a:gd name="connsiteY1199" fmla="*/ 1572858 h 6858054"/>
              <a:gd name="connsiteX1200" fmla="*/ 4761655 w 7631184"/>
              <a:gd name="connsiteY1200" fmla="*/ 1563089 h 6858054"/>
              <a:gd name="connsiteX1201" fmla="*/ 4703043 w 7631184"/>
              <a:gd name="connsiteY1201" fmla="*/ 1533781 h 6858054"/>
              <a:gd name="connsiteX1202" fmla="*/ 4644431 w 7631184"/>
              <a:gd name="connsiteY1202" fmla="*/ 1494704 h 6858054"/>
              <a:gd name="connsiteX1203" fmla="*/ 4566282 w 7631184"/>
              <a:gd name="connsiteY1203" fmla="*/ 1445857 h 6858054"/>
              <a:gd name="connsiteX1204" fmla="*/ 4517439 w 7631184"/>
              <a:gd name="connsiteY1204" fmla="*/ 1426319 h 6858054"/>
              <a:gd name="connsiteX1205" fmla="*/ 4468596 w 7631184"/>
              <a:gd name="connsiteY1205" fmla="*/ 1397011 h 6858054"/>
              <a:gd name="connsiteX1206" fmla="*/ 4449059 w 7631184"/>
              <a:gd name="connsiteY1206" fmla="*/ 1387242 h 6858054"/>
              <a:gd name="connsiteX1207" fmla="*/ 4419753 w 7631184"/>
              <a:gd name="connsiteY1207" fmla="*/ 1367703 h 6858054"/>
              <a:gd name="connsiteX1208" fmla="*/ 4390447 w 7631184"/>
              <a:gd name="connsiteY1208" fmla="*/ 1348164 h 6858054"/>
              <a:gd name="connsiteX1209" fmla="*/ 4380679 w 7631184"/>
              <a:gd name="connsiteY1209" fmla="*/ 1348164 h 6858054"/>
              <a:gd name="connsiteX1210" fmla="*/ 4361141 w 7631184"/>
              <a:gd name="connsiteY1210" fmla="*/ 1338395 h 6858054"/>
              <a:gd name="connsiteX1211" fmla="*/ 4322067 w 7631184"/>
              <a:gd name="connsiteY1211" fmla="*/ 1318857 h 6858054"/>
              <a:gd name="connsiteX1212" fmla="*/ 4234150 w 7631184"/>
              <a:gd name="connsiteY1212" fmla="*/ 1279779 h 6858054"/>
              <a:gd name="connsiteX1213" fmla="*/ 4204844 w 7631184"/>
              <a:gd name="connsiteY1213" fmla="*/ 1270010 h 6858054"/>
              <a:gd name="connsiteX1214" fmla="*/ 4185306 w 7631184"/>
              <a:gd name="connsiteY1214" fmla="*/ 1250471 h 6858054"/>
              <a:gd name="connsiteX1215" fmla="*/ 4156001 w 7631184"/>
              <a:gd name="connsiteY1215" fmla="*/ 1240702 h 6858054"/>
              <a:gd name="connsiteX1216" fmla="*/ 4146232 w 7631184"/>
              <a:gd name="connsiteY1216" fmla="*/ 1240702 h 6858054"/>
              <a:gd name="connsiteX1217" fmla="*/ 4136463 w 7631184"/>
              <a:gd name="connsiteY1217" fmla="*/ 1230933 h 6858054"/>
              <a:gd name="connsiteX1218" fmla="*/ 4126695 w 7631184"/>
              <a:gd name="connsiteY1218" fmla="*/ 1221164 h 6858054"/>
              <a:gd name="connsiteX1219" fmla="*/ 4107157 w 7631184"/>
              <a:gd name="connsiteY1219" fmla="*/ 1221164 h 6858054"/>
              <a:gd name="connsiteX1220" fmla="*/ 4097389 w 7631184"/>
              <a:gd name="connsiteY1220" fmla="*/ 1211394 h 6858054"/>
              <a:gd name="connsiteX1221" fmla="*/ 4077852 w 7631184"/>
              <a:gd name="connsiteY1221" fmla="*/ 1201625 h 6858054"/>
              <a:gd name="connsiteX1222" fmla="*/ 4068083 w 7631184"/>
              <a:gd name="connsiteY1222" fmla="*/ 1201625 h 6858054"/>
              <a:gd name="connsiteX1223" fmla="*/ 4204844 w 7631184"/>
              <a:gd name="connsiteY1223" fmla="*/ 1279779 h 6858054"/>
              <a:gd name="connsiteX1224" fmla="*/ 4234150 w 7631184"/>
              <a:gd name="connsiteY1224" fmla="*/ 1289548 h 6858054"/>
              <a:gd name="connsiteX1225" fmla="*/ 4243918 w 7631184"/>
              <a:gd name="connsiteY1225" fmla="*/ 1299318 h 6858054"/>
              <a:gd name="connsiteX1226" fmla="*/ 4400216 w 7631184"/>
              <a:gd name="connsiteY1226" fmla="*/ 1377472 h 6858054"/>
              <a:gd name="connsiteX1227" fmla="*/ 4488133 w 7631184"/>
              <a:gd name="connsiteY1227" fmla="*/ 1436088 h 6858054"/>
              <a:gd name="connsiteX1228" fmla="*/ 4536976 w 7631184"/>
              <a:gd name="connsiteY1228" fmla="*/ 1465396 h 6858054"/>
              <a:gd name="connsiteX1229" fmla="*/ 4576051 w 7631184"/>
              <a:gd name="connsiteY1229" fmla="*/ 1484935 h 6858054"/>
              <a:gd name="connsiteX1230" fmla="*/ 4624894 w 7631184"/>
              <a:gd name="connsiteY1230" fmla="*/ 1514243 h 6858054"/>
              <a:gd name="connsiteX1231" fmla="*/ 4712811 w 7631184"/>
              <a:gd name="connsiteY1231" fmla="*/ 1563089 h 6858054"/>
              <a:gd name="connsiteX1232" fmla="*/ 4751886 w 7631184"/>
              <a:gd name="connsiteY1232" fmla="*/ 1582628 h 6858054"/>
              <a:gd name="connsiteX1233" fmla="*/ 4771423 w 7631184"/>
              <a:gd name="connsiteY1233" fmla="*/ 1602166 h 6858054"/>
              <a:gd name="connsiteX1234" fmla="*/ 4790960 w 7631184"/>
              <a:gd name="connsiteY1234" fmla="*/ 1611936 h 6858054"/>
              <a:gd name="connsiteX1235" fmla="*/ 4820266 w 7631184"/>
              <a:gd name="connsiteY1235" fmla="*/ 1631475 h 6858054"/>
              <a:gd name="connsiteX1236" fmla="*/ 4878878 w 7631184"/>
              <a:gd name="connsiteY1236" fmla="*/ 1670551 h 6858054"/>
              <a:gd name="connsiteX1237" fmla="*/ 4917952 w 7631184"/>
              <a:gd name="connsiteY1237" fmla="*/ 1699859 h 6858054"/>
              <a:gd name="connsiteX1238" fmla="*/ 4947258 w 7631184"/>
              <a:gd name="connsiteY1238" fmla="*/ 1709629 h 6858054"/>
              <a:gd name="connsiteX1239" fmla="*/ 4966795 w 7631184"/>
              <a:gd name="connsiteY1239" fmla="*/ 1729168 h 6858054"/>
              <a:gd name="connsiteX1240" fmla="*/ 4986333 w 7631184"/>
              <a:gd name="connsiteY1240" fmla="*/ 1738937 h 6858054"/>
              <a:gd name="connsiteX1241" fmla="*/ 5044944 w 7631184"/>
              <a:gd name="connsiteY1241" fmla="*/ 1778014 h 6858054"/>
              <a:gd name="connsiteX1242" fmla="*/ 5064481 w 7631184"/>
              <a:gd name="connsiteY1242" fmla="*/ 1797552 h 6858054"/>
              <a:gd name="connsiteX1243" fmla="*/ 5103556 w 7631184"/>
              <a:gd name="connsiteY1243" fmla="*/ 1817091 h 6858054"/>
              <a:gd name="connsiteX1244" fmla="*/ 5123093 w 7631184"/>
              <a:gd name="connsiteY1244" fmla="*/ 1826861 h 6858054"/>
              <a:gd name="connsiteX1245" fmla="*/ 5201242 w 7631184"/>
              <a:gd name="connsiteY1245" fmla="*/ 1885476 h 6858054"/>
              <a:gd name="connsiteX1246" fmla="*/ 5230548 w 7631184"/>
              <a:gd name="connsiteY1246" fmla="*/ 1905015 h 6858054"/>
              <a:gd name="connsiteX1247" fmla="*/ 5250085 w 7631184"/>
              <a:gd name="connsiteY1247" fmla="*/ 1914784 h 6858054"/>
              <a:gd name="connsiteX1248" fmla="*/ 5357540 w 7631184"/>
              <a:gd name="connsiteY1248" fmla="*/ 1983169 h 6858054"/>
              <a:gd name="connsiteX1249" fmla="*/ 5386846 w 7631184"/>
              <a:gd name="connsiteY1249" fmla="*/ 2002708 h 6858054"/>
              <a:gd name="connsiteX1250" fmla="*/ 5425920 w 7631184"/>
              <a:gd name="connsiteY1250" fmla="*/ 2022247 h 6858054"/>
              <a:gd name="connsiteX1251" fmla="*/ 5455226 w 7631184"/>
              <a:gd name="connsiteY1251" fmla="*/ 2041785 h 6858054"/>
              <a:gd name="connsiteX1252" fmla="*/ 5504069 w 7631184"/>
              <a:gd name="connsiteY1252" fmla="*/ 2080862 h 6858054"/>
              <a:gd name="connsiteX1253" fmla="*/ 5523606 w 7631184"/>
              <a:gd name="connsiteY1253" fmla="*/ 2090632 h 6858054"/>
              <a:gd name="connsiteX1254" fmla="*/ 5533375 w 7631184"/>
              <a:gd name="connsiteY1254" fmla="*/ 2100401 h 6858054"/>
              <a:gd name="connsiteX1255" fmla="*/ 5552912 w 7631184"/>
              <a:gd name="connsiteY1255" fmla="*/ 2110170 h 6858054"/>
              <a:gd name="connsiteX1256" fmla="*/ 5621292 w 7631184"/>
              <a:gd name="connsiteY1256" fmla="*/ 2159017 h 6858054"/>
              <a:gd name="connsiteX1257" fmla="*/ 5631061 w 7631184"/>
              <a:gd name="connsiteY1257" fmla="*/ 2168786 h 6858054"/>
              <a:gd name="connsiteX1258" fmla="*/ 5640830 w 7631184"/>
              <a:gd name="connsiteY1258" fmla="*/ 2178556 h 6858054"/>
              <a:gd name="connsiteX1259" fmla="*/ 5670135 w 7631184"/>
              <a:gd name="connsiteY1259" fmla="*/ 2198095 h 6858054"/>
              <a:gd name="connsiteX1260" fmla="*/ 5699441 w 7631184"/>
              <a:gd name="connsiteY1260" fmla="*/ 2217633 h 6858054"/>
              <a:gd name="connsiteX1261" fmla="*/ 5689673 w 7631184"/>
              <a:gd name="connsiteY1261" fmla="*/ 2198095 h 6858054"/>
              <a:gd name="connsiteX1262" fmla="*/ 5631061 w 7631184"/>
              <a:gd name="connsiteY1262" fmla="*/ 2159017 h 6858054"/>
              <a:gd name="connsiteX1263" fmla="*/ 5621292 w 7631184"/>
              <a:gd name="connsiteY1263" fmla="*/ 2149248 h 6858054"/>
              <a:gd name="connsiteX1264" fmla="*/ 5591986 w 7631184"/>
              <a:gd name="connsiteY1264" fmla="*/ 2129709 h 6858054"/>
              <a:gd name="connsiteX1265" fmla="*/ 5582218 w 7631184"/>
              <a:gd name="connsiteY1265" fmla="*/ 2119940 h 6858054"/>
              <a:gd name="connsiteX1266" fmla="*/ 5572449 w 7631184"/>
              <a:gd name="connsiteY1266" fmla="*/ 2110170 h 6858054"/>
              <a:gd name="connsiteX1267" fmla="*/ 5543143 w 7631184"/>
              <a:gd name="connsiteY1267" fmla="*/ 2080862 h 6858054"/>
              <a:gd name="connsiteX1268" fmla="*/ 5523606 w 7631184"/>
              <a:gd name="connsiteY1268" fmla="*/ 2071093 h 6858054"/>
              <a:gd name="connsiteX1269" fmla="*/ 5484532 w 7631184"/>
              <a:gd name="connsiteY1269" fmla="*/ 2041785 h 6858054"/>
              <a:gd name="connsiteX1270" fmla="*/ 5445457 w 7631184"/>
              <a:gd name="connsiteY1270" fmla="*/ 2012477 h 6858054"/>
              <a:gd name="connsiteX1271" fmla="*/ 5416151 w 7631184"/>
              <a:gd name="connsiteY1271" fmla="*/ 1992939 h 6858054"/>
              <a:gd name="connsiteX1272" fmla="*/ 5396614 w 7631184"/>
              <a:gd name="connsiteY1272" fmla="*/ 1983169 h 6858054"/>
              <a:gd name="connsiteX1273" fmla="*/ 5386846 w 7631184"/>
              <a:gd name="connsiteY1273" fmla="*/ 1963631 h 6858054"/>
              <a:gd name="connsiteX1274" fmla="*/ 5347771 w 7631184"/>
              <a:gd name="connsiteY1274" fmla="*/ 1944092 h 6858054"/>
              <a:gd name="connsiteX1275" fmla="*/ 5298928 w 7631184"/>
              <a:gd name="connsiteY1275" fmla="*/ 1914784 h 6858054"/>
              <a:gd name="connsiteX1276" fmla="*/ 5298928 w 7631184"/>
              <a:gd name="connsiteY1276" fmla="*/ 1905015 h 6858054"/>
              <a:gd name="connsiteX1277" fmla="*/ 5308697 w 7631184"/>
              <a:gd name="connsiteY1277" fmla="*/ 1895246 h 6858054"/>
              <a:gd name="connsiteX1278" fmla="*/ 5318465 w 7631184"/>
              <a:gd name="connsiteY1278" fmla="*/ 1905015 h 6858054"/>
              <a:gd name="connsiteX1279" fmla="*/ 5308697 w 7631184"/>
              <a:gd name="connsiteY1279" fmla="*/ 1905015 h 6858054"/>
              <a:gd name="connsiteX1280" fmla="*/ 5328234 w 7631184"/>
              <a:gd name="connsiteY1280" fmla="*/ 1914784 h 6858054"/>
              <a:gd name="connsiteX1281" fmla="*/ 5338003 w 7631184"/>
              <a:gd name="connsiteY1281" fmla="*/ 1924554 h 6858054"/>
              <a:gd name="connsiteX1282" fmla="*/ 5347771 w 7631184"/>
              <a:gd name="connsiteY1282" fmla="*/ 1924554 h 6858054"/>
              <a:gd name="connsiteX1283" fmla="*/ 5406383 w 7631184"/>
              <a:gd name="connsiteY1283" fmla="*/ 1963631 h 6858054"/>
              <a:gd name="connsiteX1284" fmla="*/ 5425920 w 7631184"/>
              <a:gd name="connsiteY1284" fmla="*/ 1983169 h 6858054"/>
              <a:gd name="connsiteX1285" fmla="*/ 5464995 w 7631184"/>
              <a:gd name="connsiteY1285" fmla="*/ 2012477 h 6858054"/>
              <a:gd name="connsiteX1286" fmla="*/ 5513838 w 7631184"/>
              <a:gd name="connsiteY1286" fmla="*/ 2051554 h 6858054"/>
              <a:gd name="connsiteX1287" fmla="*/ 5533375 w 7631184"/>
              <a:gd name="connsiteY1287" fmla="*/ 2051554 h 6858054"/>
              <a:gd name="connsiteX1288" fmla="*/ 5562681 w 7631184"/>
              <a:gd name="connsiteY1288" fmla="*/ 2080862 h 6858054"/>
              <a:gd name="connsiteX1289" fmla="*/ 5582218 w 7631184"/>
              <a:gd name="connsiteY1289" fmla="*/ 2090632 h 6858054"/>
              <a:gd name="connsiteX1290" fmla="*/ 5631061 w 7631184"/>
              <a:gd name="connsiteY1290" fmla="*/ 2129709 h 6858054"/>
              <a:gd name="connsiteX1291" fmla="*/ 5640830 w 7631184"/>
              <a:gd name="connsiteY1291" fmla="*/ 2139479 h 6858054"/>
              <a:gd name="connsiteX1292" fmla="*/ 5670135 w 7631184"/>
              <a:gd name="connsiteY1292" fmla="*/ 2159017 h 6858054"/>
              <a:gd name="connsiteX1293" fmla="*/ 5699441 w 7631184"/>
              <a:gd name="connsiteY1293" fmla="*/ 2178556 h 6858054"/>
              <a:gd name="connsiteX1294" fmla="*/ 5709210 w 7631184"/>
              <a:gd name="connsiteY1294" fmla="*/ 2198095 h 6858054"/>
              <a:gd name="connsiteX1295" fmla="*/ 5758053 w 7631184"/>
              <a:gd name="connsiteY1295" fmla="*/ 2237172 h 6858054"/>
              <a:gd name="connsiteX1296" fmla="*/ 5816665 w 7631184"/>
              <a:gd name="connsiteY1296" fmla="*/ 2286018 h 6858054"/>
              <a:gd name="connsiteX1297" fmla="*/ 5826433 w 7631184"/>
              <a:gd name="connsiteY1297" fmla="*/ 2295788 h 6858054"/>
              <a:gd name="connsiteX1298" fmla="*/ 5885045 w 7631184"/>
              <a:gd name="connsiteY1298" fmla="*/ 2334865 h 6858054"/>
              <a:gd name="connsiteX1299" fmla="*/ 5904582 w 7631184"/>
              <a:gd name="connsiteY1299" fmla="*/ 2354403 h 6858054"/>
              <a:gd name="connsiteX1300" fmla="*/ 5924119 w 7631184"/>
              <a:gd name="connsiteY1300" fmla="*/ 2373942 h 6858054"/>
              <a:gd name="connsiteX1301" fmla="*/ 5933888 w 7631184"/>
              <a:gd name="connsiteY1301" fmla="*/ 2383711 h 6858054"/>
              <a:gd name="connsiteX1302" fmla="*/ 5963194 w 7631184"/>
              <a:gd name="connsiteY1302" fmla="*/ 2413019 h 6858054"/>
              <a:gd name="connsiteX1303" fmla="*/ 5963194 w 7631184"/>
              <a:gd name="connsiteY1303" fmla="*/ 2422788 h 6858054"/>
              <a:gd name="connsiteX1304" fmla="*/ 5953425 w 7631184"/>
              <a:gd name="connsiteY1304" fmla="*/ 2413019 h 6858054"/>
              <a:gd name="connsiteX1305" fmla="*/ 5943657 w 7631184"/>
              <a:gd name="connsiteY1305" fmla="*/ 2403250 h 6858054"/>
              <a:gd name="connsiteX1306" fmla="*/ 5933888 w 7631184"/>
              <a:gd name="connsiteY1306" fmla="*/ 2403250 h 6858054"/>
              <a:gd name="connsiteX1307" fmla="*/ 5933888 w 7631184"/>
              <a:gd name="connsiteY1307" fmla="*/ 2393481 h 6858054"/>
              <a:gd name="connsiteX1308" fmla="*/ 5924119 w 7631184"/>
              <a:gd name="connsiteY1308" fmla="*/ 2383711 h 6858054"/>
              <a:gd name="connsiteX1309" fmla="*/ 5914351 w 7631184"/>
              <a:gd name="connsiteY1309" fmla="*/ 2383711 h 6858054"/>
              <a:gd name="connsiteX1310" fmla="*/ 5894813 w 7631184"/>
              <a:gd name="connsiteY1310" fmla="*/ 2364173 h 6858054"/>
              <a:gd name="connsiteX1311" fmla="*/ 5885045 w 7631184"/>
              <a:gd name="connsiteY1311" fmla="*/ 2354403 h 6858054"/>
              <a:gd name="connsiteX1312" fmla="*/ 5865508 w 7631184"/>
              <a:gd name="connsiteY1312" fmla="*/ 2344634 h 6858054"/>
              <a:gd name="connsiteX1313" fmla="*/ 5845970 w 7631184"/>
              <a:gd name="connsiteY1313" fmla="*/ 2334865 h 6858054"/>
              <a:gd name="connsiteX1314" fmla="*/ 5806896 w 7631184"/>
              <a:gd name="connsiteY1314" fmla="*/ 2305557 h 6858054"/>
              <a:gd name="connsiteX1315" fmla="*/ 5806896 w 7631184"/>
              <a:gd name="connsiteY1315" fmla="*/ 2295788 h 6858054"/>
              <a:gd name="connsiteX1316" fmla="*/ 5797127 w 7631184"/>
              <a:gd name="connsiteY1316" fmla="*/ 2286018 h 6858054"/>
              <a:gd name="connsiteX1317" fmla="*/ 5767822 w 7631184"/>
              <a:gd name="connsiteY1317" fmla="*/ 2266480 h 6858054"/>
              <a:gd name="connsiteX1318" fmla="*/ 5748284 w 7631184"/>
              <a:gd name="connsiteY1318" fmla="*/ 2256710 h 6858054"/>
              <a:gd name="connsiteX1319" fmla="*/ 5718978 w 7631184"/>
              <a:gd name="connsiteY1319" fmla="*/ 2237172 h 6858054"/>
              <a:gd name="connsiteX1320" fmla="*/ 5679904 w 7631184"/>
              <a:gd name="connsiteY1320" fmla="*/ 2227402 h 6858054"/>
              <a:gd name="connsiteX1321" fmla="*/ 5689673 w 7631184"/>
              <a:gd name="connsiteY1321" fmla="*/ 2237172 h 6858054"/>
              <a:gd name="connsiteX1322" fmla="*/ 5709210 w 7631184"/>
              <a:gd name="connsiteY1322" fmla="*/ 2246941 h 6858054"/>
              <a:gd name="connsiteX1323" fmla="*/ 5728747 w 7631184"/>
              <a:gd name="connsiteY1323" fmla="*/ 2256710 h 6858054"/>
              <a:gd name="connsiteX1324" fmla="*/ 5738516 w 7631184"/>
              <a:gd name="connsiteY1324" fmla="*/ 2266480 h 6858054"/>
              <a:gd name="connsiteX1325" fmla="*/ 5748284 w 7631184"/>
              <a:gd name="connsiteY1325" fmla="*/ 2276249 h 6858054"/>
              <a:gd name="connsiteX1326" fmla="*/ 5767822 w 7631184"/>
              <a:gd name="connsiteY1326" fmla="*/ 2295788 h 6858054"/>
              <a:gd name="connsiteX1327" fmla="*/ 5787359 w 7631184"/>
              <a:gd name="connsiteY1327" fmla="*/ 2305557 h 6858054"/>
              <a:gd name="connsiteX1328" fmla="*/ 5797127 w 7631184"/>
              <a:gd name="connsiteY1328" fmla="*/ 2315326 h 6858054"/>
              <a:gd name="connsiteX1329" fmla="*/ 5806896 w 7631184"/>
              <a:gd name="connsiteY1329" fmla="*/ 2315326 h 6858054"/>
              <a:gd name="connsiteX1330" fmla="*/ 5806896 w 7631184"/>
              <a:gd name="connsiteY1330" fmla="*/ 2325095 h 6858054"/>
              <a:gd name="connsiteX1331" fmla="*/ 5836202 w 7631184"/>
              <a:gd name="connsiteY1331" fmla="*/ 2344634 h 6858054"/>
              <a:gd name="connsiteX1332" fmla="*/ 5865508 w 7631184"/>
              <a:gd name="connsiteY1332" fmla="*/ 2364173 h 6858054"/>
              <a:gd name="connsiteX1333" fmla="*/ 5924119 w 7631184"/>
              <a:gd name="connsiteY1333" fmla="*/ 2403250 h 6858054"/>
              <a:gd name="connsiteX1334" fmla="*/ 5933888 w 7631184"/>
              <a:gd name="connsiteY1334" fmla="*/ 2413019 h 6858054"/>
              <a:gd name="connsiteX1335" fmla="*/ 5953425 w 7631184"/>
              <a:gd name="connsiteY1335" fmla="*/ 2422788 h 6858054"/>
              <a:gd name="connsiteX1336" fmla="*/ 5972962 w 7631184"/>
              <a:gd name="connsiteY1336" fmla="*/ 2452096 h 6858054"/>
              <a:gd name="connsiteX1337" fmla="*/ 5992500 w 7631184"/>
              <a:gd name="connsiteY1337" fmla="*/ 2461866 h 6858054"/>
              <a:gd name="connsiteX1338" fmla="*/ 6002268 w 7631184"/>
              <a:gd name="connsiteY1338" fmla="*/ 2471635 h 6858054"/>
              <a:gd name="connsiteX1339" fmla="*/ 6002268 w 7631184"/>
              <a:gd name="connsiteY1339" fmla="*/ 2461866 h 6858054"/>
              <a:gd name="connsiteX1340" fmla="*/ 6012037 w 7631184"/>
              <a:gd name="connsiteY1340" fmla="*/ 2471635 h 6858054"/>
              <a:gd name="connsiteX1341" fmla="*/ 6012037 w 7631184"/>
              <a:gd name="connsiteY1341" fmla="*/ 2481404 h 6858054"/>
              <a:gd name="connsiteX1342" fmla="*/ 6021805 w 7631184"/>
              <a:gd name="connsiteY1342" fmla="*/ 2481404 h 6858054"/>
              <a:gd name="connsiteX1343" fmla="*/ 6051111 w 7631184"/>
              <a:gd name="connsiteY1343" fmla="*/ 2500943 h 6858054"/>
              <a:gd name="connsiteX1344" fmla="*/ 6060880 w 7631184"/>
              <a:gd name="connsiteY1344" fmla="*/ 2520482 h 6858054"/>
              <a:gd name="connsiteX1345" fmla="*/ 6070648 w 7631184"/>
              <a:gd name="connsiteY1345" fmla="*/ 2520482 h 6858054"/>
              <a:gd name="connsiteX1346" fmla="*/ 6070648 w 7631184"/>
              <a:gd name="connsiteY1346" fmla="*/ 2530251 h 6858054"/>
              <a:gd name="connsiteX1347" fmla="*/ 6080417 w 7631184"/>
              <a:gd name="connsiteY1347" fmla="*/ 2530251 h 6858054"/>
              <a:gd name="connsiteX1348" fmla="*/ 6090186 w 7631184"/>
              <a:gd name="connsiteY1348" fmla="*/ 2540020 h 6858054"/>
              <a:gd name="connsiteX1349" fmla="*/ 6080417 w 7631184"/>
              <a:gd name="connsiteY1349" fmla="*/ 2540020 h 6858054"/>
              <a:gd name="connsiteX1350" fmla="*/ 6090186 w 7631184"/>
              <a:gd name="connsiteY1350" fmla="*/ 2549789 h 6858054"/>
              <a:gd name="connsiteX1351" fmla="*/ 6129260 w 7631184"/>
              <a:gd name="connsiteY1351" fmla="*/ 2579097 h 6858054"/>
              <a:gd name="connsiteX1352" fmla="*/ 6139029 w 7631184"/>
              <a:gd name="connsiteY1352" fmla="*/ 2588867 h 6858054"/>
              <a:gd name="connsiteX1353" fmla="*/ 6158566 w 7631184"/>
              <a:gd name="connsiteY1353" fmla="*/ 2608406 h 6858054"/>
              <a:gd name="connsiteX1354" fmla="*/ 6197640 w 7631184"/>
              <a:gd name="connsiteY1354" fmla="*/ 2637713 h 6858054"/>
              <a:gd name="connsiteX1355" fmla="*/ 6217178 w 7631184"/>
              <a:gd name="connsiteY1355" fmla="*/ 2657252 h 6858054"/>
              <a:gd name="connsiteX1356" fmla="*/ 6236715 w 7631184"/>
              <a:gd name="connsiteY1356" fmla="*/ 2667021 h 6858054"/>
              <a:gd name="connsiteX1357" fmla="*/ 6256252 w 7631184"/>
              <a:gd name="connsiteY1357" fmla="*/ 2686560 h 6858054"/>
              <a:gd name="connsiteX1358" fmla="*/ 6285558 w 7631184"/>
              <a:gd name="connsiteY1358" fmla="*/ 2706099 h 6858054"/>
              <a:gd name="connsiteX1359" fmla="*/ 6295327 w 7631184"/>
              <a:gd name="connsiteY1359" fmla="*/ 2715868 h 6858054"/>
              <a:gd name="connsiteX1360" fmla="*/ 6305095 w 7631184"/>
              <a:gd name="connsiteY1360" fmla="*/ 2715868 h 6858054"/>
              <a:gd name="connsiteX1361" fmla="*/ 6314864 w 7631184"/>
              <a:gd name="connsiteY1361" fmla="*/ 2725637 h 6858054"/>
              <a:gd name="connsiteX1362" fmla="*/ 6324632 w 7631184"/>
              <a:gd name="connsiteY1362" fmla="*/ 2735406 h 6858054"/>
              <a:gd name="connsiteX1363" fmla="*/ 6344170 w 7631184"/>
              <a:gd name="connsiteY1363" fmla="*/ 2745176 h 6858054"/>
              <a:gd name="connsiteX1364" fmla="*/ 6353938 w 7631184"/>
              <a:gd name="connsiteY1364" fmla="*/ 2754945 h 6858054"/>
              <a:gd name="connsiteX1365" fmla="*/ 6373475 w 7631184"/>
              <a:gd name="connsiteY1365" fmla="*/ 2764714 h 6858054"/>
              <a:gd name="connsiteX1366" fmla="*/ 6412550 w 7631184"/>
              <a:gd name="connsiteY1366" fmla="*/ 2794022 h 6858054"/>
              <a:gd name="connsiteX1367" fmla="*/ 6441856 w 7631184"/>
              <a:gd name="connsiteY1367" fmla="*/ 2813561 h 6858054"/>
              <a:gd name="connsiteX1368" fmla="*/ 6471162 w 7631184"/>
              <a:gd name="connsiteY1368" fmla="*/ 2833099 h 6858054"/>
              <a:gd name="connsiteX1369" fmla="*/ 6480930 w 7631184"/>
              <a:gd name="connsiteY1369" fmla="*/ 2842869 h 6858054"/>
              <a:gd name="connsiteX1370" fmla="*/ 6490699 w 7631184"/>
              <a:gd name="connsiteY1370" fmla="*/ 2852638 h 6858054"/>
              <a:gd name="connsiteX1371" fmla="*/ 6520005 w 7631184"/>
              <a:gd name="connsiteY1371" fmla="*/ 2881946 h 6858054"/>
              <a:gd name="connsiteX1372" fmla="*/ 6529773 w 7631184"/>
              <a:gd name="connsiteY1372" fmla="*/ 2891715 h 6858054"/>
              <a:gd name="connsiteX1373" fmla="*/ 6529773 w 7631184"/>
              <a:gd name="connsiteY1373" fmla="*/ 2881946 h 6858054"/>
              <a:gd name="connsiteX1374" fmla="*/ 6539542 w 7631184"/>
              <a:gd name="connsiteY1374" fmla="*/ 2891715 h 6858054"/>
              <a:gd name="connsiteX1375" fmla="*/ 6549310 w 7631184"/>
              <a:gd name="connsiteY1375" fmla="*/ 2901485 h 6858054"/>
              <a:gd name="connsiteX1376" fmla="*/ 6559079 w 7631184"/>
              <a:gd name="connsiteY1376" fmla="*/ 2901485 h 6858054"/>
              <a:gd name="connsiteX1377" fmla="*/ 6559079 w 7631184"/>
              <a:gd name="connsiteY1377" fmla="*/ 2911254 h 6858054"/>
              <a:gd name="connsiteX1378" fmla="*/ 6578616 w 7631184"/>
              <a:gd name="connsiteY1378" fmla="*/ 2930792 h 6858054"/>
              <a:gd name="connsiteX1379" fmla="*/ 6568848 w 7631184"/>
              <a:gd name="connsiteY1379" fmla="*/ 2930792 h 6858054"/>
              <a:gd name="connsiteX1380" fmla="*/ 6559079 w 7631184"/>
              <a:gd name="connsiteY1380" fmla="*/ 2921023 h 6858054"/>
              <a:gd name="connsiteX1381" fmla="*/ 6539542 w 7631184"/>
              <a:gd name="connsiteY1381" fmla="*/ 2911254 h 6858054"/>
              <a:gd name="connsiteX1382" fmla="*/ 6529773 w 7631184"/>
              <a:gd name="connsiteY1382" fmla="*/ 2901485 h 6858054"/>
              <a:gd name="connsiteX1383" fmla="*/ 6524889 w 7631184"/>
              <a:gd name="connsiteY1383" fmla="*/ 2900264 h 6858054"/>
              <a:gd name="connsiteX1384" fmla="*/ 6524346 w 7631184"/>
              <a:gd name="connsiteY1384" fmla="*/ 2899313 h 6858054"/>
              <a:gd name="connsiteX1385" fmla="*/ 6523668 w 7631184"/>
              <a:gd name="connsiteY1385" fmla="*/ 2897821 h 6858054"/>
              <a:gd name="connsiteX1386" fmla="*/ 6523432 w 7631184"/>
              <a:gd name="connsiteY1386" fmla="*/ 2897714 h 6858054"/>
              <a:gd name="connsiteX1387" fmla="*/ 6520005 w 7631184"/>
              <a:gd name="connsiteY1387" fmla="*/ 2891715 h 6858054"/>
              <a:gd name="connsiteX1388" fmla="*/ 6506573 w 7631184"/>
              <a:gd name="connsiteY1388" fmla="*/ 2886831 h 6858054"/>
              <a:gd name="connsiteX1389" fmla="*/ 6500468 w 7631184"/>
              <a:gd name="connsiteY1389" fmla="*/ 2881947 h 6858054"/>
              <a:gd name="connsiteX1390" fmla="*/ 6496804 w 7631184"/>
              <a:gd name="connsiteY1390" fmla="*/ 2878283 h 6858054"/>
              <a:gd name="connsiteX1391" fmla="*/ 6490699 w 7631184"/>
              <a:gd name="connsiteY1391" fmla="*/ 2872177 h 6858054"/>
              <a:gd name="connsiteX1392" fmla="*/ 6500467 w 7631184"/>
              <a:gd name="connsiteY1392" fmla="*/ 2881946 h 6858054"/>
              <a:gd name="connsiteX1393" fmla="*/ 6500468 w 7631184"/>
              <a:gd name="connsiteY1393" fmla="*/ 2881947 h 6858054"/>
              <a:gd name="connsiteX1394" fmla="*/ 6510236 w 7631184"/>
              <a:gd name="connsiteY1394" fmla="*/ 2891715 h 6858054"/>
              <a:gd name="connsiteX1395" fmla="*/ 6523432 w 7631184"/>
              <a:gd name="connsiteY1395" fmla="*/ 2897714 h 6858054"/>
              <a:gd name="connsiteX1396" fmla="*/ 6524346 w 7631184"/>
              <a:gd name="connsiteY1396" fmla="*/ 2899313 h 6858054"/>
              <a:gd name="connsiteX1397" fmla="*/ 6529773 w 7631184"/>
              <a:gd name="connsiteY1397" fmla="*/ 2911254 h 6858054"/>
              <a:gd name="connsiteX1398" fmla="*/ 6539542 w 7631184"/>
              <a:gd name="connsiteY1398" fmla="*/ 2921023 h 6858054"/>
              <a:gd name="connsiteX1399" fmla="*/ 6549310 w 7631184"/>
              <a:gd name="connsiteY1399" fmla="*/ 2930792 h 6858054"/>
              <a:gd name="connsiteX1400" fmla="*/ 6568848 w 7631184"/>
              <a:gd name="connsiteY1400" fmla="*/ 2940562 h 6858054"/>
              <a:gd name="connsiteX1401" fmla="*/ 6588385 w 7631184"/>
              <a:gd name="connsiteY1401" fmla="*/ 2960100 h 6858054"/>
              <a:gd name="connsiteX1402" fmla="*/ 6607922 w 7631184"/>
              <a:gd name="connsiteY1402" fmla="*/ 2969870 h 6858054"/>
              <a:gd name="connsiteX1403" fmla="*/ 6617691 w 7631184"/>
              <a:gd name="connsiteY1403" fmla="*/ 2979639 h 6858054"/>
              <a:gd name="connsiteX1404" fmla="*/ 6627459 w 7631184"/>
              <a:gd name="connsiteY1404" fmla="*/ 2989408 h 6858054"/>
              <a:gd name="connsiteX1405" fmla="*/ 6656765 w 7631184"/>
              <a:gd name="connsiteY1405" fmla="*/ 3008947 h 6858054"/>
              <a:gd name="connsiteX1406" fmla="*/ 6627459 w 7631184"/>
              <a:gd name="connsiteY1406" fmla="*/ 2999178 h 6858054"/>
              <a:gd name="connsiteX1407" fmla="*/ 6617691 w 7631184"/>
              <a:gd name="connsiteY1407" fmla="*/ 2989408 h 6858054"/>
              <a:gd name="connsiteX1408" fmla="*/ 6607922 w 7631184"/>
              <a:gd name="connsiteY1408" fmla="*/ 2979639 h 6858054"/>
              <a:gd name="connsiteX1409" fmla="*/ 6578616 w 7631184"/>
              <a:gd name="connsiteY1409" fmla="*/ 2960100 h 6858054"/>
              <a:gd name="connsiteX1410" fmla="*/ 6539542 w 7631184"/>
              <a:gd name="connsiteY1410" fmla="*/ 2930792 h 6858054"/>
              <a:gd name="connsiteX1411" fmla="*/ 6500467 w 7631184"/>
              <a:gd name="connsiteY1411" fmla="*/ 2901485 h 6858054"/>
              <a:gd name="connsiteX1412" fmla="*/ 6471162 w 7631184"/>
              <a:gd name="connsiteY1412" fmla="*/ 2872177 h 6858054"/>
              <a:gd name="connsiteX1413" fmla="*/ 6461393 w 7631184"/>
              <a:gd name="connsiteY1413" fmla="*/ 2862407 h 6858054"/>
              <a:gd name="connsiteX1414" fmla="*/ 6451624 w 7631184"/>
              <a:gd name="connsiteY1414" fmla="*/ 2862407 h 6858054"/>
              <a:gd name="connsiteX1415" fmla="*/ 6422318 w 7631184"/>
              <a:gd name="connsiteY1415" fmla="*/ 2842869 h 6858054"/>
              <a:gd name="connsiteX1416" fmla="*/ 6393013 w 7631184"/>
              <a:gd name="connsiteY1416" fmla="*/ 2813561 h 6858054"/>
              <a:gd name="connsiteX1417" fmla="*/ 6353938 w 7631184"/>
              <a:gd name="connsiteY1417" fmla="*/ 2794022 h 6858054"/>
              <a:gd name="connsiteX1418" fmla="*/ 6373475 w 7631184"/>
              <a:gd name="connsiteY1418" fmla="*/ 2813561 h 6858054"/>
              <a:gd name="connsiteX1419" fmla="*/ 6393013 w 7631184"/>
              <a:gd name="connsiteY1419" fmla="*/ 2833099 h 6858054"/>
              <a:gd name="connsiteX1420" fmla="*/ 6412550 w 7631184"/>
              <a:gd name="connsiteY1420" fmla="*/ 2842869 h 6858054"/>
              <a:gd name="connsiteX1421" fmla="*/ 6422318 w 7631184"/>
              <a:gd name="connsiteY1421" fmla="*/ 2852638 h 6858054"/>
              <a:gd name="connsiteX1422" fmla="*/ 6451624 w 7631184"/>
              <a:gd name="connsiteY1422" fmla="*/ 2872177 h 6858054"/>
              <a:gd name="connsiteX1423" fmla="*/ 6461393 w 7631184"/>
              <a:gd name="connsiteY1423" fmla="*/ 2881946 h 6858054"/>
              <a:gd name="connsiteX1424" fmla="*/ 6471162 w 7631184"/>
              <a:gd name="connsiteY1424" fmla="*/ 2891715 h 6858054"/>
              <a:gd name="connsiteX1425" fmla="*/ 6480930 w 7631184"/>
              <a:gd name="connsiteY1425" fmla="*/ 2901485 h 6858054"/>
              <a:gd name="connsiteX1426" fmla="*/ 6490699 w 7631184"/>
              <a:gd name="connsiteY1426" fmla="*/ 2901485 h 6858054"/>
              <a:gd name="connsiteX1427" fmla="*/ 6500467 w 7631184"/>
              <a:gd name="connsiteY1427" fmla="*/ 2911254 h 6858054"/>
              <a:gd name="connsiteX1428" fmla="*/ 6510236 w 7631184"/>
              <a:gd name="connsiteY1428" fmla="*/ 2911254 h 6858054"/>
              <a:gd name="connsiteX1429" fmla="*/ 6510236 w 7631184"/>
              <a:gd name="connsiteY1429" fmla="*/ 2921023 h 6858054"/>
              <a:gd name="connsiteX1430" fmla="*/ 6520005 w 7631184"/>
              <a:gd name="connsiteY1430" fmla="*/ 2921023 h 6858054"/>
              <a:gd name="connsiteX1431" fmla="*/ 6529773 w 7631184"/>
              <a:gd name="connsiteY1431" fmla="*/ 2930792 h 6858054"/>
              <a:gd name="connsiteX1432" fmla="*/ 6539542 w 7631184"/>
              <a:gd name="connsiteY1432" fmla="*/ 2940562 h 6858054"/>
              <a:gd name="connsiteX1433" fmla="*/ 6549310 w 7631184"/>
              <a:gd name="connsiteY1433" fmla="*/ 2950331 h 6858054"/>
              <a:gd name="connsiteX1434" fmla="*/ 6559079 w 7631184"/>
              <a:gd name="connsiteY1434" fmla="*/ 2950331 h 6858054"/>
              <a:gd name="connsiteX1435" fmla="*/ 6578616 w 7631184"/>
              <a:gd name="connsiteY1435" fmla="*/ 2969870 h 6858054"/>
              <a:gd name="connsiteX1436" fmla="*/ 6588385 w 7631184"/>
              <a:gd name="connsiteY1436" fmla="*/ 2979639 h 6858054"/>
              <a:gd name="connsiteX1437" fmla="*/ 6598153 w 7631184"/>
              <a:gd name="connsiteY1437" fmla="*/ 2979639 h 6858054"/>
              <a:gd name="connsiteX1438" fmla="*/ 6607922 w 7631184"/>
              <a:gd name="connsiteY1438" fmla="*/ 2989408 h 6858054"/>
              <a:gd name="connsiteX1439" fmla="*/ 6607922 w 7631184"/>
              <a:gd name="connsiteY1439" fmla="*/ 2999178 h 6858054"/>
              <a:gd name="connsiteX1440" fmla="*/ 6627459 w 7631184"/>
              <a:gd name="connsiteY1440" fmla="*/ 3008947 h 6858054"/>
              <a:gd name="connsiteX1441" fmla="*/ 6656765 w 7631184"/>
              <a:gd name="connsiteY1441" fmla="*/ 3038255 h 6858054"/>
              <a:gd name="connsiteX1442" fmla="*/ 6676302 w 7631184"/>
              <a:gd name="connsiteY1442" fmla="*/ 3048024 h 6858054"/>
              <a:gd name="connsiteX1443" fmla="*/ 6686071 w 7631184"/>
              <a:gd name="connsiteY1443" fmla="*/ 3057793 h 6858054"/>
              <a:gd name="connsiteX1444" fmla="*/ 6725145 w 7631184"/>
              <a:gd name="connsiteY1444" fmla="*/ 3087101 h 6858054"/>
              <a:gd name="connsiteX1445" fmla="*/ 6734914 w 7631184"/>
              <a:gd name="connsiteY1445" fmla="*/ 3096871 h 6858054"/>
              <a:gd name="connsiteX1446" fmla="*/ 6744683 w 7631184"/>
              <a:gd name="connsiteY1446" fmla="*/ 3106640 h 6858054"/>
              <a:gd name="connsiteX1447" fmla="*/ 6754451 w 7631184"/>
              <a:gd name="connsiteY1447" fmla="*/ 3116409 h 6858054"/>
              <a:gd name="connsiteX1448" fmla="*/ 6754451 w 7631184"/>
              <a:gd name="connsiteY1448" fmla="*/ 3126179 h 6858054"/>
              <a:gd name="connsiteX1449" fmla="*/ 6773988 w 7631184"/>
              <a:gd name="connsiteY1449" fmla="*/ 3135948 h 6858054"/>
              <a:gd name="connsiteX1450" fmla="*/ 6803294 w 7631184"/>
              <a:gd name="connsiteY1450" fmla="*/ 3155487 h 6858054"/>
              <a:gd name="connsiteX1451" fmla="*/ 6822832 w 7631184"/>
              <a:gd name="connsiteY1451" fmla="*/ 3175025 h 6858054"/>
              <a:gd name="connsiteX1452" fmla="*/ 6832600 w 7631184"/>
              <a:gd name="connsiteY1452" fmla="*/ 3184794 h 6858054"/>
              <a:gd name="connsiteX1453" fmla="*/ 6842369 w 7631184"/>
              <a:gd name="connsiteY1453" fmla="*/ 3194564 h 6858054"/>
              <a:gd name="connsiteX1454" fmla="*/ 6852137 w 7631184"/>
              <a:gd name="connsiteY1454" fmla="*/ 3204333 h 6858054"/>
              <a:gd name="connsiteX1455" fmla="*/ 6861906 w 7631184"/>
              <a:gd name="connsiteY1455" fmla="*/ 3214102 h 6858054"/>
              <a:gd name="connsiteX1456" fmla="*/ 6871675 w 7631184"/>
              <a:gd name="connsiteY1456" fmla="*/ 3214102 h 6858054"/>
              <a:gd name="connsiteX1457" fmla="*/ 6871675 w 7631184"/>
              <a:gd name="connsiteY1457" fmla="*/ 3223872 h 6858054"/>
              <a:gd name="connsiteX1458" fmla="*/ 6900980 w 7631184"/>
              <a:gd name="connsiteY1458" fmla="*/ 3243410 h 6858054"/>
              <a:gd name="connsiteX1459" fmla="*/ 6910749 w 7631184"/>
              <a:gd name="connsiteY1459" fmla="*/ 3253180 h 6858054"/>
              <a:gd name="connsiteX1460" fmla="*/ 6940055 w 7631184"/>
              <a:gd name="connsiteY1460" fmla="*/ 3272718 h 6858054"/>
              <a:gd name="connsiteX1461" fmla="*/ 6959592 w 7631184"/>
              <a:gd name="connsiteY1461" fmla="*/ 3302026 h 6858054"/>
              <a:gd name="connsiteX1462" fmla="*/ 6969361 w 7631184"/>
              <a:gd name="connsiteY1462" fmla="*/ 3311795 h 6858054"/>
              <a:gd name="connsiteX1463" fmla="*/ 6998667 w 7631184"/>
              <a:gd name="connsiteY1463" fmla="*/ 3331334 h 6858054"/>
              <a:gd name="connsiteX1464" fmla="*/ 7008435 w 7631184"/>
              <a:gd name="connsiteY1464" fmla="*/ 3341103 h 6858054"/>
              <a:gd name="connsiteX1465" fmla="*/ 7008435 w 7631184"/>
              <a:gd name="connsiteY1465" fmla="*/ 3350873 h 6858054"/>
              <a:gd name="connsiteX1466" fmla="*/ 6998667 w 7631184"/>
              <a:gd name="connsiteY1466" fmla="*/ 3350873 h 6858054"/>
              <a:gd name="connsiteX1467" fmla="*/ 6988898 w 7631184"/>
              <a:gd name="connsiteY1467" fmla="*/ 3341103 h 6858054"/>
              <a:gd name="connsiteX1468" fmla="*/ 6979129 w 7631184"/>
              <a:gd name="connsiteY1468" fmla="*/ 3331334 h 6858054"/>
              <a:gd name="connsiteX1469" fmla="*/ 6969361 w 7631184"/>
              <a:gd name="connsiteY1469" fmla="*/ 3321565 h 6858054"/>
              <a:gd name="connsiteX1470" fmla="*/ 6949823 w 7631184"/>
              <a:gd name="connsiteY1470" fmla="*/ 3311795 h 6858054"/>
              <a:gd name="connsiteX1471" fmla="*/ 6930286 w 7631184"/>
              <a:gd name="connsiteY1471" fmla="*/ 3292257 h 6858054"/>
              <a:gd name="connsiteX1472" fmla="*/ 6910749 w 7631184"/>
              <a:gd name="connsiteY1472" fmla="*/ 3282488 h 6858054"/>
              <a:gd name="connsiteX1473" fmla="*/ 6891212 w 7631184"/>
              <a:gd name="connsiteY1473" fmla="*/ 3262949 h 6858054"/>
              <a:gd name="connsiteX1474" fmla="*/ 6852137 w 7631184"/>
              <a:gd name="connsiteY1474" fmla="*/ 3243410 h 6858054"/>
              <a:gd name="connsiteX1475" fmla="*/ 6832600 w 7631184"/>
              <a:gd name="connsiteY1475" fmla="*/ 3223872 h 6858054"/>
              <a:gd name="connsiteX1476" fmla="*/ 6813063 w 7631184"/>
              <a:gd name="connsiteY1476" fmla="*/ 3204333 h 6858054"/>
              <a:gd name="connsiteX1477" fmla="*/ 6803294 w 7631184"/>
              <a:gd name="connsiteY1477" fmla="*/ 3194564 h 6858054"/>
              <a:gd name="connsiteX1478" fmla="*/ 6793526 w 7631184"/>
              <a:gd name="connsiteY1478" fmla="*/ 3184794 h 6858054"/>
              <a:gd name="connsiteX1479" fmla="*/ 6773988 w 7631184"/>
              <a:gd name="connsiteY1479" fmla="*/ 3175025 h 6858054"/>
              <a:gd name="connsiteX1480" fmla="*/ 6754451 w 7631184"/>
              <a:gd name="connsiteY1480" fmla="*/ 3165256 h 6858054"/>
              <a:gd name="connsiteX1481" fmla="*/ 6737435 w 7631184"/>
              <a:gd name="connsiteY1481" fmla="*/ 3150760 h 6858054"/>
              <a:gd name="connsiteX1482" fmla="*/ 6734914 w 7631184"/>
              <a:gd name="connsiteY1482" fmla="*/ 3145717 h 6858054"/>
              <a:gd name="connsiteX1483" fmla="*/ 6731516 w 7631184"/>
              <a:gd name="connsiteY1483" fmla="*/ 3145717 h 6858054"/>
              <a:gd name="connsiteX1484" fmla="*/ 6721482 w 7631184"/>
              <a:gd name="connsiteY1484" fmla="*/ 3137169 h 6858054"/>
              <a:gd name="connsiteX1485" fmla="*/ 6695840 w 7631184"/>
              <a:gd name="connsiteY1485" fmla="*/ 3116409 h 6858054"/>
              <a:gd name="connsiteX1486" fmla="*/ 6676302 w 7631184"/>
              <a:gd name="connsiteY1486" fmla="*/ 3096871 h 6858054"/>
              <a:gd name="connsiteX1487" fmla="*/ 6666534 w 7631184"/>
              <a:gd name="connsiteY1487" fmla="*/ 3087101 h 6858054"/>
              <a:gd name="connsiteX1488" fmla="*/ 6656765 w 7631184"/>
              <a:gd name="connsiteY1488" fmla="*/ 3087101 h 6858054"/>
              <a:gd name="connsiteX1489" fmla="*/ 6637228 w 7631184"/>
              <a:gd name="connsiteY1489" fmla="*/ 3067563 h 6858054"/>
              <a:gd name="connsiteX1490" fmla="*/ 6637228 w 7631184"/>
              <a:gd name="connsiteY1490" fmla="*/ 3077332 h 6858054"/>
              <a:gd name="connsiteX1491" fmla="*/ 6656765 w 7631184"/>
              <a:gd name="connsiteY1491" fmla="*/ 3087101 h 6858054"/>
              <a:gd name="connsiteX1492" fmla="*/ 6676302 w 7631184"/>
              <a:gd name="connsiteY1492" fmla="*/ 3106640 h 6858054"/>
              <a:gd name="connsiteX1493" fmla="*/ 6686071 w 7631184"/>
              <a:gd name="connsiteY1493" fmla="*/ 3116409 h 6858054"/>
              <a:gd name="connsiteX1494" fmla="*/ 6695840 w 7631184"/>
              <a:gd name="connsiteY1494" fmla="*/ 3126179 h 6858054"/>
              <a:gd name="connsiteX1495" fmla="*/ 6705608 w 7631184"/>
              <a:gd name="connsiteY1495" fmla="*/ 3135948 h 6858054"/>
              <a:gd name="connsiteX1496" fmla="*/ 6715377 w 7631184"/>
              <a:gd name="connsiteY1496" fmla="*/ 3135948 h 6858054"/>
              <a:gd name="connsiteX1497" fmla="*/ 6715377 w 7631184"/>
              <a:gd name="connsiteY1497" fmla="*/ 3145717 h 6858054"/>
              <a:gd name="connsiteX1498" fmla="*/ 6715377 w 7631184"/>
              <a:gd name="connsiteY1498" fmla="*/ 3155487 h 6858054"/>
              <a:gd name="connsiteX1499" fmla="*/ 6725145 w 7631184"/>
              <a:gd name="connsiteY1499" fmla="*/ 3155487 h 6858054"/>
              <a:gd name="connsiteX1500" fmla="*/ 6725145 w 7631184"/>
              <a:gd name="connsiteY1500" fmla="*/ 3165256 h 6858054"/>
              <a:gd name="connsiteX1501" fmla="*/ 6734914 w 7631184"/>
              <a:gd name="connsiteY1501" fmla="*/ 3165256 h 6858054"/>
              <a:gd name="connsiteX1502" fmla="*/ 6744683 w 7631184"/>
              <a:gd name="connsiteY1502" fmla="*/ 3175025 h 6858054"/>
              <a:gd name="connsiteX1503" fmla="*/ 6764220 w 7631184"/>
              <a:gd name="connsiteY1503" fmla="*/ 3194564 h 6858054"/>
              <a:gd name="connsiteX1504" fmla="*/ 6773988 w 7631184"/>
              <a:gd name="connsiteY1504" fmla="*/ 3204333 h 6858054"/>
              <a:gd name="connsiteX1505" fmla="*/ 6793526 w 7631184"/>
              <a:gd name="connsiteY1505" fmla="*/ 3214102 h 6858054"/>
              <a:gd name="connsiteX1506" fmla="*/ 6803294 w 7631184"/>
              <a:gd name="connsiteY1506" fmla="*/ 3223872 h 6858054"/>
              <a:gd name="connsiteX1507" fmla="*/ 6813063 w 7631184"/>
              <a:gd name="connsiteY1507" fmla="*/ 3233641 h 6858054"/>
              <a:gd name="connsiteX1508" fmla="*/ 6822832 w 7631184"/>
              <a:gd name="connsiteY1508" fmla="*/ 3243410 h 6858054"/>
              <a:gd name="connsiteX1509" fmla="*/ 6832600 w 7631184"/>
              <a:gd name="connsiteY1509" fmla="*/ 3253180 h 6858054"/>
              <a:gd name="connsiteX1510" fmla="*/ 6852137 w 7631184"/>
              <a:gd name="connsiteY1510" fmla="*/ 3272718 h 6858054"/>
              <a:gd name="connsiteX1511" fmla="*/ 6871675 w 7631184"/>
              <a:gd name="connsiteY1511" fmla="*/ 3282488 h 6858054"/>
              <a:gd name="connsiteX1512" fmla="*/ 6881443 w 7631184"/>
              <a:gd name="connsiteY1512" fmla="*/ 3302026 h 6858054"/>
              <a:gd name="connsiteX1513" fmla="*/ 6871675 w 7631184"/>
              <a:gd name="connsiteY1513" fmla="*/ 3292257 h 6858054"/>
              <a:gd name="connsiteX1514" fmla="*/ 6881443 w 7631184"/>
              <a:gd name="connsiteY1514" fmla="*/ 3302026 h 6858054"/>
              <a:gd name="connsiteX1515" fmla="*/ 6891212 w 7631184"/>
              <a:gd name="connsiteY1515" fmla="*/ 3302026 h 6858054"/>
              <a:gd name="connsiteX1516" fmla="*/ 6900980 w 7631184"/>
              <a:gd name="connsiteY1516" fmla="*/ 3311795 h 6858054"/>
              <a:gd name="connsiteX1517" fmla="*/ 6930286 w 7631184"/>
              <a:gd name="connsiteY1517" fmla="*/ 3341103 h 6858054"/>
              <a:gd name="connsiteX1518" fmla="*/ 6940055 w 7631184"/>
              <a:gd name="connsiteY1518" fmla="*/ 3350873 h 6858054"/>
              <a:gd name="connsiteX1519" fmla="*/ 6949823 w 7631184"/>
              <a:gd name="connsiteY1519" fmla="*/ 3360642 h 6858054"/>
              <a:gd name="connsiteX1520" fmla="*/ 6969361 w 7631184"/>
              <a:gd name="connsiteY1520" fmla="*/ 3370411 h 6858054"/>
              <a:gd name="connsiteX1521" fmla="*/ 6979129 w 7631184"/>
              <a:gd name="connsiteY1521" fmla="*/ 3389950 h 6858054"/>
              <a:gd name="connsiteX1522" fmla="*/ 6969361 w 7631184"/>
              <a:gd name="connsiteY1522" fmla="*/ 3389950 h 6858054"/>
              <a:gd name="connsiteX1523" fmla="*/ 6959592 w 7631184"/>
              <a:gd name="connsiteY1523" fmla="*/ 3380181 h 6858054"/>
              <a:gd name="connsiteX1524" fmla="*/ 6949823 w 7631184"/>
              <a:gd name="connsiteY1524" fmla="*/ 3371633 h 6858054"/>
              <a:gd name="connsiteX1525" fmla="*/ 6945784 w 7631184"/>
              <a:gd name="connsiteY1525" fmla="*/ 3371128 h 6858054"/>
              <a:gd name="connsiteX1526" fmla="*/ 6942497 w 7631184"/>
              <a:gd name="connsiteY1526" fmla="*/ 3365527 h 6858054"/>
              <a:gd name="connsiteX1527" fmla="*/ 6938952 w 7631184"/>
              <a:gd name="connsiteY1527" fmla="*/ 3361587 h 6858054"/>
              <a:gd name="connsiteX1528" fmla="*/ 6938834 w 7631184"/>
              <a:gd name="connsiteY1528" fmla="*/ 3360642 h 6858054"/>
              <a:gd name="connsiteX1529" fmla="*/ 6930286 w 7631184"/>
              <a:gd name="connsiteY1529" fmla="*/ 3350873 h 6858054"/>
              <a:gd name="connsiteX1530" fmla="*/ 6929026 w 7631184"/>
              <a:gd name="connsiteY1530" fmla="*/ 3350558 h 6858054"/>
              <a:gd name="connsiteX1531" fmla="*/ 6920518 w 7631184"/>
              <a:gd name="connsiteY1531" fmla="*/ 3341103 h 6858054"/>
              <a:gd name="connsiteX1532" fmla="*/ 6925402 w 7631184"/>
              <a:gd name="connsiteY1532" fmla="*/ 3349652 h 6858054"/>
              <a:gd name="connsiteX1533" fmla="*/ 6929026 w 7631184"/>
              <a:gd name="connsiteY1533" fmla="*/ 3350558 h 6858054"/>
              <a:gd name="connsiteX1534" fmla="*/ 6938952 w 7631184"/>
              <a:gd name="connsiteY1534" fmla="*/ 3361587 h 6858054"/>
              <a:gd name="connsiteX1535" fmla="*/ 6940055 w 7631184"/>
              <a:gd name="connsiteY1535" fmla="*/ 3370411 h 6858054"/>
              <a:gd name="connsiteX1536" fmla="*/ 6930286 w 7631184"/>
              <a:gd name="connsiteY1536" fmla="*/ 3360642 h 6858054"/>
              <a:gd name="connsiteX1537" fmla="*/ 6925402 w 7631184"/>
              <a:gd name="connsiteY1537" fmla="*/ 3360642 h 6858054"/>
              <a:gd name="connsiteX1538" fmla="*/ 6924181 w 7631184"/>
              <a:gd name="connsiteY1538" fmla="*/ 3360642 h 6858054"/>
              <a:gd name="connsiteX1539" fmla="*/ 6920518 w 7631184"/>
              <a:gd name="connsiteY1539" fmla="*/ 3360642 h 6858054"/>
              <a:gd name="connsiteX1540" fmla="*/ 6861906 w 7631184"/>
              <a:gd name="connsiteY1540" fmla="*/ 3311795 h 6858054"/>
              <a:gd name="connsiteX1541" fmla="*/ 6852137 w 7631184"/>
              <a:gd name="connsiteY1541" fmla="*/ 3302026 h 6858054"/>
              <a:gd name="connsiteX1542" fmla="*/ 6842369 w 7631184"/>
              <a:gd name="connsiteY1542" fmla="*/ 3292257 h 6858054"/>
              <a:gd name="connsiteX1543" fmla="*/ 6832600 w 7631184"/>
              <a:gd name="connsiteY1543" fmla="*/ 3282488 h 6858054"/>
              <a:gd name="connsiteX1544" fmla="*/ 6832600 w 7631184"/>
              <a:gd name="connsiteY1544" fmla="*/ 3292257 h 6858054"/>
              <a:gd name="connsiteX1545" fmla="*/ 6842369 w 7631184"/>
              <a:gd name="connsiteY1545" fmla="*/ 3302026 h 6858054"/>
              <a:gd name="connsiteX1546" fmla="*/ 6852137 w 7631184"/>
              <a:gd name="connsiteY1546" fmla="*/ 3311795 h 6858054"/>
              <a:gd name="connsiteX1547" fmla="*/ 6861906 w 7631184"/>
              <a:gd name="connsiteY1547" fmla="*/ 3311795 h 6858054"/>
              <a:gd name="connsiteX1548" fmla="*/ 6861906 w 7631184"/>
              <a:gd name="connsiteY1548" fmla="*/ 3321565 h 6858054"/>
              <a:gd name="connsiteX1549" fmla="*/ 6852137 w 7631184"/>
              <a:gd name="connsiteY1549" fmla="*/ 3331334 h 6858054"/>
              <a:gd name="connsiteX1550" fmla="*/ 6850916 w 7631184"/>
              <a:gd name="connsiteY1550" fmla="*/ 3330113 h 6858054"/>
              <a:gd name="connsiteX1551" fmla="*/ 6849918 w 7631184"/>
              <a:gd name="connsiteY1551" fmla="*/ 3329115 h 6858054"/>
              <a:gd name="connsiteX1552" fmla="*/ 6846032 w 7631184"/>
              <a:gd name="connsiteY1552" fmla="*/ 3325228 h 6858054"/>
              <a:gd name="connsiteX1553" fmla="*/ 6832600 w 7631184"/>
              <a:gd name="connsiteY1553" fmla="*/ 3311795 h 6858054"/>
              <a:gd name="connsiteX1554" fmla="*/ 6842369 w 7631184"/>
              <a:gd name="connsiteY1554" fmla="*/ 3321565 h 6858054"/>
              <a:gd name="connsiteX1555" fmla="*/ 6849918 w 7631184"/>
              <a:gd name="connsiteY1555" fmla="*/ 3329115 h 6858054"/>
              <a:gd name="connsiteX1556" fmla="*/ 6852137 w 7631184"/>
              <a:gd name="connsiteY1556" fmla="*/ 3331334 h 6858054"/>
              <a:gd name="connsiteX1557" fmla="*/ 6861906 w 7631184"/>
              <a:gd name="connsiteY1557" fmla="*/ 3341103 h 6858054"/>
              <a:gd name="connsiteX1558" fmla="*/ 6881443 w 7631184"/>
              <a:gd name="connsiteY1558" fmla="*/ 3360642 h 6858054"/>
              <a:gd name="connsiteX1559" fmla="*/ 6910749 w 7631184"/>
              <a:gd name="connsiteY1559" fmla="*/ 3380181 h 6858054"/>
              <a:gd name="connsiteX1560" fmla="*/ 6920518 w 7631184"/>
              <a:gd name="connsiteY1560" fmla="*/ 3389950 h 6858054"/>
              <a:gd name="connsiteX1561" fmla="*/ 6930286 w 7631184"/>
              <a:gd name="connsiteY1561" fmla="*/ 3389950 h 6858054"/>
              <a:gd name="connsiteX1562" fmla="*/ 6940055 w 7631184"/>
              <a:gd name="connsiteY1562" fmla="*/ 3409489 h 6858054"/>
              <a:gd name="connsiteX1563" fmla="*/ 6959592 w 7631184"/>
              <a:gd name="connsiteY1563" fmla="*/ 3419258 h 6858054"/>
              <a:gd name="connsiteX1564" fmla="*/ 6969361 w 7631184"/>
              <a:gd name="connsiteY1564" fmla="*/ 3429027 h 6858054"/>
              <a:gd name="connsiteX1565" fmla="*/ 6979129 w 7631184"/>
              <a:gd name="connsiteY1565" fmla="*/ 3438796 h 6858054"/>
              <a:gd name="connsiteX1566" fmla="*/ 6979129 w 7631184"/>
              <a:gd name="connsiteY1566" fmla="*/ 3448566 h 6858054"/>
              <a:gd name="connsiteX1567" fmla="*/ 6988898 w 7631184"/>
              <a:gd name="connsiteY1567" fmla="*/ 3458335 h 6858054"/>
              <a:gd name="connsiteX1568" fmla="*/ 6998667 w 7631184"/>
              <a:gd name="connsiteY1568" fmla="*/ 3468104 h 6858054"/>
              <a:gd name="connsiteX1569" fmla="*/ 7008435 w 7631184"/>
              <a:gd name="connsiteY1569" fmla="*/ 3477874 h 6858054"/>
              <a:gd name="connsiteX1570" fmla="*/ 7018204 w 7631184"/>
              <a:gd name="connsiteY1570" fmla="*/ 3487643 h 6858054"/>
              <a:gd name="connsiteX1571" fmla="*/ 7037741 w 7631184"/>
              <a:gd name="connsiteY1571" fmla="*/ 3507182 h 6858054"/>
              <a:gd name="connsiteX1572" fmla="*/ 7057278 w 7631184"/>
              <a:gd name="connsiteY1572" fmla="*/ 3516951 h 6858054"/>
              <a:gd name="connsiteX1573" fmla="*/ 7057278 w 7631184"/>
              <a:gd name="connsiteY1573" fmla="*/ 3526720 h 6858054"/>
              <a:gd name="connsiteX1574" fmla="*/ 7047510 w 7631184"/>
              <a:gd name="connsiteY1574" fmla="*/ 3516951 h 6858054"/>
              <a:gd name="connsiteX1575" fmla="*/ 7008435 w 7631184"/>
              <a:gd name="connsiteY1575" fmla="*/ 3487643 h 6858054"/>
              <a:gd name="connsiteX1576" fmla="*/ 6998667 w 7631184"/>
              <a:gd name="connsiteY1576" fmla="*/ 3477874 h 6858054"/>
              <a:gd name="connsiteX1577" fmla="*/ 6979129 w 7631184"/>
              <a:gd name="connsiteY1577" fmla="*/ 3458335 h 6858054"/>
              <a:gd name="connsiteX1578" fmla="*/ 6944939 w 7631184"/>
              <a:gd name="connsiteY1578" fmla="*/ 3433912 h 6858054"/>
              <a:gd name="connsiteX1579" fmla="*/ 6917261 w 7631184"/>
              <a:gd name="connsiteY1579" fmla="*/ 3414141 h 6858054"/>
              <a:gd name="connsiteX1580" fmla="*/ 6911970 w 7631184"/>
              <a:gd name="connsiteY1580" fmla="*/ 3405825 h 6858054"/>
              <a:gd name="connsiteX1581" fmla="*/ 6910749 w 7631184"/>
              <a:gd name="connsiteY1581" fmla="*/ 3399719 h 6858054"/>
              <a:gd name="connsiteX1582" fmla="*/ 6910749 w 7631184"/>
              <a:gd name="connsiteY1582" fmla="*/ 3409489 h 6858054"/>
              <a:gd name="connsiteX1583" fmla="*/ 6917261 w 7631184"/>
              <a:gd name="connsiteY1583" fmla="*/ 3414141 h 6858054"/>
              <a:gd name="connsiteX1584" fmla="*/ 6920518 w 7631184"/>
              <a:gd name="connsiteY1584" fmla="*/ 3419258 h 6858054"/>
              <a:gd name="connsiteX1585" fmla="*/ 6959592 w 7631184"/>
              <a:gd name="connsiteY1585" fmla="*/ 3458335 h 6858054"/>
              <a:gd name="connsiteX1586" fmla="*/ 6949823 w 7631184"/>
              <a:gd name="connsiteY1586" fmla="*/ 3458335 h 6858054"/>
              <a:gd name="connsiteX1587" fmla="*/ 6959592 w 7631184"/>
              <a:gd name="connsiteY1587" fmla="*/ 3468104 h 6858054"/>
              <a:gd name="connsiteX1588" fmla="*/ 6979129 w 7631184"/>
              <a:gd name="connsiteY1588" fmla="*/ 3477874 h 6858054"/>
              <a:gd name="connsiteX1589" fmla="*/ 6988898 w 7631184"/>
              <a:gd name="connsiteY1589" fmla="*/ 3487643 h 6858054"/>
              <a:gd name="connsiteX1590" fmla="*/ 7008435 w 7631184"/>
              <a:gd name="connsiteY1590" fmla="*/ 3507182 h 6858054"/>
              <a:gd name="connsiteX1591" fmla="*/ 7008435 w 7631184"/>
              <a:gd name="connsiteY1591" fmla="*/ 3516951 h 6858054"/>
              <a:gd name="connsiteX1592" fmla="*/ 7018204 w 7631184"/>
              <a:gd name="connsiteY1592" fmla="*/ 3526720 h 6858054"/>
              <a:gd name="connsiteX1593" fmla="*/ 6979129 w 7631184"/>
              <a:gd name="connsiteY1593" fmla="*/ 3497412 h 6858054"/>
              <a:gd name="connsiteX1594" fmla="*/ 6969361 w 7631184"/>
              <a:gd name="connsiteY1594" fmla="*/ 3487643 h 6858054"/>
              <a:gd name="connsiteX1595" fmla="*/ 6968140 w 7631184"/>
              <a:gd name="connsiteY1595" fmla="*/ 3487643 h 6858054"/>
              <a:gd name="connsiteX1596" fmla="*/ 6964477 w 7631184"/>
              <a:gd name="connsiteY1596" fmla="*/ 3487643 h 6858054"/>
              <a:gd name="connsiteX1597" fmla="*/ 6960813 w 7631184"/>
              <a:gd name="connsiteY1597" fmla="*/ 3487643 h 6858054"/>
              <a:gd name="connsiteX1598" fmla="*/ 6959592 w 7631184"/>
              <a:gd name="connsiteY1598" fmla="*/ 3487643 h 6858054"/>
              <a:gd name="connsiteX1599" fmla="*/ 6949823 w 7631184"/>
              <a:gd name="connsiteY1599" fmla="*/ 3477874 h 6858054"/>
              <a:gd name="connsiteX1600" fmla="*/ 6920518 w 7631184"/>
              <a:gd name="connsiteY1600" fmla="*/ 3448566 h 6858054"/>
              <a:gd name="connsiteX1601" fmla="*/ 6900980 w 7631184"/>
              <a:gd name="connsiteY1601" fmla="*/ 3438796 h 6858054"/>
              <a:gd name="connsiteX1602" fmla="*/ 6900980 w 7631184"/>
              <a:gd name="connsiteY1602" fmla="*/ 3429027 h 6858054"/>
              <a:gd name="connsiteX1603" fmla="*/ 6881443 w 7631184"/>
              <a:gd name="connsiteY1603" fmla="*/ 3419258 h 6858054"/>
              <a:gd name="connsiteX1604" fmla="*/ 6852137 w 7631184"/>
              <a:gd name="connsiteY1604" fmla="*/ 3389950 h 6858054"/>
              <a:gd name="connsiteX1605" fmla="*/ 6832600 w 7631184"/>
              <a:gd name="connsiteY1605" fmla="*/ 3380181 h 6858054"/>
              <a:gd name="connsiteX1606" fmla="*/ 6822832 w 7631184"/>
              <a:gd name="connsiteY1606" fmla="*/ 3370411 h 6858054"/>
              <a:gd name="connsiteX1607" fmla="*/ 6813063 w 7631184"/>
              <a:gd name="connsiteY1607" fmla="*/ 3360642 h 6858054"/>
              <a:gd name="connsiteX1608" fmla="*/ 6803294 w 7631184"/>
              <a:gd name="connsiteY1608" fmla="*/ 3350873 h 6858054"/>
              <a:gd name="connsiteX1609" fmla="*/ 6793526 w 7631184"/>
              <a:gd name="connsiteY1609" fmla="*/ 3341103 h 6858054"/>
              <a:gd name="connsiteX1610" fmla="*/ 6783757 w 7631184"/>
              <a:gd name="connsiteY1610" fmla="*/ 3331334 h 6858054"/>
              <a:gd name="connsiteX1611" fmla="*/ 6773988 w 7631184"/>
              <a:gd name="connsiteY1611" fmla="*/ 3321565 h 6858054"/>
              <a:gd name="connsiteX1612" fmla="*/ 6764220 w 7631184"/>
              <a:gd name="connsiteY1612" fmla="*/ 3321565 h 6858054"/>
              <a:gd name="connsiteX1613" fmla="*/ 6734914 w 7631184"/>
              <a:gd name="connsiteY1613" fmla="*/ 3302026 h 6858054"/>
              <a:gd name="connsiteX1614" fmla="*/ 6725145 w 7631184"/>
              <a:gd name="connsiteY1614" fmla="*/ 3302026 h 6858054"/>
              <a:gd name="connsiteX1615" fmla="*/ 6715377 w 7631184"/>
              <a:gd name="connsiteY1615" fmla="*/ 3292257 h 6858054"/>
              <a:gd name="connsiteX1616" fmla="*/ 6686071 w 7631184"/>
              <a:gd name="connsiteY1616" fmla="*/ 3262949 h 6858054"/>
              <a:gd name="connsiteX1617" fmla="*/ 6656765 w 7631184"/>
              <a:gd name="connsiteY1617" fmla="*/ 3243410 h 6858054"/>
              <a:gd name="connsiteX1618" fmla="*/ 6650660 w 7631184"/>
              <a:gd name="connsiteY1618" fmla="*/ 3237305 h 6858054"/>
              <a:gd name="connsiteX1619" fmla="*/ 6649214 w 7631184"/>
              <a:gd name="connsiteY1619" fmla="*/ 3235859 h 6858054"/>
              <a:gd name="connsiteX1620" fmla="*/ 6643333 w 7631184"/>
              <a:gd name="connsiteY1620" fmla="*/ 3229978 h 6858054"/>
              <a:gd name="connsiteX1621" fmla="*/ 6637228 w 7631184"/>
              <a:gd name="connsiteY1621" fmla="*/ 3223872 h 6858054"/>
              <a:gd name="connsiteX1622" fmla="*/ 6649214 w 7631184"/>
              <a:gd name="connsiteY1622" fmla="*/ 3235859 h 6858054"/>
              <a:gd name="connsiteX1623" fmla="*/ 6656765 w 7631184"/>
              <a:gd name="connsiteY1623" fmla="*/ 3243410 h 6858054"/>
              <a:gd name="connsiteX1624" fmla="*/ 6686071 w 7631184"/>
              <a:gd name="connsiteY1624" fmla="*/ 3272718 h 6858054"/>
              <a:gd name="connsiteX1625" fmla="*/ 6715377 w 7631184"/>
              <a:gd name="connsiteY1625" fmla="*/ 3292257 h 6858054"/>
              <a:gd name="connsiteX1626" fmla="*/ 6725145 w 7631184"/>
              <a:gd name="connsiteY1626" fmla="*/ 3302026 h 6858054"/>
              <a:gd name="connsiteX1627" fmla="*/ 6744683 w 7631184"/>
              <a:gd name="connsiteY1627" fmla="*/ 3321565 h 6858054"/>
              <a:gd name="connsiteX1628" fmla="*/ 6764220 w 7631184"/>
              <a:gd name="connsiteY1628" fmla="*/ 3331334 h 6858054"/>
              <a:gd name="connsiteX1629" fmla="*/ 6783757 w 7631184"/>
              <a:gd name="connsiteY1629" fmla="*/ 3341103 h 6858054"/>
              <a:gd name="connsiteX1630" fmla="*/ 6783757 w 7631184"/>
              <a:gd name="connsiteY1630" fmla="*/ 3350873 h 6858054"/>
              <a:gd name="connsiteX1631" fmla="*/ 6803294 w 7631184"/>
              <a:gd name="connsiteY1631" fmla="*/ 3370411 h 6858054"/>
              <a:gd name="connsiteX1632" fmla="*/ 6803294 w 7631184"/>
              <a:gd name="connsiteY1632" fmla="*/ 3380181 h 6858054"/>
              <a:gd name="connsiteX1633" fmla="*/ 6822832 w 7631184"/>
              <a:gd name="connsiteY1633" fmla="*/ 3389950 h 6858054"/>
              <a:gd name="connsiteX1634" fmla="*/ 6852137 w 7631184"/>
              <a:gd name="connsiteY1634" fmla="*/ 3419258 h 6858054"/>
              <a:gd name="connsiteX1635" fmla="*/ 6871675 w 7631184"/>
              <a:gd name="connsiteY1635" fmla="*/ 3429027 h 6858054"/>
              <a:gd name="connsiteX1636" fmla="*/ 6881443 w 7631184"/>
              <a:gd name="connsiteY1636" fmla="*/ 3438796 h 6858054"/>
              <a:gd name="connsiteX1637" fmla="*/ 6900980 w 7631184"/>
              <a:gd name="connsiteY1637" fmla="*/ 3458335 h 6858054"/>
              <a:gd name="connsiteX1638" fmla="*/ 6910749 w 7631184"/>
              <a:gd name="connsiteY1638" fmla="*/ 3458335 h 6858054"/>
              <a:gd name="connsiteX1639" fmla="*/ 6920518 w 7631184"/>
              <a:gd name="connsiteY1639" fmla="*/ 3468104 h 6858054"/>
              <a:gd name="connsiteX1640" fmla="*/ 6920518 w 7631184"/>
              <a:gd name="connsiteY1640" fmla="*/ 3477874 h 6858054"/>
              <a:gd name="connsiteX1641" fmla="*/ 6930286 w 7631184"/>
              <a:gd name="connsiteY1641" fmla="*/ 3487643 h 6858054"/>
              <a:gd name="connsiteX1642" fmla="*/ 6940055 w 7631184"/>
              <a:gd name="connsiteY1642" fmla="*/ 3487643 h 6858054"/>
              <a:gd name="connsiteX1643" fmla="*/ 6949823 w 7631184"/>
              <a:gd name="connsiteY1643" fmla="*/ 3497412 h 6858054"/>
              <a:gd name="connsiteX1644" fmla="*/ 6969361 w 7631184"/>
              <a:gd name="connsiteY1644" fmla="*/ 3516951 h 6858054"/>
              <a:gd name="connsiteX1645" fmla="*/ 6998667 w 7631184"/>
              <a:gd name="connsiteY1645" fmla="*/ 3536490 h 6858054"/>
              <a:gd name="connsiteX1646" fmla="*/ 7018204 w 7631184"/>
              <a:gd name="connsiteY1646" fmla="*/ 3556028 h 6858054"/>
              <a:gd name="connsiteX1647" fmla="*/ 7027972 w 7631184"/>
              <a:gd name="connsiteY1647" fmla="*/ 3575567 h 6858054"/>
              <a:gd name="connsiteX1648" fmla="*/ 7037741 w 7631184"/>
              <a:gd name="connsiteY1648" fmla="*/ 3585336 h 6858054"/>
              <a:gd name="connsiteX1649" fmla="*/ 7008435 w 7631184"/>
              <a:gd name="connsiteY1649" fmla="*/ 3556028 h 6858054"/>
              <a:gd name="connsiteX1650" fmla="*/ 6988898 w 7631184"/>
              <a:gd name="connsiteY1650" fmla="*/ 3536490 h 6858054"/>
              <a:gd name="connsiteX1651" fmla="*/ 6969361 w 7631184"/>
              <a:gd name="connsiteY1651" fmla="*/ 3526720 h 6858054"/>
              <a:gd name="connsiteX1652" fmla="*/ 6959592 w 7631184"/>
              <a:gd name="connsiteY1652" fmla="*/ 3516951 h 6858054"/>
              <a:gd name="connsiteX1653" fmla="*/ 6959592 w 7631184"/>
              <a:gd name="connsiteY1653" fmla="*/ 3526720 h 6858054"/>
              <a:gd name="connsiteX1654" fmla="*/ 6969361 w 7631184"/>
              <a:gd name="connsiteY1654" fmla="*/ 3536490 h 6858054"/>
              <a:gd name="connsiteX1655" fmla="*/ 6979129 w 7631184"/>
              <a:gd name="connsiteY1655" fmla="*/ 3546259 h 6858054"/>
              <a:gd name="connsiteX1656" fmla="*/ 6988898 w 7631184"/>
              <a:gd name="connsiteY1656" fmla="*/ 3556028 h 6858054"/>
              <a:gd name="connsiteX1657" fmla="*/ 7008435 w 7631184"/>
              <a:gd name="connsiteY1657" fmla="*/ 3575567 h 6858054"/>
              <a:gd name="connsiteX1658" fmla="*/ 7008435 w 7631184"/>
              <a:gd name="connsiteY1658" fmla="*/ 3585336 h 6858054"/>
              <a:gd name="connsiteX1659" fmla="*/ 6998667 w 7631184"/>
              <a:gd name="connsiteY1659" fmla="*/ 3585336 h 6858054"/>
              <a:gd name="connsiteX1660" fmla="*/ 6998667 w 7631184"/>
              <a:gd name="connsiteY1660" fmla="*/ 3575567 h 6858054"/>
              <a:gd name="connsiteX1661" fmla="*/ 6969361 w 7631184"/>
              <a:gd name="connsiteY1661" fmla="*/ 3556028 h 6858054"/>
              <a:gd name="connsiteX1662" fmla="*/ 6949823 w 7631184"/>
              <a:gd name="connsiteY1662" fmla="*/ 3526720 h 6858054"/>
              <a:gd name="connsiteX1663" fmla="*/ 6920518 w 7631184"/>
              <a:gd name="connsiteY1663" fmla="*/ 3507182 h 6858054"/>
              <a:gd name="connsiteX1664" fmla="*/ 6910749 w 7631184"/>
              <a:gd name="connsiteY1664" fmla="*/ 3497412 h 6858054"/>
              <a:gd name="connsiteX1665" fmla="*/ 6900980 w 7631184"/>
              <a:gd name="connsiteY1665" fmla="*/ 3497412 h 6858054"/>
              <a:gd name="connsiteX1666" fmla="*/ 6910749 w 7631184"/>
              <a:gd name="connsiteY1666" fmla="*/ 3507182 h 6858054"/>
              <a:gd name="connsiteX1667" fmla="*/ 6949823 w 7631184"/>
              <a:gd name="connsiteY1667" fmla="*/ 3536490 h 6858054"/>
              <a:gd name="connsiteX1668" fmla="*/ 6969361 w 7631184"/>
              <a:gd name="connsiteY1668" fmla="*/ 3556028 h 6858054"/>
              <a:gd name="connsiteX1669" fmla="*/ 6988898 w 7631184"/>
              <a:gd name="connsiteY1669" fmla="*/ 3575567 h 6858054"/>
              <a:gd name="connsiteX1670" fmla="*/ 6998667 w 7631184"/>
              <a:gd name="connsiteY1670" fmla="*/ 3595105 h 6858054"/>
              <a:gd name="connsiteX1671" fmla="*/ 7027972 w 7631184"/>
              <a:gd name="connsiteY1671" fmla="*/ 3614644 h 6858054"/>
              <a:gd name="connsiteX1672" fmla="*/ 7037741 w 7631184"/>
              <a:gd name="connsiteY1672" fmla="*/ 3624413 h 6858054"/>
              <a:gd name="connsiteX1673" fmla="*/ 7086584 w 7631184"/>
              <a:gd name="connsiteY1673" fmla="*/ 3673260 h 6858054"/>
              <a:gd name="connsiteX1674" fmla="*/ 7096353 w 7631184"/>
              <a:gd name="connsiteY1674" fmla="*/ 3683029 h 6858054"/>
              <a:gd name="connsiteX1675" fmla="*/ 7115890 w 7631184"/>
              <a:gd name="connsiteY1675" fmla="*/ 3712337 h 6858054"/>
              <a:gd name="connsiteX1676" fmla="*/ 7125658 w 7631184"/>
              <a:gd name="connsiteY1676" fmla="*/ 3722106 h 6858054"/>
              <a:gd name="connsiteX1677" fmla="*/ 7184270 w 7631184"/>
              <a:gd name="connsiteY1677" fmla="*/ 3780722 h 6858054"/>
              <a:gd name="connsiteX1678" fmla="*/ 7223345 w 7631184"/>
              <a:gd name="connsiteY1678" fmla="*/ 3819799 h 6858054"/>
              <a:gd name="connsiteX1679" fmla="*/ 7272188 w 7631184"/>
              <a:gd name="connsiteY1679" fmla="*/ 3868646 h 6858054"/>
              <a:gd name="connsiteX1680" fmla="*/ 7291725 w 7631184"/>
              <a:gd name="connsiteY1680" fmla="*/ 3888185 h 6858054"/>
              <a:gd name="connsiteX1681" fmla="*/ 7301493 w 7631184"/>
              <a:gd name="connsiteY1681" fmla="*/ 3907723 h 6858054"/>
              <a:gd name="connsiteX1682" fmla="*/ 7321031 w 7631184"/>
              <a:gd name="connsiteY1682" fmla="*/ 3917493 h 6858054"/>
              <a:gd name="connsiteX1683" fmla="*/ 7330799 w 7631184"/>
              <a:gd name="connsiteY1683" fmla="*/ 3937031 h 6858054"/>
              <a:gd name="connsiteX1684" fmla="*/ 7350337 w 7631184"/>
              <a:gd name="connsiteY1684" fmla="*/ 3946800 h 6858054"/>
              <a:gd name="connsiteX1685" fmla="*/ 7360105 w 7631184"/>
              <a:gd name="connsiteY1685" fmla="*/ 3956570 h 6858054"/>
              <a:gd name="connsiteX1686" fmla="*/ 7379642 w 7631184"/>
              <a:gd name="connsiteY1686" fmla="*/ 3976108 h 6858054"/>
              <a:gd name="connsiteX1687" fmla="*/ 7438254 w 7631184"/>
              <a:gd name="connsiteY1687" fmla="*/ 4034724 h 6858054"/>
              <a:gd name="connsiteX1688" fmla="*/ 7448023 w 7631184"/>
              <a:gd name="connsiteY1688" fmla="*/ 4054263 h 6858054"/>
              <a:gd name="connsiteX1689" fmla="*/ 7467560 w 7631184"/>
              <a:gd name="connsiteY1689" fmla="*/ 4073801 h 6858054"/>
              <a:gd name="connsiteX1690" fmla="*/ 7496866 w 7631184"/>
              <a:gd name="connsiteY1690" fmla="*/ 4103109 h 6858054"/>
              <a:gd name="connsiteX1691" fmla="*/ 7526172 w 7631184"/>
              <a:gd name="connsiteY1691" fmla="*/ 4142187 h 6858054"/>
              <a:gd name="connsiteX1692" fmla="*/ 7535940 w 7631184"/>
              <a:gd name="connsiteY1692" fmla="*/ 4142187 h 6858054"/>
              <a:gd name="connsiteX1693" fmla="*/ 7545709 w 7631184"/>
              <a:gd name="connsiteY1693" fmla="*/ 4151956 h 6858054"/>
              <a:gd name="connsiteX1694" fmla="*/ 7545709 w 7631184"/>
              <a:gd name="connsiteY1694" fmla="*/ 4161725 h 6858054"/>
              <a:gd name="connsiteX1695" fmla="*/ 7555477 w 7631184"/>
              <a:gd name="connsiteY1695" fmla="*/ 4171495 h 6858054"/>
              <a:gd name="connsiteX1696" fmla="*/ 7575015 w 7631184"/>
              <a:gd name="connsiteY1696" fmla="*/ 4191033 h 6858054"/>
              <a:gd name="connsiteX1697" fmla="*/ 7594552 w 7631184"/>
              <a:gd name="connsiteY1697" fmla="*/ 4210572 h 6858054"/>
              <a:gd name="connsiteX1698" fmla="*/ 7604320 w 7631184"/>
              <a:gd name="connsiteY1698" fmla="*/ 4210572 h 6858054"/>
              <a:gd name="connsiteX1699" fmla="*/ 7614089 w 7631184"/>
              <a:gd name="connsiteY1699" fmla="*/ 4220341 h 6858054"/>
              <a:gd name="connsiteX1700" fmla="*/ 7623858 w 7631184"/>
              <a:gd name="connsiteY1700" fmla="*/ 4239880 h 6858054"/>
              <a:gd name="connsiteX1701" fmla="*/ 7623858 w 7631184"/>
              <a:gd name="connsiteY1701" fmla="*/ 4249649 h 6858054"/>
              <a:gd name="connsiteX1702" fmla="*/ 7594552 w 7631184"/>
              <a:gd name="connsiteY1702" fmla="*/ 4230110 h 6858054"/>
              <a:gd name="connsiteX1703" fmla="*/ 7584783 w 7631184"/>
              <a:gd name="connsiteY1703" fmla="*/ 4220341 h 6858054"/>
              <a:gd name="connsiteX1704" fmla="*/ 7575015 w 7631184"/>
              <a:gd name="connsiteY1704" fmla="*/ 4220341 h 6858054"/>
              <a:gd name="connsiteX1705" fmla="*/ 7565246 w 7631184"/>
              <a:gd name="connsiteY1705" fmla="*/ 4200803 h 6858054"/>
              <a:gd name="connsiteX1706" fmla="*/ 7555477 w 7631184"/>
              <a:gd name="connsiteY1706" fmla="*/ 4191033 h 6858054"/>
              <a:gd name="connsiteX1707" fmla="*/ 7555477 w 7631184"/>
              <a:gd name="connsiteY1707" fmla="*/ 4181264 h 6858054"/>
              <a:gd name="connsiteX1708" fmla="*/ 7487097 w 7631184"/>
              <a:gd name="connsiteY1708" fmla="*/ 4112879 h 6858054"/>
              <a:gd name="connsiteX1709" fmla="*/ 7467560 w 7631184"/>
              <a:gd name="connsiteY1709" fmla="*/ 4083571 h 6858054"/>
              <a:gd name="connsiteX1710" fmla="*/ 7448023 w 7631184"/>
              <a:gd name="connsiteY1710" fmla="*/ 4064032 h 6858054"/>
              <a:gd name="connsiteX1711" fmla="*/ 7428485 w 7631184"/>
              <a:gd name="connsiteY1711" fmla="*/ 4044494 h 6858054"/>
              <a:gd name="connsiteX1712" fmla="*/ 7418717 w 7631184"/>
              <a:gd name="connsiteY1712" fmla="*/ 4034724 h 6858054"/>
              <a:gd name="connsiteX1713" fmla="*/ 7399180 w 7631184"/>
              <a:gd name="connsiteY1713" fmla="*/ 4015186 h 6858054"/>
              <a:gd name="connsiteX1714" fmla="*/ 7369874 w 7631184"/>
              <a:gd name="connsiteY1714" fmla="*/ 3985878 h 6858054"/>
              <a:gd name="connsiteX1715" fmla="*/ 7350337 w 7631184"/>
              <a:gd name="connsiteY1715" fmla="*/ 3966339 h 6858054"/>
              <a:gd name="connsiteX1716" fmla="*/ 7340568 w 7631184"/>
              <a:gd name="connsiteY1716" fmla="*/ 3956570 h 6858054"/>
              <a:gd name="connsiteX1717" fmla="*/ 7330799 w 7631184"/>
              <a:gd name="connsiteY1717" fmla="*/ 3946800 h 6858054"/>
              <a:gd name="connsiteX1718" fmla="*/ 7252650 w 7631184"/>
              <a:gd name="connsiteY1718" fmla="*/ 3868646 h 6858054"/>
              <a:gd name="connsiteX1719" fmla="*/ 7223345 w 7631184"/>
              <a:gd name="connsiteY1719" fmla="*/ 3839338 h 6858054"/>
              <a:gd name="connsiteX1720" fmla="*/ 7194039 w 7631184"/>
              <a:gd name="connsiteY1720" fmla="*/ 3819799 h 6858054"/>
              <a:gd name="connsiteX1721" fmla="*/ 7184270 w 7631184"/>
              <a:gd name="connsiteY1721" fmla="*/ 3810030 h 6858054"/>
              <a:gd name="connsiteX1722" fmla="*/ 7184270 w 7631184"/>
              <a:gd name="connsiteY1722" fmla="*/ 3819799 h 6858054"/>
              <a:gd name="connsiteX1723" fmla="*/ 7194039 w 7631184"/>
              <a:gd name="connsiteY1723" fmla="*/ 3839338 h 6858054"/>
              <a:gd name="connsiteX1724" fmla="*/ 7203807 w 7631184"/>
              <a:gd name="connsiteY1724" fmla="*/ 3858877 h 6858054"/>
              <a:gd name="connsiteX1725" fmla="*/ 7184270 w 7631184"/>
              <a:gd name="connsiteY1725" fmla="*/ 3829569 h 6858054"/>
              <a:gd name="connsiteX1726" fmla="*/ 7154964 w 7631184"/>
              <a:gd name="connsiteY1726" fmla="*/ 3800261 h 6858054"/>
              <a:gd name="connsiteX1727" fmla="*/ 7135427 w 7631184"/>
              <a:gd name="connsiteY1727" fmla="*/ 3780722 h 6858054"/>
              <a:gd name="connsiteX1728" fmla="*/ 7106121 w 7631184"/>
              <a:gd name="connsiteY1728" fmla="*/ 3751414 h 6858054"/>
              <a:gd name="connsiteX1729" fmla="*/ 7086584 w 7631184"/>
              <a:gd name="connsiteY1729" fmla="*/ 3722106 h 6858054"/>
              <a:gd name="connsiteX1730" fmla="*/ 7076815 w 7631184"/>
              <a:gd name="connsiteY1730" fmla="*/ 3722106 h 6858054"/>
              <a:gd name="connsiteX1731" fmla="*/ 7057278 w 7631184"/>
              <a:gd name="connsiteY1731" fmla="*/ 3702568 h 6858054"/>
              <a:gd name="connsiteX1732" fmla="*/ 7047510 w 7631184"/>
              <a:gd name="connsiteY1732" fmla="*/ 3692798 h 6858054"/>
              <a:gd name="connsiteX1733" fmla="*/ 7047510 w 7631184"/>
              <a:gd name="connsiteY1733" fmla="*/ 3702568 h 6858054"/>
              <a:gd name="connsiteX1734" fmla="*/ 7027972 w 7631184"/>
              <a:gd name="connsiteY1734" fmla="*/ 3692798 h 6858054"/>
              <a:gd name="connsiteX1735" fmla="*/ 7018204 w 7631184"/>
              <a:gd name="connsiteY1735" fmla="*/ 3673260 h 6858054"/>
              <a:gd name="connsiteX1736" fmla="*/ 6998667 w 7631184"/>
              <a:gd name="connsiteY1736" fmla="*/ 3663491 h 6858054"/>
              <a:gd name="connsiteX1737" fmla="*/ 6969361 w 7631184"/>
              <a:gd name="connsiteY1737" fmla="*/ 3634183 h 6858054"/>
              <a:gd name="connsiteX1738" fmla="*/ 6988898 w 7631184"/>
              <a:gd name="connsiteY1738" fmla="*/ 3653721 h 6858054"/>
              <a:gd name="connsiteX1739" fmla="*/ 7008435 w 7631184"/>
              <a:gd name="connsiteY1739" fmla="*/ 3692798 h 6858054"/>
              <a:gd name="connsiteX1740" fmla="*/ 7027972 w 7631184"/>
              <a:gd name="connsiteY1740" fmla="*/ 3702568 h 6858054"/>
              <a:gd name="connsiteX1741" fmla="*/ 7027972 w 7631184"/>
              <a:gd name="connsiteY1741" fmla="*/ 3712337 h 6858054"/>
              <a:gd name="connsiteX1742" fmla="*/ 7047510 w 7631184"/>
              <a:gd name="connsiteY1742" fmla="*/ 3722106 h 6858054"/>
              <a:gd name="connsiteX1743" fmla="*/ 7067047 w 7631184"/>
              <a:gd name="connsiteY1743" fmla="*/ 3741645 h 6858054"/>
              <a:gd name="connsiteX1744" fmla="*/ 7067047 w 7631184"/>
              <a:gd name="connsiteY1744" fmla="*/ 3751414 h 6858054"/>
              <a:gd name="connsiteX1745" fmla="*/ 7076815 w 7631184"/>
              <a:gd name="connsiteY1745" fmla="*/ 3751414 h 6858054"/>
              <a:gd name="connsiteX1746" fmla="*/ 7076815 w 7631184"/>
              <a:gd name="connsiteY1746" fmla="*/ 3761184 h 6858054"/>
              <a:gd name="connsiteX1747" fmla="*/ 7086584 w 7631184"/>
              <a:gd name="connsiteY1747" fmla="*/ 3770953 h 6858054"/>
              <a:gd name="connsiteX1748" fmla="*/ 7115890 w 7631184"/>
              <a:gd name="connsiteY1748" fmla="*/ 3790492 h 6858054"/>
              <a:gd name="connsiteX1749" fmla="*/ 7125658 w 7631184"/>
              <a:gd name="connsiteY1749" fmla="*/ 3800261 h 6858054"/>
              <a:gd name="connsiteX1750" fmla="*/ 7135427 w 7631184"/>
              <a:gd name="connsiteY1750" fmla="*/ 3810030 h 6858054"/>
              <a:gd name="connsiteX1751" fmla="*/ 7135427 w 7631184"/>
              <a:gd name="connsiteY1751" fmla="*/ 3819799 h 6858054"/>
              <a:gd name="connsiteX1752" fmla="*/ 7223345 w 7631184"/>
              <a:gd name="connsiteY1752" fmla="*/ 3897954 h 6858054"/>
              <a:gd name="connsiteX1753" fmla="*/ 7252650 w 7631184"/>
              <a:gd name="connsiteY1753" fmla="*/ 3927262 h 6858054"/>
              <a:gd name="connsiteX1754" fmla="*/ 7272188 w 7631184"/>
              <a:gd name="connsiteY1754" fmla="*/ 3946800 h 6858054"/>
              <a:gd name="connsiteX1755" fmla="*/ 7321031 w 7631184"/>
              <a:gd name="connsiteY1755" fmla="*/ 4005416 h 6858054"/>
              <a:gd name="connsiteX1756" fmla="*/ 7369874 w 7631184"/>
              <a:gd name="connsiteY1756" fmla="*/ 4054263 h 6858054"/>
              <a:gd name="connsiteX1757" fmla="*/ 7399180 w 7631184"/>
              <a:gd name="connsiteY1757" fmla="*/ 4083571 h 6858054"/>
              <a:gd name="connsiteX1758" fmla="*/ 7408948 w 7631184"/>
              <a:gd name="connsiteY1758" fmla="*/ 4093340 h 6858054"/>
              <a:gd name="connsiteX1759" fmla="*/ 7467560 w 7631184"/>
              <a:gd name="connsiteY1759" fmla="*/ 4151956 h 6858054"/>
              <a:gd name="connsiteX1760" fmla="*/ 7487097 w 7631184"/>
              <a:gd name="connsiteY1760" fmla="*/ 4171495 h 6858054"/>
              <a:gd name="connsiteX1761" fmla="*/ 7565246 w 7631184"/>
              <a:gd name="connsiteY1761" fmla="*/ 4230110 h 6858054"/>
              <a:gd name="connsiteX1762" fmla="*/ 7565246 w 7631184"/>
              <a:gd name="connsiteY1762" fmla="*/ 4239880 h 6858054"/>
              <a:gd name="connsiteX1763" fmla="*/ 7467560 w 7631184"/>
              <a:gd name="connsiteY1763" fmla="*/ 4161725 h 6858054"/>
              <a:gd name="connsiteX1764" fmla="*/ 7350337 w 7631184"/>
              <a:gd name="connsiteY1764" fmla="*/ 4044494 h 6858054"/>
              <a:gd name="connsiteX1765" fmla="*/ 7311262 w 7631184"/>
              <a:gd name="connsiteY1765" fmla="*/ 4005416 h 6858054"/>
              <a:gd name="connsiteX1766" fmla="*/ 7272188 w 7631184"/>
              <a:gd name="connsiteY1766" fmla="*/ 3966339 h 6858054"/>
              <a:gd name="connsiteX1767" fmla="*/ 7252650 w 7631184"/>
              <a:gd name="connsiteY1767" fmla="*/ 3946800 h 6858054"/>
              <a:gd name="connsiteX1768" fmla="*/ 7281956 w 7631184"/>
              <a:gd name="connsiteY1768" fmla="*/ 3985878 h 6858054"/>
              <a:gd name="connsiteX1769" fmla="*/ 7301493 w 7631184"/>
              <a:gd name="connsiteY1769" fmla="*/ 4005416 h 6858054"/>
              <a:gd name="connsiteX1770" fmla="*/ 7360105 w 7631184"/>
              <a:gd name="connsiteY1770" fmla="*/ 4064032 h 6858054"/>
              <a:gd name="connsiteX1771" fmla="*/ 7379642 w 7631184"/>
              <a:gd name="connsiteY1771" fmla="*/ 4083571 h 6858054"/>
              <a:gd name="connsiteX1772" fmla="*/ 7399180 w 7631184"/>
              <a:gd name="connsiteY1772" fmla="*/ 4103109 h 6858054"/>
              <a:gd name="connsiteX1773" fmla="*/ 7477328 w 7631184"/>
              <a:gd name="connsiteY1773" fmla="*/ 4191033 h 6858054"/>
              <a:gd name="connsiteX1774" fmla="*/ 7487097 w 7631184"/>
              <a:gd name="connsiteY1774" fmla="*/ 4200803 h 6858054"/>
              <a:gd name="connsiteX1775" fmla="*/ 7496866 w 7631184"/>
              <a:gd name="connsiteY1775" fmla="*/ 4220341 h 6858054"/>
              <a:gd name="connsiteX1776" fmla="*/ 7506634 w 7631184"/>
              <a:gd name="connsiteY1776" fmla="*/ 4230110 h 6858054"/>
              <a:gd name="connsiteX1777" fmla="*/ 7516403 w 7631184"/>
              <a:gd name="connsiteY1777" fmla="*/ 4239880 h 6858054"/>
              <a:gd name="connsiteX1778" fmla="*/ 7526172 w 7631184"/>
              <a:gd name="connsiteY1778" fmla="*/ 4249649 h 6858054"/>
              <a:gd name="connsiteX1779" fmla="*/ 7535940 w 7631184"/>
              <a:gd name="connsiteY1779" fmla="*/ 4259418 h 6858054"/>
              <a:gd name="connsiteX1780" fmla="*/ 7545709 w 7631184"/>
              <a:gd name="connsiteY1780" fmla="*/ 4269188 h 6858054"/>
              <a:gd name="connsiteX1781" fmla="*/ 7575015 w 7631184"/>
              <a:gd name="connsiteY1781" fmla="*/ 4298496 h 6858054"/>
              <a:gd name="connsiteX1782" fmla="*/ 7594552 w 7631184"/>
              <a:gd name="connsiteY1782" fmla="*/ 4318034 h 6858054"/>
              <a:gd name="connsiteX1783" fmla="*/ 7535940 w 7631184"/>
              <a:gd name="connsiteY1783" fmla="*/ 4269188 h 6858054"/>
              <a:gd name="connsiteX1784" fmla="*/ 7526172 w 7631184"/>
              <a:gd name="connsiteY1784" fmla="*/ 4259418 h 6858054"/>
              <a:gd name="connsiteX1785" fmla="*/ 7516403 w 7631184"/>
              <a:gd name="connsiteY1785" fmla="*/ 4249649 h 6858054"/>
              <a:gd name="connsiteX1786" fmla="*/ 7496866 w 7631184"/>
              <a:gd name="connsiteY1786" fmla="*/ 4230110 h 6858054"/>
              <a:gd name="connsiteX1787" fmla="*/ 7487097 w 7631184"/>
              <a:gd name="connsiteY1787" fmla="*/ 4220341 h 6858054"/>
              <a:gd name="connsiteX1788" fmla="*/ 7477328 w 7631184"/>
              <a:gd name="connsiteY1788" fmla="*/ 4210572 h 6858054"/>
              <a:gd name="connsiteX1789" fmla="*/ 7467560 w 7631184"/>
              <a:gd name="connsiteY1789" fmla="*/ 4200803 h 6858054"/>
              <a:gd name="connsiteX1790" fmla="*/ 7448023 w 7631184"/>
              <a:gd name="connsiteY1790" fmla="*/ 4181264 h 6858054"/>
              <a:gd name="connsiteX1791" fmla="*/ 7428485 w 7631184"/>
              <a:gd name="connsiteY1791" fmla="*/ 4161725 h 6858054"/>
              <a:gd name="connsiteX1792" fmla="*/ 7408948 w 7631184"/>
              <a:gd name="connsiteY1792" fmla="*/ 4142187 h 6858054"/>
              <a:gd name="connsiteX1793" fmla="*/ 7399180 w 7631184"/>
              <a:gd name="connsiteY1793" fmla="*/ 4132417 h 6858054"/>
              <a:gd name="connsiteX1794" fmla="*/ 7379642 w 7631184"/>
              <a:gd name="connsiteY1794" fmla="*/ 4112879 h 6858054"/>
              <a:gd name="connsiteX1795" fmla="*/ 7350337 w 7631184"/>
              <a:gd name="connsiteY1795" fmla="*/ 4083571 h 6858054"/>
              <a:gd name="connsiteX1796" fmla="*/ 7340568 w 7631184"/>
              <a:gd name="connsiteY1796" fmla="*/ 4073801 h 6858054"/>
              <a:gd name="connsiteX1797" fmla="*/ 7321031 w 7631184"/>
              <a:gd name="connsiteY1797" fmla="*/ 4054263 h 6858054"/>
              <a:gd name="connsiteX1798" fmla="*/ 7301493 w 7631184"/>
              <a:gd name="connsiteY1798" fmla="*/ 4034724 h 6858054"/>
              <a:gd name="connsiteX1799" fmla="*/ 7262419 w 7631184"/>
              <a:gd name="connsiteY1799" fmla="*/ 3995647 h 6858054"/>
              <a:gd name="connsiteX1800" fmla="*/ 7252650 w 7631184"/>
              <a:gd name="connsiteY1800" fmla="*/ 3985878 h 6858054"/>
              <a:gd name="connsiteX1801" fmla="*/ 7233113 w 7631184"/>
              <a:gd name="connsiteY1801" fmla="*/ 3966339 h 6858054"/>
              <a:gd name="connsiteX1802" fmla="*/ 7203807 w 7631184"/>
              <a:gd name="connsiteY1802" fmla="*/ 3937031 h 6858054"/>
              <a:gd name="connsiteX1803" fmla="*/ 7194039 w 7631184"/>
              <a:gd name="connsiteY1803" fmla="*/ 3927262 h 6858054"/>
              <a:gd name="connsiteX1804" fmla="*/ 7164733 w 7631184"/>
              <a:gd name="connsiteY1804" fmla="*/ 3897954 h 6858054"/>
              <a:gd name="connsiteX1805" fmla="*/ 7164733 w 7631184"/>
              <a:gd name="connsiteY1805" fmla="*/ 3888185 h 6858054"/>
              <a:gd name="connsiteX1806" fmla="*/ 7145196 w 7631184"/>
              <a:gd name="connsiteY1806" fmla="*/ 3878415 h 6858054"/>
              <a:gd name="connsiteX1807" fmla="*/ 7115890 w 7631184"/>
              <a:gd name="connsiteY1807" fmla="*/ 3849107 h 6858054"/>
              <a:gd name="connsiteX1808" fmla="*/ 7076815 w 7631184"/>
              <a:gd name="connsiteY1808" fmla="*/ 3810030 h 6858054"/>
              <a:gd name="connsiteX1809" fmla="*/ 7057278 w 7631184"/>
              <a:gd name="connsiteY1809" fmla="*/ 3800261 h 6858054"/>
              <a:gd name="connsiteX1810" fmla="*/ 7037741 w 7631184"/>
              <a:gd name="connsiteY1810" fmla="*/ 3780722 h 6858054"/>
              <a:gd name="connsiteX1811" fmla="*/ 7027972 w 7631184"/>
              <a:gd name="connsiteY1811" fmla="*/ 3780722 h 6858054"/>
              <a:gd name="connsiteX1812" fmla="*/ 7037741 w 7631184"/>
              <a:gd name="connsiteY1812" fmla="*/ 3790492 h 6858054"/>
              <a:gd name="connsiteX1813" fmla="*/ 7057278 w 7631184"/>
              <a:gd name="connsiteY1813" fmla="*/ 3810030 h 6858054"/>
              <a:gd name="connsiteX1814" fmla="*/ 7047510 w 7631184"/>
              <a:gd name="connsiteY1814" fmla="*/ 3810030 h 6858054"/>
              <a:gd name="connsiteX1815" fmla="*/ 7018204 w 7631184"/>
              <a:gd name="connsiteY1815" fmla="*/ 3780722 h 6858054"/>
              <a:gd name="connsiteX1816" fmla="*/ 7018204 w 7631184"/>
              <a:gd name="connsiteY1816" fmla="*/ 3770953 h 6858054"/>
              <a:gd name="connsiteX1817" fmla="*/ 6988898 w 7631184"/>
              <a:gd name="connsiteY1817" fmla="*/ 3751414 h 6858054"/>
              <a:gd name="connsiteX1818" fmla="*/ 6969361 w 7631184"/>
              <a:gd name="connsiteY1818" fmla="*/ 3731876 h 6858054"/>
              <a:gd name="connsiteX1819" fmla="*/ 6959592 w 7631184"/>
              <a:gd name="connsiteY1819" fmla="*/ 3731876 h 6858054"/>
              <a:gd name="connsiteX1820" fmla="*/ 6949823 w 7631184"/>
              <a:gd name="connsiteY1820" fmla="*/ 3722106 h 6858054"/>
              <a:gd name="connsiteX1821" fmla="*/ 6940055 w 7631184"/>
              <a:gd name="connsiteY1821" fmla="*/ 3702568 h 6858054"/>
              <a:gd name="connsiteX1822" fmla="*/ 6930286 w 7631184"/>
              <a:gd name="connsiteY1822" fmla="*/ 3692798 h 6858054"/>
              <a:gd name="connsiteX1823" fmla="*/ 6923774 w 7631184"/>
              <a:gd name="connsiteY1823" fmla="*/ 3692798 h 6858054"/>
              <a:gd name="connsiteX1824" fmla="*/ 6920518 w 7631184"/>
              <a:gd name="connsiteY1824" fmla="*/ 3683029 h 6858054"/>
              <a:gd name="connsiteX1825" fmla="*/ 6914412 w 7631184"/>
              <a:gd name="connsiteY1825" fmla="*/ 3678145 h 6858054"/>
              <a:gd name="connsiteX1826" fmla="*/ 6911285 w 7631184"/>
              <a:gd name="connsiteY1826" fmla="*/ 3677007 h 6858054"/>
              <a:gd name="connsiteX1827" fmla="*/ 6910749 w 7631184"/>
              <a:gd name="connsiteY1827" fmla="*/ 3673260 h 6858054"/>
              <a:gd name="connsiteX1828" fmla="*/ 6891212 w 7631184"/>
              <a:gd name="connsiteY1828" fmla="*/ 3653721 h 6858054"/>
              <a:gd name="connsiteX1829" fmla="*/ 6900980 w 7631184"/>
              <a:gd name="connsiteY1829" fmla="*/ 3673260 h 6858054"/>
              <a:gd name="connsiteX1830" fmla="*/ 6911285 w 7631184"/>
              <a:gd name="connsiteY1830" fmla="*/ 3677007 h 6858054"/>
              <a:gd name="connsiteX1831" fmla="*/ 6911970 w 7631184"/>
              <a:gd name="connsiteY1831" fmla="*/ 3681808 h 6858054"/>
              <a:gd name="connsiteX1832" fmla="*/ 6920518 w 7631184"/>
              <a:gd name="connsiteY1832" fmla="*/ 3683029 h 6858054"/>
              <a:gd name="connsiteX1833" fmla="*/ 6920518 w 7631184"/>
              <a:gd name="connsiteY1833" fmla="*/ 3692798 h 6858054"/>
              <a:gd name="connsiteX1834" fmla="*/ 6921739 w 7631184"/>
              <a:gd name="connsiteY1834" fmla="*/ 3692798 h 6858054"/>
              <a:gd name="connsiteX1835" fmla="*/ 6923774 w 7631184"/>
              <a:gd name="connsiteY1835" fmla="*/ 3692798 h 6858054"/>
              <a:gd name="connsiteX1836" fmla="*/ 6925402 w 7631184"/>
              <a:gd name="connsiteY1836" fmla="*/ 3697683 h 6858054"/>
              <a:gd name="connsiteX1837" fmla="*/ 6930286 w 7631184"/>
              <a:gd name="connsiteY1837" fmla="*/ 3712337 h 6858054"/>
              <a:gd name="connsiteX1838" fmla="*/ 6969361 w 7631184"/>
              <a:gd name="connsiteY1838" fmla="*/ 3741645 h 6858054"/>
              <a:gd name="connsiteX1839" fmla="*/ 6998667 w 7631184"/>
              <a:gd name="connsiteY1839" fmla="*/ 3770953 h 6858054"/>
              <a:gd name="connsiteX1840" fmla="*/ 7027972 w 7631184"/>
              <a:gd name="connsiteY1840" fmla="*/ 3800261 h 6858054"/>
              <a:gd name="connsiteX1841" fmla="*/ 7047510 w 7631184"/>
              <a:gd name="connsiteY1841" fmla="*/ 3829569 h 6858054"/>
              <a:gd name="connsiteX1842" fmla="*/ 7067047 w 7631184"/>
              <a:gd name="connsiteY1842" fmla="*/ 3839338 h 6858054"/>
              <a:gd name="connsiteX1843" fmla="*/ 7076815 w 7631184"/>
              <a:gd name="connsiteY1843" fmla="*/ 3858877 h 6858054"/>
              <a:gd name="connsiteX1844" fmla="*/ 7096353 w 7631184"/>
              <a:gd name="connsiteY1844" fmla="*/ 3878415 h 6858054"/>
              <a:gd name="connsiteX1845" fmla="*/ 7106121 w 7631184"/>
              <a:gd name="connsiteY1845" fmla="*/ 3888185 h 6858054"/>
              <a:gd name="connsiteX1846" fmla="*/ 7115890 w 7631184"/>
              <a:gd name="connsiteY1846" fmla="*/ 3907723 h 6858054"/>
              <a:gd name="connsiteX1847" fmla="*/ 7125658 w 7631184"/>
              <a:gd name="connsiteY1847" fmla="*/ 3907723 h 6858054"/>
              <a:gd name="connsiteX1848" fmla="*/ 7135427 w 7631184"/>
              <a:gd name="connsiteY1848" fmla="*/ 3917493 h 6858054"/>
              <a:gd name="connsiteX1849" fmla="*/ 7145196 w 7631184"/>
              <a:gd name="connsiteY1849" fmla="*/ 3927262 h 6858054"/>
              <a:gd name="connsiteX1850" fmla="*/ 7164733 w 7631184"/>
              <a:gd name="connsiteY1850" fmla="*/ 3956570 h 6858054"/>
              <a:gd name="connsiteX1851" fmla="*/ 7203807 w 7631184"/>
              <a:gd name="connsiteY1851" fmla="*/ 3985878 h 6858054"/>
              <a:gd name="connsiteX1852" fmla="*/ 7252650 w 7631184"/>
              <a:gd name="connsiteY1852" fmla="*/ 4044494 h 6858054"/>
              <a:gd name="connsiteX1853" fmla="*/ 7272188 w 7631184"/>
              <a:gd name="connsiteY1853" fmla="*/ 4064032 h 6858054"/>
              <a:gd name="connsiteX1854" fmla="*/ 7340568 w 7631184"/>
              <a:gd name="connsiteY1854" fmla="*/ 4132417 h 6858054"/>
              <a:gd name="connsiteX1855" fmla="*/ 7340568 w 7631184"/>
              <a:gd name="connsiteY1855" fmla="*/ 4142187 h 6858054"/>
              <a:gd name="connsiteX1856" fmla="*/ 7369874 w 7631184"/>
              <a:gd name="connsiteY1856" fmla="*/ 4181264 h 6858054"/>
              <a:gd name="connsiteX1857" fmla="*/ 7389411 w 7631184"/>
              <a:gd name="connsiteY1857" fmla="*/ 4200803 h 6858054"/>
              <a:gd name="connsiteX1858" fmla="*/ 7389411 w 7631184"/>
              <a:gd name="connsiteY1858" fmla="*/ 4210572 h 6858054"/>
              <a:gd name="connsiteX1859" fmla="*/ 7340568 w 7631184"/>
              <a:gd name="connsiteY1859" fmla="*/ 4161725 h 6858054"/>
              <a:gd name="connsiteX1860" fmla="*/ 7252650 w 7631184"/>
              <a:gd name="connsiteY1860" fmla="*/ 4064032 h 6858054"/>
              <a:gd name="connsiteX1861" fmla="*/ 7233113 w 7631184"/>
              <a:gd name="connsiteY1861" fmla="*/ 4054263 h 6858054"/>
              <a:gd name="connsiteX1862" fmla="*/ 7213576 w 7631184"/>
              <a:gd name="connsiteY1862" fmla="*/ 4034724 h 6858054"/>
              <a:gd name="connsiteX1863" fmla="*/ 7154964 w 7631184"/>
              <a:gd name="connsiteY1863" fmla="*/ 3966339 h 6858054"/>
              <a:gd name="connsiteX1864" fmla="*/ 7115890 w 7631184"/>
              <a:gd name="connsiteY1864" fmla="*/ 3937031 h 6858054"/>
              <a:gd name="connsiteX1865" fmla="*/ 7096353 w 7631184"/>
              <a:gd name="connsiteY1865" fmla="*/ 3917493 h 6858054"/>
              <a:gd name="connsiteX1866" fmla="*/ 7067047 w 7631184"/>
              <a:gd name="connsiteY1866" fmla="*/ 3888185 h 6858054"/>
              <a:gd name="connsiteX1867" fmla="*/ 7057278 w 7631184"/>
              <a:gd name="connsiteY1867" fmla="*/ 3878415 h 6858054"/>
              <a:gd name="connsiteX1868" fmla="*/ 7037741 w 7631184"/>
              <a:gd name="connsiteY1868" fmla="*/ 3868646 h 6858054"/>
              <a:gd name="connsiteX1869" fmla="*/ 7047510 w 7631184"/>
              <a:gd name="connsiteY1869" fmla="*/ 3888185 h 6858054"/>
              <a:gd name="connsiteX1870" fmla="*/ 7145196 w 7631184"/>
              <a:gd name="connsiteY1870" fmla="*/ 3985878 h 6858054"/>
              <a:gd name="connsiteX1871" fmla="*/ 7223345 w 7631184"/>
              <a:gd name="connsiteY1871" fmla="*/ 4064032 h 6858054"/>
              <a:gd name="connsiteX1872" fmla="*/ 7242882 w 7631184"/>
              <a:gd name="connsiteY1872" fmla="*/ 4093340 h 6858054"/>
              <a:gd name="connsiteX1873" fmla="*/ 7252650 w 7631184"/>
              <a:gd name="connsiteY1873" fmla="*/ 4103109 h 6858054"/>
              <a:gd name="connsiteX1874" fmla="*/ 7272188 w 7631184"/>
              <a:gd name="connsiteY1874" fmla="*/ 4122648 h 6858054"/>
              <a:gd name="connsiteX1875" fmla="*/ 7301493 w 7631184"/>
              <a:gd name="connsiteY1875" fmla="*/ 4151956 h 6858054"/>
              <a:gd name="connsiteX1876" fmla="*/ 7291725 w 7631184"/>
              <a:gd name="connsiteY1876" fmla="*/ 4151956 h 6858054"/>
              <a:gd name="connsiteX1877" fmla="*/ 7262419 w 7631184"/>
              <a:gd name="connsiteY1877" fmla="*/ 4122648 h 6858054"/>
              <a:gd name="connsiteX1878" fmla="*/ 7233113 w 7631184"/>
              <a:gd name="connsiteY1878" fmla="*/ 4093340 h 6858054"/>
              <a:gd name="connsiteX1879" fmla="*/ 7223345 w 7631184"/>
              <a:gd name="connsiteY1879" fmla="*/ 4083571 h 6858054"/>
              <a:gd name="connsiteX1880" fmla="*/ 7194039 w 7631184"/>
              <a:gd name="connsiteY1880" fmla="*/ 4054263 h 6858054"/>
              <a:gd name="connsiteX1881" fmla="*/ 7125658 w 7631184"/>
              <a:gd name="connsiteY1881" fmla="*/ 3976108 h 6858054"/>
              <a:gd name="connsiteX1882" fmla="*/ 7115890 w 7631184"/>
              <a:gd name="connsiteY1882" fmla="*/ 3966339 h 6858054"/>
              <a:gd name="connsiteX1883" fmla="*/ 7106121 w 7631184"/>
              <a:gd name="connsiteY1883" fmla="*/ 3956570 h 6858054"/>
              <a:gd name="connsiteX1884" fmla="*/ 7096353 w 7631184"/>
              <a:gd name="connsiteY1884" fmla="*/ 3946800 h 6858054"/>
              <a:gd name="connsiteX1885" fmla="*/ 7057278 w 7631184"/>
              <a:gd name="connsiteY1885" fmla="*/ 3897954 h 6858054"/>
              <a:gd name="connsiteX1886" fmla="*/ 7018204 w 7631184"/>
              <a:gd name="connsiteY1886" fmla="*/ 3868646 h 6858054"/>
              <a:gd name="connsiteX1887" fmla="*/ 7008435 w 7631184"/>
              <a:gd name="connsiteY1887" fmla="*/ 3849107 h 6858054"/>
              <a:gd name="connsiteX1888" fmla="*/ 6988898 w 7631184"/>
              <a:gd name="connsiteY1888" fmla="*/ 3839338 h 6858054"/>
              <a:gd name="connsiteX1889" fmla="*/ 6979129 w 7631184"/>
              <a:gd name="connsiteY1889" fmla="*/ 3829569 h 6858054"/>
              <a:gd name="connsiteX1890" fmla="*/ 6979129 w 7631184"/>
              <a:gd name="connsiteY1890" fmla="*/ 3819799 h 6858054"/>
              <a:gd name="connsiteX1891" fmla="*/ 6949823 w 7631184"/>
              <a:gd name="connsiteY1891" fmla="*/ 3800261 h 6858054"/>
              <a:gd name="connsiteX1892" fmla="*/ 6930286 w 7631184"/>
              <a:gd name="connsiteY1892" fmla="*/ 3770953 h 6858054"/>
              <a:gd name="connsiteX1893" fmla="*/ 6900980 w 7631184"/>
              <a:gd name="connsiteY1893" fmla="*/ 3751414 h 6858054"/>
              <a:gd name="connsiteX1894" fmla="*/ 6881443 w 7631184"/>
              <a:gd name="connsiteY1894" fmla="*/ 3731876 h 6858054"/>
              <a:gd name="connsiteX1895" fmla="*/ 6871675 w 7631184"/>
              <a:gd name="connsiteY1895" fmla="*/ 3722106 h 6858054"/>
              <a:gd name="connsiteX1896" fmla="*/ 6852137 w 7631184"/>
              <a:gd name="connsiteY1896" fmla="*/ 3702568 h 6858054"/>
              <a:gd name="connsiteX1897" fmla="*/ 6842369 w 7631184"/>
              <a:gd name="connsiteY1897" fmla="*/ 3692798 h 6858054"/>
              <a:gd name="connsiteX1898" fmla="*/ 6832600 w 7631184"/>
              <a:gd name="connsiteY1898" fmla="*/ 3683029 h 6858054"/>
              <a:gd name="connsiteX1899" fmla="*/ 6813063 w 7631184"/>
              <a:gd name="connsiteY1899" fmla="*/ 3663491 h 6858054"/>
              <a:gd name="connsiteX1900" fmla="*/ 6803294 w 7631184"/>
              <a:gd name="connsiteY1900" fmla="*/ 3653721 h 6858054"/>
              <a:gd name="connsiteX1901" fmla="*/ 6783757 w 7631184"/>
              <a:gd name="connsiteY1901" fmla="*/ 3643952 h 6858054"/>
              <a:gd name="connsiteX1902" fmla="*/ 6773988 w 7631184"/>
              <a:gd name="connsiteY1902" fmla="*/ 3635071 h 6858054"/>
              <a:gd name="connsiteX1903" fmla="*/ 6773988 w 7631184"/>
              <a:gd name="connsiteY1903" fmla="*/ 3634183 h 6858054"/>
              <a:gd name="connsiteX1904" fmla="*/ 6773012 w 7631184"/>
              <a:gd name="connsiteY1904" fmla="*/ 3634183 h 6858054"/>
              <a:gd name="connsiteX1905" fmla="*/ 6770325 w 7631184"/>
              <a:gd name="connsiteY1905" fmla="*/ 3631740 h 6858054"/>
              <a:gd name="connsiteX1906" fmla="*/ 6764220 w 7631184"/>
              <a:gd name="connsiteY1906" fmla="*/ 3634183 h 6858054"/>
              <a:gd name="connsiteX1907" fmla="*/ 6765441 w 7631184"/>
              <a:gd name="connsiteY1907" fmla="*/ 3634183 h 6858054"/>
              <a:gd name="connsiteX1908" fmla="*/ 6773012 w 7631184"/>
              <a:gd name="connsiteY1908" fmla="*/ 3634183 h 6858054"/>
              <a:gd name="connsiteX1909" fmla="*/ 6773988 w 7631184"/>
              <a:gd name="connsiteY1909" fmla="*/ 3635071 h 6858054"/>
              <a:gd name="connsiteX1910" fmla="*/ 6773988 w 7631184"/>
              <a:gd name="connsiteY1910" fmla="*/ 3643952 h 6858054"/>
              <a:gd name="connsiteX1911" fmla="*/ 6773988 w 7631184"/>
              <a:gd name="connsiteY1911" fmla="*/ 3653721 h 6858054"/>
              <a:gd name="connsiteX1912" fmla="*/ 6773988 w 7631184"/>
              <a:gd name="connsiteY1912" fmla="*/ 3663491 h 6858054"/>
              <a:gd name="connsiteX1913" fmla="*/ 6773988 w 7631184"/>
              <a:gd name="connsiteY1913" fmla="*/ 3673260 h 6858054"/>
              <a:gd name="connsiteX1914" fmla="*/ 6783757 w 7631184"/>
              <a:gd name="connsiteY1914" fmla="*/ 3673260 h 6858054"/>
              <a:gd name="connsiteX1915" fmla="*/ 6803294 w 7631184"/>
              <a:gd name="connsiteY1915" fmla="*/ 3692798 h 6858054"/>
              <a:gd name="connsiteX1916" fmla="*/ 6813063 w 7631184"/>
              <a:gd name="connsiteY1916" fmla="*/ 3712337 h 6858054"/>
              <a:gd name="connsiteX1917" fmla="*/ 6842369 w 7631184"/>
              <a:gd name="connsiteY1917" fmla="*/ 3731876 h 6858054"/>
              <a:gd name="connsiteX1918" fmla="*/ 6842369 w 7631184"/>
              <a:gd name="connsiteY1918" fmla="*/ 3741645 h 6858054"/>
              <a:gd name="connsiteX1919" fmla="*/ 6852137 w 7631184"/>
              <a:gd name="connsiteY1919" fmla="*/ 3751414 h 6858054"/>
              <a:gd name="connsiteX1920" fmla="*/ 6871675 w 7631184"/>
              <a:gd name="connsiteY1920" fmla="*/ 3770953 h 6858054"/>
              <a:gd name="connsiteX1921" fmla="*/ 6891212 w 7631184"/>
              <a:gd name="connsiteY1921" fmla="*/ 3790492 h 6858054"/>
              <a:gd name="connsiteX1922" fmla="*/ 6900980 w 7631184"/>
              <a:gd name="connsiteY1922" fmla="*/ 3800261 h 6858054"/>
              <a:gd name="connsiteX1923" fmla="*/ 6930286 w 7631184"/>
              <a:gd name="connsiteY1923" fmla="*/ 3829569 h 6858054"/>
              <a:gd name="connsiteX1924" fmla="*/ 6940055 w 7631184"/>
              <a:gd name="connsiteY1924" fmla="*/ 3849107 h 6858054"/>
              <a:gd name="connsiteX1925" fmla="*/ 6949823 w 7631184"/>
              <a:gd name="connsiteY1925" fmla="*/ 3858877 h 6858054"/>
              <a:gd name="connsiteX1926" fmla="*/ 6959592 w 7631184"/>
              <a:gd name="connsiteY1926" fmla="*/ 3868646 h 6858054"/>
              <a:gd name="connsiteX1927" fmla="*/ 6969361 w 7631184"/>
              <a:gd name="connsiteY1927" fmla="*/ 3868646 h 6858054"/>
              <a:gd name="connsiteX1928" fmla="*/ 7008435 w 7631184"/>
              <a:gd name="connsiteY1928" fmla="*/ 3917493 h 6858054"/>
              <a:gd name="connsiteX1929" fmla="*/ 7018204 w 7631184"/>
              <a:gd name="connsiteY1929" fmla="*/ 3927262 h 6858054"/>
              <a:gd name="connsiteX1930" fmla="*/ 7037741 w 7631184"/>
              <a:gd name="connsiteY1930" fmla="*/ 3946800 h 6858054"/>
              <a:gd name="connsiteX1931" fmla="*/ 7057278 w 7631184"/>
              <a:gd name="connsiteY1931" fmla="*/ 3956570 h 6858054"/>
              <a:gd name="connsiteX1932" fmla="*/ 7067047 w 7631184"/>
              <a:gd name="connsiteY1932" fmla="*/ 3976108 h 6858054"/>
              <a:gd name="connsiteX1933" fmla="*/ 7115890 w 7631184"/>
              <a:gd name="connsiteY1933" fmla="*/ 4034724 h 6858054"/>
              <a:gd name="connsiteX1934" fmla="*/ 7106121 w 7631184"/>
              <a:gd name="connsiteY1934" fmla="*/ 4034724 h 6858054"/>
              <a:gd name="connsiteX1935" fmla="*/ 7096353 w 7631184"/>
              <a:gd name="connsiteY1935" fmla="*/ 4015186 h 6858054"/>
              <a:gd name="connsiteX1936" fmla="*/ 7086584 w 7631184"/>
              <a:gd name="connsiteY1936" fmla="*/ 4005416 h 6858054"/>
              <a:gd name="connsiteX1937" fmla="*/ 7067047 w 7631184"/>
              <a:gd name="connsiteY1937" fmla="*/ 3985878 h 6858054"/>
              <a:gd name="connsiteX1938" fmla="*/ 7047510 w 7631184"/>
              <a:gd name="connsiteY1938" fmla="*/ 3966339 h 6858054"/>
              <a:gd name="connsiteX1939" fmla="*/ 7027972 w 7631184"/>
              <a:gd name="connsiteY1939" fmla="*/ 3946800 h 6858054"/>
              <a:gd name="connsiteX1940" fmla="*/ 7008435 w 7631184"/>
              <a:gd name="connsiteY1940" fmla="*/ 3927262 h 6858054"/>
              <a:gd name="connsiteX1941" fmla="*/ 6988898 w 7631184"/>
              <a:gd name="connsiteY1941" fmla="*/ 3917493 h 6858054"/>
              <a:gd name="connsiteX1942" fmla="*/ 6969361 w 7631184"/>
              <a:gd name="connsiteY1942" fmla="*/ 3897954 h 6858054"/>
              <a:gd name="connsiteX1943" fmla="*/ 6949823 w 7631184"/>
              <a:gd name="connsiteY1943" fmla="*/ 3888185 h 6858054"/>
              <a:gd name="connsiteX1944" fmla="*/ 6959592 w 7631184"/>
              <a:gd name="connsiteY1944" fmla="*/ 3888185 h 6858054"/>
              <a:gd name="connsiteX1945" fmla="*/ 6949823 w 7631184"/>
              <a:gd name="connsiteY1945" fmla="*/ 3878415 h 6858054"/>
              <a:gd name="connsiteX1946" fmla="*/ 6949823 w 7631184"/>
              <a:gd name="connsiteY1946" fmla="*/ 3868646 h 6858054"/>
              <a:gd name="connsiteX1947" fmla="*/ 6940055 w 7631184"/>
              <a:gd name="connsiteY1947" fmla="*/ 3868646 h 6858054"/>
              <a:gd name="connsiteX1948" fmla="*/ 6930286 w 7631184"/>
              <a:gd name="connsiteY1948" fmla="*/ 3849107 h 6858054"/>
              <a:gd name="connsiteX1949" fmla="*/ 6910749 w 7631184"/>
              <a:gd name="connsiteY1949" fmla="*/ 3839338 h 6858054"/>
              <a:gd name="connsiteX1950" fmla="*/ 6920518 w 7631184"/>
              <a:gd name="connsiteY1950" fmla="*/ 3849107 h 6858054"/>
              <a:gd name="connsiteX1951" fmla="*/ 6910749 w 7631184"/>
              <a:gd name="connsiteY1951" fmla="*/ 3849107 h 6858054"/>
              <a:gd name="connsiteX1952" fmla="*/ 6900980 w 7631184"/>
              <a:gd name="connsiteY1952" fmla="*/ 3839338 h 6858054"/>
              <a:gd name="connsiteX1953" fmla="*/ 6903902 w 7631184"/>
              <a:gd name="connsiteY1953" fmla="*/ 3844451 h 6858054"/>
              <a:gd name="connsiteX1954" fmla="*/ 6880222 w 7631184"/>
              <a:gd name="connsiteY1954" fmla="*/ 3828347 h 6858054"/>
              <a:gd name="connsiteX1955" fmla="*/ 6871675 w 7631184"/>
              <a:gd name="connsiteY1955" fmla="*/ 3829569 h 6858054"/>
              <a:gd name="connsiteX1956" fmla="*/ 6861906 w 7631184"/>
              <a:gd name="connsiteY1956" fmla="*/ 3829569 h 6858054"/>
              <a:gd name="connsiteX1957" fmla="*/ 6855800 w 7631184"/>
              <a:gd name="connsiteY1957" fmla="*/ 3823463 h 6858054"/>
              <a:gd name="connsiteX1958" fmla="*/ 6852137 w 7631184"/>
              <a:gd name="connsiteY1958" fmla="*/ 3819799 h 6858054"/>
              <a:gd name="connsiteX1959" fmla="*/ 6852137 w 7631184"/>
              <a:gd name="connsiteY1959" fmla="*/ 3819799 h 6858054"/>
              <a:gd name="connsiteX1960" fmla="*/ 6852137 w 7631184"/>
              <a:gd name="connsiteY1960" fmla="*/ 3819799 h 6858054"/>
              <a:gd name="connsiteX1961" fmla="*/ 6842369 w 7631184"/>
              <a:gd name="connsiteY1961" fmla="*/ 3810030 h 6858054"/>
              <a:gd name="connsiteX1962" fmla="*/ 6843590 w 7631184"/>
              <a:gd name="connsiteY1962" fmla="*/ 3818578 h 6858054"/>
              <a:gd name="connsiteX1963" fmla="*/ 6852137 w 7631184"/>
              <a:gd name="connsiteY1963" fmla="*/ 3819799 h 6858054"/>
              <a:gd name="connsiteX1964" fmla="*/ 6852137 w 7631184"/>
              <a:gd name="connsiteY1964" fmla="*/ 3819799 h 6858054"/>
              <a:gd name="connsiteX1965" fmla="*/ 6852137 w 7631184"/>
              <a:gd name="connsiteY1965" fmla="*/ 3821020 h 6858054"/>
              <a:gd name="connsiteX1966" fmla="*/ 6852137 w 7631184"/>
              <a:gd name="connsiteY1966" fmla="*/ 3829569 h 6858054"/>
              <a:gd name="connsiteX1967" fmla="*/ 6861906 w 7631184"/>
              <a:gd name="connsiteY1967" fmla="*/ 3839338 h 6858054"/>
              <a:gd name="connsiteX1968" fmla="*/ 6832600 w 7631184"/>
              <a:gd name="connsiteY1968" fmla="*/ 3819799 h 6858054"/>
              <a:gd name="connsiteX1969" fmla="*/ 6803294 w 7631184"/>
              <a:gd name="connsiteY1969" fmla="*/ 3790492 h 6858054"/>
              <a:gd name="connsiteX1970" fmla="*/ 6754451 w 7631184"/>
              <a:gd name="connsiteY1970" fmla="*/ 3751414 h 6858054"/>
              <a:gd name="connsiteX1971" fmla="*/ 6725145 w 7631184"/>
              <a:gd name="connsiteY1971" fmla="*/ 3722106 h 6858054"/>
              <a:gd name="connsiteX1972" fmla="*/ 6715377 w 7631184"/>
              <a:gd name="connsiteY1972" fmla="*/ 3712337 h 6858054"/>
              <a:gd name="connsiteX1973" fmla="*/ 6705608 w 7631184"/>
              <a:gd name="connsiteY1973" fmla="*/ 3702568 h 6858054"/>
              <a:gd name="connsiteX1974" fmla="*/ 6686071 w 7631184"/>
              <a:gd name="connsiteY1974" fmla="*/ 3683029 h 6858054"/>
              <a:gd name="connsiteX1975" fmla="*/ 6676302 w 7631184"/>
              <a:gd name="connsiteY1975" fmla="*/ 3673260 h 6858054"/>
              <a:gd name="connsiteX1976" fmla="*/ 6666534 w 7631184"/>
              <a:gd name="connsiteY1976" fmla="*/ 3663491 h 6858054"/>
              <a:gd name="connsiteX1977" fmla="*/ 6658026 w 7631184"/>
              <a:gd name="connsiteY1977" fmla="*/ 3655928 h 6858054"/>
              <a:gd name="connsiteX1978" fmla="*/ 6656765 w 7631184"/>
              <a:gd name="connsiteY1978" fmla="*/ 3653721 h 6858054"/>
              <a:gd name="connsiteX1979" fmla="*/ 6651181 w 7631184"/>
              <a:gd name="connsiteY1979" fmla="*/ 3651394 h 6858054"/>
              <a:gd name="connsiteX1980" fmla="*/ 6639352 w 7631184"/>
              <a:gd name="connsiteY1980" fmla="*/ 3645085 h 6858054"/>
              <a:gd name="connsiteX1981" fmla="*/ 6637094 w 7631184"/>
              <a:gd name="connsiteY1981" fmla="*/ 3643015 h 6858054"/>
              <a:gd name="connsiteX1982" fmla="*/ 6636007 w 7631184"/>
              <a:gd name="connsiteY1982" fmla="*/ 3635404 h 6858054"/>
              <a:gd name="connsiteX1983" fmla="*/ 6627459 w 7631184"/>
              <a:gd name="connsiteY1983" fmla="*/ 3634183 h 6858054"/>
              <a:gd name="connsiteX1984" fmla="*/ 6617691 w 7631184"/>
              <a:gd name="connsiteY1984" fmla="*/ 3624413 h 6858054"/>
              <a:gd name="connsiteX1985" fmla="*/ 6627459 w 7631184"/>
              <a:gd name="connsiteY1985" fmla="*/ 3634183 h 6858054"/>
              <a:gd name="connsiteX1986" fmla="*/ 6636007 w 7631184"/>
              <a:gd name="connsiteY1986" fmla="*/ 3643952 h 6858054"/>
              <a:gd name="connsiteX1987" fmla="*/ 6637228 w 7631184"/>
              <a:gd name="connsiteY1987" fmla="*/ 3653721 h 6858054"/>
              <a:gd name="connsiteX1988" fmla="*/ 6633565 w 7631184"/>
              <a:gd name="connsiteY1988" fmla="*/ 3650058 h 6858054"/>
              <a:gd name="connsiteX1989" fmla="*/ 6627459 w 7631184"/>
              <a:gd name="connsiteY1989" fmla="*/ 3643952 h 6858054"/>
              <a:gd name="connsiteX1990" fmla="*/ 6588385 w 7631184"/>
              <a:gd name="connsiteY1990" fmla="*/ 3614644 h 6858054"/>
              <a:gd name="connsiteX1991" fmla="*/ 6598153 w 7631184"/>
              <a:gd name="connsiteY1991" fmla="*/ 3624413 h 6858054"/>
              <a:gd name="connsiteX1992" fmla="*/ 6617691 w 7631184"/>
              <a:gd name="connsiteY1992" fmla="*/ 3643952 h 6858054"/>
              <a:gd name="connsiteX1993" fmla="*/ 6637228 w 7631184"/>
              <a:gd name="connsiteY1993" fmla="*/ 3663491 h 6858054"/>
              <a:gd name="connsiteX1994" fmla="*/ 6656765 w 7631184"/>
              <a:gd name="connsiteY1994" fmla="*/ 3683029 h 6858054"/>
              <a:gd name="connsiteX1995" fmla="*/ 6695840 w 7631184"/>
              <a:gd name="connsiteY1995" fmla="*/ 3722106 h 6858054"/>
              <a:gd name="connsiteX1996" fmla="*/ 6705608 w 7631184"/>
              <a:gd name="connsiteY1996" fmla="*/ 3731876 h 6858054"/>
              <a:gd name="connsiteX1997" fmla="*/ 6715377 w 7631184"/>
              <a:gd name="connsiteY1997" fmla="*/ 3731876 h 6858054"/>
              <a:gd name="connsiteX1998" fmla="*/ 6715377 w 7631184"/>
              <a:gd name="connsiteY1998" fmla="*/ 3741645 h 6858054"/>
              <a:gd name="connsiteX1999" fmla="*/ 6725145 w 7631184"/>
              <a:gd name="connsiteY1999" fmla="*/ 3751414 h 6858054"/>
              <a:gd name="connsiteX2000" fmla="*/ 6754451 w 7631184"/>
              <a:gd name="connsiteY2000" fmla="*/ 3770953 h 6858054"/>
              <a:gd name="connsiteX2001" fmla="*/ 6773988 w 7631184"/>
              <a:gd name="connsiteY2001" fmla="*/ 3790492 h 6858054"/>
              <a:gd name="connsiteX2002" fmla="*/ 6773988 w 7631184"/>
              <a:gd name="connsiteY2002" fmla="*/ 3800261 h 6858054"/>
              <a:gd name="connsiteX2003" fmla="*/ 6783757 w 7631184"/>
              <a:gd name="connsiteY2003" fmla="*/ 3810030 h 6858054"/>
              <a:gd name="connsiteX2004" fmla="*/ 6822832 w 7631184"/>
              <a:gd name="connsiteY2004" fmla="*/ 3849107 h 6858054"/>
              <a:gd name="connsiteX2005" fmla="*/ 6861906 w 7631184"/>
              <a:gd name="connsiteY2005" fmla="*/ 3878415 h 6858054"/>
              <a:gd name="connsiteX2006" fmla="*/ 6871675 w 7631184"/>
              <a:gd name="connsiteY2006" fmla="*/ 3897954 h 6858054"/>
              <a:gd name="connsiteX2007" fmla="*/ 6881443 w 7631184"/>
              <a:gd name="connsiteY2007" fmla="*/ 3907723 h 6858054"/>
              <a:gd name="connsiteX2008" fmla="*/ 6871675 w 7631184"/>
              <a:gd name="connsiteY2008" fmla="*/ 3907723 h 6858054"/>
              <a:gd name="connsiteX2009" fmla="*/ 6861906 w 7631184"/>
              <a:gd name="connsiteY2009" fmla="*/ 3897954 h 6858054"/>
              <a:gd name="connsiteX2010" fmla="*/ 6852137 w 7631184"/>
              <a:gd name="connsiteY2010" fmla="*/ 3878415 h 6858054"/>
              <a:gd name="connsiteX2011" fmla="*/ 6773988 w 7631184"/>
              <a:gd name="connsiteY2011" fmla="*/ 3810030 h 6858054"/>
              <a:gd name="connsiteX2012" fmla="*/ 6754451 w 7631184"/>
              <a:gd name="connsiteY2012" fmla="*/ 3790492 h 6858054"/>
              <a:gd name="connsiteX2013" fmla="*/ 6725145 w 7631184"/>
              <a:gd name="connsiteY2013" fmla="*/ 3780722 h 6858054"/>
              <a:gd name="connsiteX2014" fmla="*/ 6705608 w 7631184"/>
              <a:gd name="connsiteY2014" fmla="*/ 3770953 h 6858054"/>
              <a:gd name="connsiteX2015" fmla="*/ 6695840 w 7631184"/>
              <a:gd name="connsiteY2015" fmla="*/ 3770953 h 6858054"/>
              <a:gd name="connsiteX2016" fmla="*/ 6686071 w 7631184"/>
              <a:gd name="connsiteY2016" fmla="*/ 3761184 h 6858054"/>
              <a:gd name="connsiteX2017" fmla="*/ 6676302 w 7631184"/>
              <a:gd name="connsiteY2017" fmla="*/ 3751414 h 6858054"/>
              <a:gd name="connsiteX2018" fmla="*/ 6686071 w 7631184"/>
              <a:gd name="connsiteY2018" fmla="*/ 3751414 h 6858054"/>
              <a:gd name="connsiteX2019" fmla="*/ 6695840 w 7631184"/>
              <a:gd name="connsiteY2019" fmla="*/ 3751414 h 6858054"/>
              <a:gd name="connsiteX2020" fmla="*/ 6725145 w 7631184"/>
              <a:gd name="connsiteY2020" fmla="*/ 3770953 h 6858054"/>
              <a:gd name="connsiteX2021" fmla="*/ 6725145 w 7631184"/>
              <a:gd name="connsiteY2021" fmla="*/ 3761184 h 6858054"/>
              <a:gd name="connsiteX2022" fmla="*/ 6676302 w 7631184"/>
              <a:gd name="connsiteY2022" fmla="*/ 3722106 h 6858054"/>
              <a:gd name="connsiteX2023" fmla="*/ 6666534 w 7631184"/>
              <a:gd name="connsiteY2023" fmla="*/ 3722106 h 6858054"/>
              <a:gd name="connsiteX2024" fmla="*/ 6666534 w 7631184"/>
              <a:gd name="connsiteY2024" fmla="*/ 3712337 h 6858054"/>
              <a:gd name="connsiteX2025" fmla="*/ 6637228 w 7631184"/>
              <a:gd name="connsiteY2025" fmla="*/ 3702568 h 6858054"/>
              <a:gd name="connsiteX2026" fmla="*/ 6627459 w 7631184"/>
              <a:gd name="connsiteY2026" fmla="*/ 3692798 h 6858054"/>
              <a:gd name="connsiteX2027" fmla="*/ 6617691 w 7631184"/>
              <a:gd name="connsiteY2027" fmla="*/ 3683029 h 6858054"/>
              <a:gd name="connsiteX2028" fmla="*/ 6617691 w 7631184"/>
              <a:gd name="connsiteY2028" fmla="*/ 3692798 h 6858054"/>
              <a:gd name="connsiteX2029" fmla="*/ 6607922 w 7631184"/>
              <a:gd name="connsiteY2029" fmla="*/ 3692798 h 6858054"/>
              <a:gd name="connsiteX2030" fmla="*/ 6598153 w 7631184"/>
              <a:gd name="connsiteY2030" fmla="*/ 3683029 h 6858054"/>
              <a:gd name="connsiteX2031" fmla="*/ 6588385 w 7631184"/>
              <a:gd name="connsiteY2031" fmla="*/ 3683029 h 6858054"/>
              <a:gd name="connsiteX2032" fmla="*/ 6578616 w 7631184"/>
              <a:gd name="connsiteY2032" fmla="*/ 3673260 h 6858054"/>
              <a:gd name="connsiteX2033" fmla="*/ 6549310 w 7631184"/>
              <a:gd name="connsiteY2033" fmla="*/ 3653721 h 6858054"/>
              <a:gd name="connsiteX2034" fmla="*/ 6500467 w 7631184"/>
              <a:gd name="connsiteY2034" fmla="*/ 3614644 h 6858054"/>
              <a:gd name="connsiteX2035" fmla="*/ 6490699 w 7631184"/>
              <a:gd name="connsiteY2035" fmla="*/ 3604875 h 6858054"/>
              <a:gd name="connsiteX2036" fmla="*/ 6500467 w 7631184"/>
              <a:gd name="connsiteY2036" fmla="*/ 3614644 h 6858054"/>
              <a:gd name="connsiteX2037" fmla="*/ 6510236 w 7631184"/>
              <a:gd name="connsiteY2037" fmla="*/ 3624413 h 6858054"/>
              <a:gd name="connsiteX2038" fmla="*/ 6520005 w 7631184"/>
              <a:gd name="connsiteY2038" fmla="*/ 3634183 h 6858054"/>
              <a:gd name="connsiteX2039" fmla="*/ 6529773 w 7631184"/>
              <a:gd name="connsiteY2039" fmla="*/ 3643952 h 6858054"/>
              <a:gd name="connsiteX2040" fmla="*/ 6568848 w 7631184"/>
              <a:gd name="connsiteY2040" fmla="*/ 3683029 h 6858054"/>
              <a:gd name="connsiteX2041" fmla="*/ 6583501 w 7631184"/>
              <a:gd name="connsiteY2041" fmla="*/ 3696462 h 6858054"/>
              <a:gd name="connsiteX2042" fmla="*/ 6591873 w 7631184"/>
              <a:gd name="connsiteY2042" fmla="*/ 3699951 h 6858054"/>
              <a:gd name="connsiteX2043" fmla="*/ 6588385 w 7631184"/>
              <a:gd name="connsiteY2043" fmla="*/ 3702568 h 6858054"/>
              <a:gd name="connsiteX2044" fmla="*/ 6598153 w 7631184"/>
              <a:gd name="connsiteY2044" fmla="*/ 3702568 h 6858054"/>
              <a:gd name="connsiteX2045" fmla="*/ 6607922 w 7631184"/>
              <a:gd name="connsiteY2045" fmla="*/ 3722106 h 6858054"/>
              <a:gd name="connsiteX2046" fmla="*/ 6637228 w 7631184"/>
              <a:gd name="connsiteY2046" fmla="*/ 3741645 h 6858054"/>
              <a:gd name="connsiteX2047" fmla="*/ 6676302 w 7631184"/>
              <a:gd name="connsiteY2047" fmla="*/ 3780722 h 6858054"/>
              <a:gd name="connsiteX2048" fmla="*/ 6686071 w 7631184"/>
              <a:gd name="connsiteY2048" fmla="*/ 3790492 h 6858054"/>
              <a:gd name="connsiteX2049" fmla="*/ 6695840 w 7631184"/>
              <a:gd name="connsiteY2049" fmla="*/ 3800261 h 6858054"/>
              <a:gd name="connsiteX2050" fmla="*/ 6725145 w 7631184"/>
              <a:gd name="connsiteY2050" fmla="*/ 3819799 h 6858054"/>
              <a:gd name="connsiteX2051" fmla="*/ 6773988 w 7631184"/>
              <a:gd name="connsiteY2051" fmla="*/ 3868646 h 6858054"/>
              <a:gd name="connsiteX2052" fmla="*/ 6783757 w 7631184"/>
              <a:gd name="connsiteY2052" fmla="*/ 3878415 h 6858054"/>
              <a:gd name="connsiteX2053" fmla="*/ 6764220 w 7631184"/>
              <a:gd name="connsiteY2053" fmla="*/ 3868646 h 6858054"/>
              <a:gd name="connsiteX2054" fmla="*/ 6754451 w 7631184"/>
              <a:gd name="connsiteY2054" fmla="*/ 3868646 h 6858054"/>
              <a:gd name="connsiteX2055" fmla="*/ 6744683 w 7631184"/>
              <a:gd name="connsiteY2055" fmla="*/ 3858877 h 6858054"/>
              <a:gd name="connsiteX2056" fmla="*/ 6695840 w 7631184"/>
              <a:gd name="connsiteY2056" fmla="*/ 3810030 h 6858054"/>
              <a:gd name="connsiteX2057" fmla="*/ 6656765 w 7631184"/>
              <a:gd name="connsiteY2057" fmla="*/ 3761184 h 6858054"/>
              <a:gd name="connsiteX2058" fmla="*/ 6612806 w 7631184"/>
              <a:gd name="connsiteY2058" fmla="*/ 3735081 h 6858054"/>
              <a:gd name="connsiteX2059" fmla="*/ 6588389 w 7631184"/>
              <a:gd name="connsiteY2059" fmla="*/ 3712341 h 6858054"/>
              <a:gd name="connsiteX2060" fmla="*/ 6568848 w 7631184"/>
              <a:gd name="connsiteY2060" fmla="*/ 3692798 h 6858054"/>
              <a:gd name="connsiteX2061" fmla="*/ 6588385 w 7631184"/>
              <a:gd name="connsiteY2061" fmla="*/ 3712337 h 6858054"/>
              <a:gd name="connsiteX2062" fmla="*/ 6588389 w 7631184"/>
              <a:gd name="connsiteY2062" fmla="*/ 3712341 h 6858054"/>
              <a:gd name="connsiteX2063" fmla="*/ 6598153 w 7631184"/>
              <a:gd name="connsiteY2063" fmla="*/ 3722106 h 6858054"/>
              <a:gd name="connsiteX2064" fmla="*/ 6627459 w 7631184"/>
              <a:gd name="connsiteY2064" fmla="*/ 3751414 h 6858054"/>
              <a:gd name="connsiteX2065" fmla="*/ 6627459 w 7631184"/>
              <a:gd name="connsiteY2065" fmla="*/ 3761184 h 6858054"/>
              <a:gd name="connsiteX2066" fmla="*/ 6632343 w 7631184"/>
              <a:gd name="connsiteY2066" fmla="*/ 3767290 h 6858054"/>
              <a:gd name="connsiteX2067" fmla="*/ 6634016 w 7631184"/>
              <a:gd name="connsiteY2067" fmla="*/ 3771890 h 6858054"/>
              <a:gd name="connsiteX2068" fmla="*/ 6627459 w 7631184"/>
              <a:gd name="connsiteY2068" fmla="*/ 3770953 h 6858054"/>
              <a:gd name="connsiteX2069" fmla="*/ 6617691 w 7631184"/>
              <a:gd name="connsiteY2069" fmla="*/ 3761184 h 6858054"/>
              <a:gd name="connsiteX2070" fmla="*/ 6617691 w 7631184"/>
              <a:gd name="connsiteY2070" fmla="*/ 3751414 h 6858054"/>
              <a:gd name="connsiteX2071" fmla="*/ 6607922 w 7631184"/>
              <a:gd name="connsiteY2071" fmla="*/ 3751414 h 6858054"/>
              <a:gd name="connsiteX2072" fmla="*/ 6607922 w 7631184"/>
              <a:gd name="connsiteY2072" fmla="*/ 3761184 h 6858054"/>
              <a:gd name="connsiteX2073" fmla="*/ 6627459 w 7631184"/>
              <a:gd name="connsiteY2073" fmla="*/ 3780722 h 6858054"/>
              <a:gd name="connsiteX2074" fmla="*/ 6637228 w 7631184"/>
              <a:gd name="connsiteY2074" fmla="*/ 3790492 h 6858054"/>
              <a:gd name="connsiteX2075" fmla="*/ 6646997 w 7631184"/>
              <a:gd name="connsiteY2075" fmla="*/ 3800261 h 6858054"/>
              <a:gd name="connsiteX2076" fmla="*/ 6666534 w 7631184"/>
              <a:gd name="connsiteY2076" fmla="*/ 3819799 h 6858054"/>
              <a:gd name="connsiteX2077" fmla="*/ 6686071 w 7631184"/>
              <a:gd name="connsiteY2077" fmla="*/ 3839338 h 6858054"/>
              <a:gd name="connsiteX2078" fmla="*/ 6705608 w 7631184"/>
              <a:gd name="connsiteY2078" fmla="*/ 3849107 h 6858054"/>
              <a:gd name="connsiteX2079" fmla="*/ 6715377 w 7631184"/>
              <a:gd name="connsiteY2079" fmla="*/ 3858877 h 6858054"/>
              <a:gd name="connsiteX2080" fmla="*/ 6705608 w 7631184"/>
              <a:gd name="connsiteY2080" fmla="*/ 3858877 h 6858054"/>
              <a:gd name="connsiteX2081" fmla="*/ 6715377 w 7631184"/>
              <a:gd name="connsiteY2081" fmla="*/ 3868646 h 6858054"/>
              <a:gd name="connsiteX2082" fmla="*/ 6725145 w 7631184"/>
              <a:gd name="connsiteY2082" fmla="*/ 3868646 h 6858054"/>
              <a:gd name="connsiteX2083" fmla="*/ 6734914 w 7631184"/>
              <a:gd name="connsiteY2083" fmla="*/ 3878415 h 6858054"/>
              <a:gd name="connsiteX2084" fmla="*/ 6736135 w 7631184"/>
              <a:gd name="connsiteY2084" fmla="*/ 3878415 h 6858054"/>
              <a:gd name="connsiteX2085" fmla="*/ 6739799 w 7631184"/>
              <a:gd name="connsiteY2085" fmla="*/ 3878415 h 6858054"/>
              <a:gd name="connsiteX2086" fmla="*/ 6744683 w 7631184"/>
              <a:gd name="connsiteY2086" fmla="*/ 3878415 h 6858054"/>
              <a:gd name="connsiteX2087" fmla="*/ 6754451 w 7631184"/>
              <a:gd name="connsiteY2087" fmla="*/ 3897954 h 6858054"/>
              <a:gd name="connsiteX2088" fmla="*/ 6764220 w 7631184"/>
              <a:gd name="connsiteY2088" fmla="*/ 3907723 h 6858054"/>
              <a:gd name="connsiteX2089" fmla="*/ 6773988 w 7631184"/>
              <a:gd name="connsiteY2089" fmla="*/ 3917493 h 6858054"/>
              <a:gd name="connsiteX2090" fmla="*/ 6793526 w 7631184"/>
              <a:gd name="connsiteY2090" fmla="*/ 3937031 h 6858054"/>
              <a:gd name="connsiteX2091" fmla="*/ 6803294 w 7631184"/>
              <a:gd name="connsiteY2091" fmla="*/ 3946800 h 6858054"/>
              <a:gd name="connsiteX2092" fmla="*/ 6813063 w 7631184"/>
              <a:gd name="connsiteY2092" fmla="*/ 3956570 h 6858054"/>
              <a:gd name="connsiteX2093" fmla="*/ 6832600 w 7631184"/>
              <a:gd name="connsiteY2093" fmla="*/ 3976108 h 6858054"/>
              <a:gd name="connsiteX2094" fmla="*/ 6822832 w 7631184"/>
              <a:gd name="connsiteY2094" fmla="*/ 3976108 h 6858054"/>
              <a:gd name="connsiteX2095" fmla="*/ 6813063 w 7631184"/>
              <a:gd name="connsiteY2095" fmla="*/ 3966339 h 6858054"/>
              <a:gd name="connsiteX2096" fmla="*/ 6803294 w 7631184"/>
              <a:gd name="connsiteY2096" fmla="*/ 3956570 h 6858054"/>
              <a:gd name="connsiteX2097" fmla="*/ 6793526 w 7631184"/>
              <a:gd name="connsiteY2097" fmla="*/ 3946800 h 6858054"/>
              <a:gd name="connsiteX2098" fmla="*/ 6783757 w 7631184"/>
              <a:gd name="connsiteY2098" fmla="*/ 3937031 h 6858054"/>
              <a:gd name="connsiteX2099" fmla="*/ 6764220 w 7631184"/>
              <a:gd name="connsiteY2099" fmla="*/ 3927262 h 6858054"/>
              <a:gd name="connsiteX2100" fmla="*/ 6754451 w 7631184"/>
              <a:gd name="connsiteY2100" fmla="*/ 3907723 h 6858054"/>
              <a:gd name="connsiteX2101" fmla="*/ 6744683 w 7631184"/>
              <a:gd name="connsiteY2101" fmla="*/ 3897954 h 6858054"/>
              <a:gd name="connsiteX2102" fmla="*/ 6734914 w 7631184"/>
              <a:gd name="connsiteY2102" fmla="*/ 3888185 h 6858054"/>
              <a:gd name="connsiteX2103" fmla="*/ 6725145 w 7631184"/>
              <a:gd name="connsiteY2103" fmla="*/ 3888185 h 6858054"/>
              <a:gd name="connsiteX2104" fmla="*/ 6676302 w 7631184"/>
              <a:gd name="connsiteY2104" fmla="*/ 3849107 h 6858054"/>
              <a:gd name="connsiteX2105" fmla="*/ 6656765 w 7631184"/>
              <a:gd name="connsiteY2105" fmla="*/ 3829569 h 6858054"/>
              <a:gd name="connsiteX2106" fmla="*/ 6637228 w 7631184"/>
              <a:gd name="connsiteY2106" fmla="*/ 3810030 h 6858054"/>
              <a:gd name="connsiteX2107" fmla="*/ 6617691 w 7631184"/>
              <a:gd name="connsiteY2107" fmla="*/ 3790492 h 6858054"/>
              <a:gd name="connsiteX2108" fmla="*/ 6588385 w 7631184"/>
              <a:gd name="connsiteY2108" fmla="*/ 3761184 h 6858054"/>
              <a:gd name="connsiteX2109" fmla="*/ 6549310 w 7631184"/>
              <a:gd name="connsiteY2109" fmla="*/ 3731876 h 6858054"/>
              <a:gd name="connsiteX2110" fmla="*/ 6520005 w 7631184"/>
              <a:gd name="connsiteY2110" fmla="*/ 3702568 h 6858054"/>
              <a:gd name="connsiteX2111" fmla="*/ 6510236 w 7631184"/>
              <a:gd name="connsiteY2111" fmla="*/ 3702568 h 6858054"/>
              <a:gd name="connsiteX2112" fmla="*/ 6494362 w 7631184"/>
              <a:gd name="connsiteY2112" fmla="*/ 3687914 h 6858054"/>
              <a:gd name="connsiteX2113" fmla="*/ 6477713 w 7631184"/>
              <a:gd name="connsiteY2113" fmla="*/ 3677398 h 6858054"/>
              <a:gd name="connsiteX2114" fmla="*/ 6476046 w 7631184"/>
              <a:gd name="connsiteY2114" fmla="*/ 3674481 h 6858054"/>
              <a:gd name="connsiteX2115" fmla="*/ 6471162 w 7631184"/>
              <a:gd name="connsiteY2115" fmla="*/ 3673260 h 6858054"/>
              <a:gd name="connsiteX2116" fmla="*/ 6477713 w 7631184"/>
              <a:gd name="connsiteY2116" fmla="*/ 3677398 h 6858054"/>
              <a:gd name="connsiteX2117" fmla="*/ 6480930 w 7631184"/>
              <a:gd name="connsiteY2117" fmla="*/ 3683029 h 6858054"/>
              <a:gd name="connsiteX2118" fmla="*/ 6500467 w 7631184"/>
              <a:gd name="connsiteY2118" fmla="*/ 3702568 h 6858054"/>
              <a:gd name="connsiteX2119" fmla="*/ 6520005 w 7631184"/>
              <a:gd name="connsiteY2119" fmla="*/ 3722106 h 6858054"/>
              <a:gd name="connsiteX2120" fmla="*/ 6529773 w 7631184"/>
              <a:gd name="connsiteY2120" fmla="*/ 3731876 h 6858054"/>
              <a:gd name="connsiteX2121" fmla="*/ 6539542 w 7631184"/>
              <a:gd name="connsiteY2121" fmla="*/ 3741645 h 6858054"/>
              <a:gd name="connsiteX2122" fmla="*/ 6549310 w 7631184"/>
              <a:gd name="connsiteY2122" fmla="*/ 3741645 h 6858054"/>
              <a:gd name="connsiteX2123" fmla="*/ 6559079 w 7631184"/>
              <a:gd name="connsiteY2123" fmla="*/ 3761184 h 6858054"/>
              <a:gd name="connsiteX2124" fmla="*/ 6578616 w 7631184"/>
              <a:gd name="connsiteY2124" fmla="*/ 3770953 h 6858054"/>
              <a:gd name="connsiteX2125" fmla="*/ 6598153 w 7631184"/>
              <a:gd name="connsiteY2125" fmla="*/ 3790492 h 6858054"/>
              <a:gd name="connsiteX2126" fmla="*/ 6617691 w 7631184"/>
              <a:gd name="connsiteY2126" fmla="*/ 3819799 h 6858054"/>
              <a:gd name="connsiteX2127" fmla="*/ 6637228 w 7631184"/>
              <a:gd name="connsiteY2127" fmla="*/ 3829569 h 6858054"/>
              <a:gd name="connsiteX2128" fmla="*/ 6637228 w 7631184"/>
              <a:gd name="connsiteY2128" fmla="*/ 3839338 h 6858054"/>
              <a:gd name="connsiteX2129" fmla="*/ 6666534 w 7631184"/>
              <a:gd name="connsiteY2129" fmla="*/ 3868646 h 6858054"/>
              <a:gd name="connsiteX2130" fmla="*/ 6676302 w 7631184"/>
              <a:gd name="connsiteY2130" fmla="*/ 3878415 h 6858054"/>
              <a:gd name="connsiteX2131" fmla="*/ 6695840 w 7631184"/>
              <a:gd name="connsiteY2131" fmla="*/ 3897954 h 6858054"/>
              <a:gd name="connsiteX2132" fmla="*/ 6705608 w 7631184"/>
              <a:gd name="connsiteY2132" fmla="*/ 3907723 h 6858054"/>
              <a:gd name="connsiteX2133" fmla="*/ 6715377 w 7631184"/>
              <a:gd name="connsiteY2133" fmla="*/ 3917493 h 6858054"/>
              <a:gd name="connsiteX2134" fmla="*/ 6715377 w 7631184"/>
              <a:gd name="connsiteY2134" fmla="*/ 3924820 h 6858054"/>
              <a:gd name="connsiteX2135" fmla="*/ 6715377 w 7631184"/>
              <a:gd name="connsiteY2135" fmla="*/ 3926041 h 6858054"/>
              <a:gd name="connsiteX2136" fmla="*/ 6715377 w 7631184"/>
              <a:gd name="connsiteY2136" fmla="*/ 3927262 h 6858054"/>
              <a:gd name="connsiteX2137" fmla="*/ 6725145 w 7631184"/>
              <a:gd name="connsiteY2137" fmla="*/ 3937031 h 6858054"/>
              <a:gd name="connsiteX2138" fmla="*/ 6744683 w 7631184"/>
              <a:gd name="connsiteY2138" fmla="*/ 3956570 h 6858054"/>
              <a:gd name="connsiteX2139" fmla="*/ 6764220 w 7631184"/>
              <a:gd name="connsiteY2139" fmla="*/ 3985878 h 6858054"/>
              <a:gd name="connsiteX2140" fmla="*/ 6754451 w 7631184"/>
              <a:gd name="connsiteY2140" fmla="*/ 3976108 h 6858054"/>
              <a:gd name="connsiteX2141" fmla="*/ 6734914 w 7631184"/>
              <a:gd name="connsiteY2141" fmla="*/ 3966339 h 6858054"/>
              <a:gd name="connsiteX2142" fmla="*/ 6725145 w 7631184"/>
              <a:gd name="connsiteY2142" fmla="*/ 3956570 h 6858054"/>
              <a:gd name="connsiteX2143" fmla="*/ 6715377 w 7631184"/>
              <a:gd name="connsiteY2143" fmla="*/ 3946800 h 6858054"/>
              <a:gd name="connsiteX2144" fmla="*/ 6705608 w 7631184"/>
              <a:gd name="connsiteY2144" fmla="*/ 3937031 h 6858054"/>
              <a:gd name="connsiteX2145" fmla="*/ 6695840 w 7631184"/>
              <a:gd name="connsiteY2145" fmla="*/ 3917493 h 6858054"/>
              <a:gd name="connsiteX2146" fmla="*/ 6676302 w 7631184"/>
              <a:gd name="connsiteY2146" fmla="*/ 3897954 h 6858054"/>
              <a:gd name="connsiteX2147" fmla="*/ 6646997 w 7631184"/>
              <a:gd name="connsiteY2147" fmla="*/ 3868646 h 6858054"/>
              <a:gd name="connsiteX2148" fmla="*/ 6646997 w 7631184"/>
              <a:gd name="connsiteY2148" fmla="*/ 3878415 h 6858054"/>
              <a:gd name="connsiteX2149" fmla="*/ 6666534 w 7631184"/>
              <a:gd name="connsiteY2149" fmla="*/ 3888185 h 6858054"/>
              <a:gd name="connsiteX2150" fmla="*/ 6676302 w 7631184"/>
              <a:gd name="connsiteY2150" fmla="*/ 3907723 h 6858054"/>
              <a:gd name="connsiteX2151" fmla="*/ 6676302 w 7631184"/>
              <a:gd name="connsiteY2151" fmla="*/ 3917493 h 6858054"/>
              <a:gd name="connsiteX2152" fmla="*/ 6656765 w 7631184"/>
              <a:gd name="connsiteY2152" fmla="*/ 3897954 h 6858054"/>
              <a:gd name="connsiteX2153" fmla="*/ 6627459 w 7631184"/>
              <a:gd name="connsiteY2153" fmla="*/ 3868646 h 6858054"/>
              <a:gd name="connsiteX2154" fmla="*/ 6646997 w 7631184"/>
              <a:gd name="connsiteY2154" fmla="*/ 3888185 h 6858054"/>
              <a:gd name="connsiteX2155" fmla="*/ 6656765 w 7631184"/>
              <a:gd name="connsiteY2155" fmla="*/ 3897954 h 6858054"/>
              <a:gd name="connsiteX2156" fmla="*/ 6695840 w 7631184"/>
              <a:gd name="connsiteY2156" fmla="*/ 3937031 h 6858054"/>
              <a:gd name="connsiteX2157" fmla="*/ 6695840 w 7631184"/>
              <a:gd name="connsiteY2157" fmla="*/ 3946800 h 6858054"/>
              <a:gd name="connsiteX2158" fmla="*/ 6754451 w 7631184"/>
              <a:gd name="connsiteY2158" fmla="*/ 4005416 h 6858054"/>
              <a:gd name="connsiteX2159" fmla="*/ 6773988 w 7631184"/>
              <a:gd name="connsiteY2159" fmla="*/ 4024955 h 6858054"/>
              <a:gd name="connsiteX2160" fmla="*/ 6803294 w 7631184"/>
              <a:gd name="connsiteY2160" fmla="*/ 4054263 h 6858054"/>
              <a:gd name="connsiteX2161" fmla="*/ 6793526 w 7631184"/>
              <a:gd name="connsiteY2161" fmla="*/ 4054263 h 6858054"/>
              <a:gd name="connsiteX2162" fmla="*/ 6783757 w 7631184"/>
              <a:gd name="connsiteY2162" fmla="*/ 4044494 h 6858054"/>
              <a:gd name="connsiteX2163" fmla="*/ 6773988 w 7631184"/>
              <a:gd name="connsiteY2163" fmla="*/ 4044494 h 6858054"/>
              <a:gd name="connsiteX2164" fmla="*/ 6773988 w 7631184"/>
              <a:gd name="connsiteY2164" fmla="*/ 4034724 h 6858054"/>
              <a:gd name="connsiteX2165" fmla="*/ 6764220 w 7631184"/>
              <a:gd name="connsiteY2165" fmla="*/ 4024955 h 6858054"/>
              <a:gd name="connsiteX2166" fmla="*/ 6744683 w 7631184"/>
              <a:gd name="connsiteY2166" fmla="*/ 4005416 h 6858054"/>
              <a:gd name="connsiteX2167" fmla="*/ 6715377 w 7631184"/>
              <a:gd name="connsiteY2167" fmla="*/ 3976108 h 6858054"/>
              <a:gd name="connsiteX2168" fmla="*/ 6705608 w 7631184"/>
              <a:gd name="connsiteY2168" fmla="*/ 3956570 h 6858054"/>
              <a:gd name="connsiteX2169" fmla="*/ 6695840 w 7631184"/>
              <a:gd name="connsiteY2169" fmla="*/ 3956570 h 6858054"/>
              <a:gd name="connsiteX2170" fmla="*/ 6676302 w 7631184"/>
              <a:gd name="connsiteY2170" fmla="*/ 3946800 h 6858054"/>
              <a:gd name="connsiteX2171" fmla="*/ 6666534 w 7631184"/>
              <a:gd name="connsiteY2171" fmla="*/ 3927262 h 6858054"/>
              <a:gd name="connsiteX2172" fmla="*/ 6646997 w 7631184"/>
              <a:gd name="connsiteY2172" fmla="*/ 3917493 h 6858054"/>
              <a:gd name="connsiteX2173" fmla="*/ 6646997 w 7631184"/>
              <a:gd name="connsiteY2173" fmla="*/ 3907723 h 6858054"/>
              <a:gd name="connsiteX2174" fmla="*/ 6637228 w 7631184"/>
              <a:gd name="connsiteY2174" fmla="*/ 3907723 h 6858054"/>
              <a:gd name="connsiteX2175" fmla="*/ 6627459 w 7631184"/>
              <a:gd name="connsiteY2175" fmla="*/ 3897954 h 6858054"/>
              <a:gd name="connsiteX2176" fmla="*/ 6617691 w 7631184"/>
              <a:gd name="connsiteY2176" fmla="*/ 3878415 h 6858054"/>
              <a:gd name="connsiteX2177" fmla="*/ 6588385 w 7631184"/>
              <a:gd name="connsiteY2177" fmla="*/ 3858877 h 6858054"/>
              <a:gd name="connsiteX2178" fmla="*/ 6578616 w 7631184"/>
              <a:gd name="connsiteY2178" fmla="*/ 3849107 h 6858054"/>
              <a:gd name="connsiteX2179" fmla="*/ 6559079 w 7631184"/>
              <a:gd name="connsiteY2179" fmla="*/ 3839338 h 6858054"/>
              <a:gd name="connsiteX2180" fmla="*/ 6549310 w 7631184"/>
              <a:gd name="connsiteY2180" fmla="*/ 3829569 h 6858054"/>
              <a:gd name="connsiteX2181" fmla="*/ 6559079 w 7631184"/>
              <a:gd name="connsiteY2181" fmla="*/ 3839338 h 6858054"/>
              <a:gd name="connsiteX2182" fmla="*/ 6568848 w 7631184"/>
              <a:gd name="connsiteY2182" fmla="*/ 3849107 h 6858054"/>
              <a:gd name="connsiteX2183" fmla="*/ 6598153 w 7631184"/>
              <a:gd name="connsiteY2183" fmla="*/ 3878415 h 6858054"/>
              <a:gd name="connsiteX2184" fmla="*/ 6637228 w 7631184"/>
              <a:gd name="connsiteY2184" fmla="*/ 3907723 h 6858054"/>
              <a:gd name="connsiteX2185" fmla="*/ 6656765 w 7631184"/>
              <a:gd name="connsiteY2185" fmla="*/ 3927262 h 6858054"/>
              <a:gd name="connsiteX2186" fmla="*/ 6676302 w 7631184"/>
              <a:gd name="connsiteY2186" fmla="*/ 3946800 h 6858054"/>
              <a:gd name="connsiteX2187" fmla="*/ 6686071 w 7631184"/>
              <a:gd name="connsiteY2187" fmla="*/ 3966339 h 6858054"/>
              <a:gd name="connsiteX2188" fmla="*/ 6666534 w 7631184"/>
              <a:gd name="connsiteY2188" fmla="*/ 3956570 h 6858054"/>
              <a:gd name="connsiteX2189" fmla="*/ 6637228 w 7631184"/>
              <a:gd name="connsiteY2189" fmla="*/ 3917493 h 6858054"/>
              <a:gd name="connsiteX2190" fmla="*/ 6632343 w 7631184"/>
              <a:gd name="connsiteY2190" fmla="*/ 3917493 h 6858054"/>
              <a:gd name="connsiteX2191" fmla="*/ 6627460 w 7631184"/>
              <a:gd name="connsiteY2191" fmla="*/ 3917493 h 6858054"/>
              <a:gd name="connsiteX2192" fmla="*/ 6627459 w 7631184"/>
              <a:gd name="connsiteY2192" fmla="*/ 3917492 h 6858054"/>
              <a:gd name="connsiteX2193" fmla="*/ 6627459 w 7631184"/>
              <a:gd name="connsiteY2193" fmla="*/ 3908944 h 6858054"/>
              <a:gd name="connsiteX2194" fmla="*/ 6627459 w 7631184"/>
              <a:gd name="connsiteY2194" fmla="*/ 3907723 h 6858054"/>
              <a:gd name="connsiteX2195" fmla="*/ 6617691 w 7631184"/>
              <a:gd name="connsiteY2195" fmla="*/ 3897954 h 6858054"/>
              <a:gd name="connsiteX2196" fmla="*/ 6607922 w 7631184"/>
              <a:gd name="connsiteY2196" fmla="*/ 3897954 h 6858054"/>
              <a:gd name="connsiteX2197" fmla="*/ 6624407 w 7631184"/>
              <a:gd name="connsiteY2197" fmla="*/ 3914440 h 6858054"/>
              <a:gd name="connsiteX2198" fmla="*/ 6627459 w 7631184"/>
              <a:gd name="connsiteY2198" fmla="*/ 3917492 h 6858054"/>
              <a:gd name="connsiteX2199" fmla="*/ 6627459 w 7631184"/>
              <a:gd name="connsiteY2199" fmla="*/ 3917493 h 6858054"/>
              <a:gd name="connsiteX2200" fmla="*/ 6627460 w 7631184"/>
              <a:gd name="connsiteY2200" fmla="*/ 3917493 h 6858054"/>
              <a:gd name="connsiteX2201" fmla="*/ 6646997 w 7631184"/>
              <a:gd name="connsiteY2201" fmla="*/ 3937031 h 6858054"/>
              <a:gd name="connsiteX2202" fmla="*/ 6676302 w 7631184"/>
              <a:gd name="connsiteY2202" fmla="*/ 3966339 h 6858054"/>
              <a:gd name="connsiteX2203" fmla="*/ 6725145 w 7631184"/>
              <a:gd name="connsiteY2203" fmla="*/ 4015186 h 6858054"/>
              <a:gd name="connsiteX2204" fmla="*/ 6715377 w 7631184"/>
              <a:gd name="connsiteY2204" fmla="*/ 4015186 h 6858054"/>
              <a:gd name="connsiteX2205" fmla="*/ 6725145 w 7631184"/>
              <a:gd name="connsiteY2205" fmla="*/ 4024955 h 6858054"/>
              <a:gd name="connsiteX2206" fmla="*/ 6734914 w 7631184"/>
              <a:gd name="connsiteY2206" fmla="*/ 4034724 h 6858054"/>
              <a:gd name="connsiteX2207" fmla="*/ 6744683 w 7631184"/>
              <a:gd name="connsiteY2207" fmla="*/ 4044494 h 6858054"/>
              <a:gd name="connsiteX2208" fmla="*/ 6764220 w 7631184"/>
              <a:gd name="connsiteY2208" fmla="*/ 4064032 h 6858054"/>
              <a:gd name="connsiteX2209" fmla="*/ 6803294 w 7631184"/>
              <a:gd name="connsiteY2209" fmla="*/ 4103109 h 6858054"/>
              <a:gd name="connsiteX2210" fmla="*/ 6813063 w 7631184"/>
              <a:gd name="connsiteY2210" fmla="*/ 4122648 h 6858054"/>
              <a:gd name="connsiteX2211" fmla="*/ 6822832 w 7631184"/>
              <a:gd name="connsiteY2211" fmla="*/ 4142187 h 6858054"/>
              <a:gd name="connsiteX2212" fmla="*/ 6842369 w 7631184"/>
              <a:gd name="connsiteY2212" fmla="*/ 4151956 h 6858054"/>
              <a:gd name="connsiteX2213" fmla="*/ 6842369 w 7631184"/>
              <a:gd name="connsiteY2213" fmla="*/ 4161725 h 6858054"/>
              <a:gd name="connsiteX2214" fmla="*/ 6842369 w 7631184"/>
              <a:gd name="connsiteY2214" fmla="*/ 4171495 h 6858054"/>
              <a:gd name="connsiteX2215" fmla="*/ 6861906 w 7631184"/>
              <a:gd name="connsiteY2215" fmla="*/ 4181264 h 6858054"/>
              <a:gd name="connsiteX2216" fmla="*/ 6871675 w 7631184"/>
              <a:gd name="connsiteY2216" fmla="*/ 4200803 h 6858054"/>
              <a:gd name="connsiteX2217" fmla="*/ 6881443 w 7631184"/>
              <a:gd name="connsiteY2217" fmla="*/ 4210572 h 6858054"/>
              <a:gd name="connsiteX2218" fmla="*/ 6891212 w 7631184"/>
              <a:gd name="connsiteY2218" fmla="*/ 4220341 h 6858054"/>
              <a:gd name="connsiteX2219" fmla="*/ 6871675 w 7631184"/>
              <a:gd name="connsiteY2219" fmla="*/ 4210572 h 6858054"/>
              <a:gd name="connsiteX2220" fmla="*/ 6853358 w 7631184"/>
              <a:gd name="connsiteY2220" fmla="*/ 4192255 h 6858054"/>
              <a:gd name="connsiteX2221" fmla="*/ 6852137 w 7631184"/>
              <a:gd name="connsiteY2221" fmla="*/ 4191033 h 6858054"/>
              <a:gd name="connsiteX2222" fmla="*/ 6852137 w 7631184"/>
              <a:gd name="connsiteY2222" fmla="*/ 4191033 h 6858054"/>
              <a:gd name="connsiteX2223" fmla="*/ 6852137 w 7631184"/>
              <a:gd name="connsiteY2223" fmla="*/ 4191033 h 6858054"/>
              <a:gd name="connsiteX2224" fmla="*/ 6842369 w 7631184"/>
              <a:gd name="connsiteY2224" fmla="*/ 4181264 h 6858054"/>
              <a:gd name="connsiteX2225" fmla="*/ 6843590 w 7631184"/>
              <a:gd name="connsiteY2225" fmla="*/ 4186149 h 6858054"/>
              <a:gd name="connsiteX2226" fmla="*/ 6852137 w 7631184"/>
              <a:gd name="connsiteY2226" fmla="*/ 4191033 h 6858054"/>
              <a:gd name="connsiteX2227" fmla="*/ 6852137 w 7631184"/>
              <a:gd name="connsiteY2227" fmla="*/ 4191033 h 6858054"/>
              <a:gd name="connsiteX2228" fmla="*/ 6852137 w 7631184"/>
              <a:gd name="connsiteY2228" fmla="*/ 4195918 h 6858054"/>
              <a:gd name="connsiteX2229" fmla="*/ 6852137 w 7631184"/>
              <a:gd name="connsiteY2229" fmla="*/ 4200803 h 6858054"/>
              <a:gd name="connsiteX2230" fmla="*/ 6852137 w 7631184"/>
              <a:gd name="connsiteY2230" fmla="*/ 4210572 h 6858054"/>
              <a:gd name="connsiteX2231" fmla="*/ 6861906 w 7631184"/>
              <a:gd name="connsiteY2231" fmla="*/ 4210572 h 6858054"/>
              <a:gd name="connsiteX2232" fmla="*/ 6920518 w 7631184"/>
              <a:gd name="connsiteY2232" fmla="*/ 4278957 h 6858054"/>
              <a:gd name="connsiteX2233" fmla="*/ 6920518 w 7631184"/>
              <a:gd name="connsiteY2233" fmla="*/ 4288726 h 6858054"/>
              <a:gd name="connsiteX2234" fmla="*/ 6940055 w 7631184"/>
              <a:gd name="connsiteY2234" fmla="*/ 4308265 h 6858054"/>
              <a:gd name="connsiteX2235" fmla="*/ 6949823 w 7631184"/>
              <a:gd name="connsiteY2235" fmla="*/ 4318034 h 6858054"/>
              <a:gd name="connsiteX2236" fmla="*/ 6949823 w 7631184"/>
              <a:gd name="connsiteY2236" fmla="*/ 4327804 h 6858054"/>
              <a:gd name="connsiteX2237" fmla="*/ 6969361 w 7631184"/>
              <a:gd name="connsiteY2237" fmla="*/ 4347342 h 6858054"/>
              <a:gd name="connsiteX2238" fmla="*/ 6998667 w 7631184"/>
              <a:gd name="connsiteY2238" fmla="*/ 4386419 h 6858054"/>
              <a:gd name="connsiteX2239" fmla="*/ 7008435 w 7631184"/>
              <a:gd name="connsiteY2239" fmla="*/ 4405958 h 6858054"/>
              <a:gd name="connsiteX2240" fmla="*/ 6998667 w 7631184"/>
              <a:gd name="connsiteY2240" fmla="*/ 4405958 h 6858054"/>
              <a:gd name="connsiteX2241" fmla="*/ 6998667 w 7631184"/>
              <a:gd name="connsiteY2241" fmla="*/ 4396189 h 6858054"/>
              <a:gd name="connsiteX2242" fmla="*/ 6949823 w 7631184"/>
              <a:gd name="connsiteY2242" fmla="*/ 4337573 h 6858054"/>
              <a:gd name="connsiteX2243" fmla="*/ 6920518 w 7631184"/>
              <a:gd name="connsiteY2243" fmla="*/ 4308265 h 6858054"/>
              <a:gd name="connsiteX2244" fmla="*/ 6891212 w 7631184"/>
              <a:gd name="connsiteY2244" fmla="*/ 4269188 h 6858054"/>
              <a:gd name="connsiteX2245" fmla="*/ 6871675 w 7631184"/>
              <a:gd name="connsiteY2245" fmla="*/ 4259418 h 6858054"/>
              <a:gd name="connsiteX2246" fmla="*/ 6852137 w 7631184"/>
              <a:gd name="connsiteY2246" fmla="*/ 4239880 h 6858054"/>
              <a:gd name="connsiteX2247" fmla="*/ 6842369 w 7631184"/>
              <a:gd name="connsiteY2247" fmla="*/ 4220341 h 6858054"/>
              <a:gd name="connsiteX2248" fmla="*/ 6832600 w 7631184"/>
              <a:gd name="connsiteY2248" fmla="*/ 4220341 h 6858054"/>
              <a:gd name="connsiteX2249" fmla="*/ 6842369 w 7631184"/>
              <a:gd name="connsiteY2249" fmla="*/ 4230110 h 6858054"/>
              <a:gd name="connsiteX2250" fmla="*/ 6842369 w 7631184"/>
              <a:gd name="connsiteY2250" fmla="*/ 4239880 h 6858054"/>
              <a:gd name="connsiteX2251" fmla="*/ 6852137 w 7631184"/>
              <a:gd name="connsiteY2251" fmla="*/ 4259418 h 6858054"/>
              <a:gd name="connsiteX2252" fmla="*/ 6861906 w 7631184"/>
              <a:gd name="connsiteY2252" fmla="*/ 4269188 h 6858054"/>
              <a:gd name="connsiteX2253" fmla="*/ 6871675 w 7631184"/>
              <a:gd name="connsiteY2253" fmla="*/ 4269188 h 6858054"/>
              <a:gd name="connsiteX2254" fmla="*/ 6900980 w 7631184"/>
              <a:gd name="connsiteY2254" fmla="*/ 4308265 h 6858054"/>
              <a:gd name="connsiteX2255" fmla="*/ 6930286 w 7631184"/>
              <a:gd name="connsiteY2255" fmla="*/ 4337573 h 6858054"/>
              <a:gd name="connsiteX2256" fmla="*/ 6930286 w 7631184"/>
              <a:gd name="connsiteY2256" fmla="*/ 4347342 h 6858054"/>
              <a:gd name="connsiteX2257" fmla="*/ 6949823 w 7631184"/>
              <a:gd name="connsiteY2257" fmla="*/ 4357111 h 6858054"/>
              <a:gd name="connsiteX2258" fmla="*/ 6979129 w 7631184"/>
              <a:gd name="connsiteY2258" fmla="*/ 4396189 h 6858054"/>
              <a:gd name="connsiteX2259" fmla="*/ 7018204 w 7631184"/>
              <a:gd name="connsiteY2259" fmla="*/ 4454805 h 6858054"/>
              <a:gd name="connsiteX2260" fmla="*/ 7008435 w 7631184"/>
              <a:gd name="connsiteY2260" fmla="*/ 4445035 h 6858054"/>
              <a:gd name="connsiteX2261" fmla="*/ 6998667 w 7631184"/>
              <a:gd name="connsiteY2261" fmla="*/ 4425497 h 6858054"/>
              <a:gd name="connsiteX2262" fmla="*/ 6988898 w 7631184"/>
              <a:gd name="connsiteY2262" fmla="*/ 4415727 h 6858054"/>
              <a:gd name="connsiteX2263" fmla="*/ 6959592 w 7631184"/>
              <a:gd name="connsiteY2263" fmla="*/ 4376650 h 6858054"/>
              <a:gd name="connsiteX2264" fmla="*/ 6920518 w 7631184"/>
              <a:gd name="connsiteY2264" fmla="*/ 4347342 h 6858054"/>
              <a:gd name="connsiteX2265" fmla="*/ 6910749 w 7631184"/>
              <a:gd name="connsiteY2265" fmla="*/ 4337573 h 6858054"/>
              <a:gd name="connsiteX2266" fmla="*/ 6900980 w 7631184"/>
              <a:gd name="connsiteY2266" fmla="*/ 4337573 h 6858054"/>
              <a:gd name="connsiteX2267" fmla="*/ 6900980 w 7631184"/>
              <a:gd name="connsiteY2267" fmla="*/ 4327804 h 6858054"/>
              <a:gd name="connsiteX2268" fmla="*/ 6881443 w 7631184"/>
              <a:gd name="connsiteY2268" fmla="*/ 4298496 h 6858054"/>
              <a:gd name="connsiteX2269" fmla="*/ 6842369 w 7631184"/>
              <a:gd name="connsiteY2269" fmla="*/ 4259418 h 6858054"/>
              <a:gd name="connsiteX2270" fmla="*/ 6832600 w 7631184"/>
              <a:gd name="connsiteY2270" fmla="*/ 4249649 h 6858054"/>
              <a:gd name="connsiteX2271" fmla="*/ 6813063 w 7631184"/>
              <a:gd name="connsiteY2271" fmla="*/ 4230110 h 6858054"/>
              <a:gd name="connsiteX2272" fmla="*/ 6764220 w 7631184"/>
              <a:gd name="connsiteY2272" fmla="*/ 4181264 h 6858054"/>
              <a:gd name="connsiteX2273" fmla="*/ 6734914 w 7631184"/>
              <a:gd name="connsiteY2273" fmla="*/ 4151956 h 6858054"/>
              <a:gd name="connsiteX2274" fmla="*/ 6715377 w 7631184"/>
              <a:gd name="connsiteY2274" fmla="*/ 4132417 h 6858054"/>
              <a:gd name="connsiteX2275" fmla="*/ 6705608 w 7631184"/>
              <a:gd name="connsiteY2275" fmla="*/ 4122648 h 6858054"/>
              <a:gd name="connsiteX2276" fmla="*/ 6695840 w 7631184"/>
              <a:gd name="connsiteY2276" fmla="*/ 4112879 h 6858054"/>
              <a:gd name="connsiteX2277" fmla="*/ 6686071 w 7631184"/>
              <a:gd name="connsiteY2277" fmla="*/ 4103109 h 6858054"/>
              <a:gd name="connsiteX2278" fmla="*/ 6666534 w 7631184"/>
              <a:gd name="connsiteY2278" fmla="*/ 4083571 h 6858054"/>
              <a:gd name="connsiteX2279" fmla="*/ 6646997 w 7631184"/>
              <a:gd name="connsiteY2279" fmla="*/ 4064032 h 6858054"/>
              <a:gd name="connsiteX2280" fmla="*/ 6637228 w 7631184"/>
              <a:gd name="connsiteY2280" fmla="*/ 4054263 h 6858054"/>
              <a:gd name="connsiteX2281" fmla="*/ 6627459 w 7631184"/>
              <a:gd name="connsiteY2281" fmla="*/ 4044494 h 6858054"/>
              <a:gd name="connsiteX2282" fmla="*/ 6607922 w 7631184"/>
              <a:gd name="connsiteY2282" fmla="*/ 4024955 h 6858054"/>
              <a:gd name="connsiteX2283" fmla="*/ 6559079 w 7631184"/>
              <a:gd name="connsiteY2283" fmla="*/ 3976108 h 6858054"/>
              <a:gd name="connsiteX2284" fmla="*/ 6539542 w 7631184"/>
              <a:gd name="connsiteY2284" fmla="*/ 3966339 h 6858054"/>
              <a:gd name="connsiteX2285" fmla="*/ 6529773 w 7631184"/>
              <a:gd name="connsiteY2285" fmla="*/ 3946800 h 6858054"/>
              <a:gd name="connsiteX2286" fmla="*/ 6510236 w 7631184"/>
              <a:gd name="connsiteY2286" fmla="*/ 3927262 h 6858054"/>
              <a:gd name="connsiteX2287" fmla="*/ 6480930 w 7631184"/>
              <a:gd name="connsiteY2287" fmla="*/ 3907723 h 6858054"/>
              <a:gd name="connsiteX2288" fmla="*/ 6461393 w 7631184"/>
              <a:gd name="connsiteY2288" fmla="*/ 3888185 h 6858054"/>
              <a:gd name="connsiteX2289" fmla="*/ 6451624 w 7631184"/>
              <a:gd name="connsiteY2289" fmla="*/ 3878415 h 6858054"/>
              <a:gd name="connsiteX2290" fmla="*/ 6441856 w 7631184"/>
              <a:gd name="connsiteY2290" fmla="*/ 3868646 h 6858054"/>
              <a:gd name="connsiteX2291" fmla="*/ 6432087 w 7631184"/>
              <a:gd name="connsiteY2291" fmla="*/ 3858877 h 6858054"/>
              <a:gd name="connsiteX2292" fmla="*/ 6422318 w 7631184"/>
              <a:gd name="connsiteY2292" fmla="*/ 3858877 h 6858054"/>
              <a:gd name="connsiteX2293" fmla="*/ 6422318 w 7631184"/>
              <a:gd name="connsiteY2293" fmla="*/ 3862899 h 6858054"/>
              <a:gd name="connsiteX2294" fmla="*/ 6411329 w 7631184"/>
              <a:gd name="connsiteY2294" fmla="*/ 3856434 h 6858054"/>
              <a:gd name="connsiteX2295" fmla="*/ 6383244 w 7631184"/>
              <a:gd name="connsiteY2295" fmla="*/ 3829569 h 6858054"/>
              <a:gd name="connsiteX2296" fmla="*/ 6373475 w 7631184"/>
              <a:gd name="connsiteY2296" fmla="*/ 3819799 h 6858054"/>
              <a:gd name="connsiteX2297" fmla="*/ 6363707 w 7631184"/>
              <a:gd name="connsiteY2297" fmla="*/ 3810030 h 6858054"/>
              <a:gd name="connsiteX2298" fmla="*/ 6344170 w 7631184"/>
              <a:gd name="connsiteY2298" fmla="*/ 3790492 h 6858054"/>
              <a:gd name="connsiteX2299" fmla="*/ 6314864 w 7631184"/>
              <a:gd name="connsiteY2299" fmla="*/ 3770953 h 6858054"/>
              <a:gd name="connsiteX2300" fmla="*/ 6295327 w 7631184"/>
              <a:gd name="connsiteY2300" fmla="*/ 3751414 h 6858054"/>
              <a:gd name="connsiteX2301" fmla="*/ 6275789 w 7631184"/>
              <a:gd name="connsiteY2301" fmla="*/ 3731876 h 6858054"/>
              <a:gd name="connsiteX2302" fmla="*/ 6266021 w 7631184"/>
              <a:gd name="connsiteY2302" fmla="*/ 3731876 h 6858054"/>
              <a:gd name="connsiteX2303" fmla="*/ 6236715 w 7631184"/>
              <a:gd name="connsiteY2303" fmla="*/ 3702568 h 6858054"/>
              <a:gd name="connsiteX2304" fmla="*/ 6226946 w 7631184"/>
              <a:gd name="connsiteY2304" fmla="*/ 3692798 h 6858054"/>
              <a:gd name="connsiteX2305" fmla="*/ 6207409 w 7631184"/>
              <a:gd name="connsiteY2305" fmla="*/ 3683029 h 6858054"/>
              <a:gd name="connsiteX2306" fmla="*/ 6208386 w 7631184"/>
              <a:gd name="connsiteY2306" fmla="*/ 3677168 h 6858054"/>
              <a:gd name="connsiteX2307" fmla="*/ 6208630 w 7631184"/>
              <a:gd name="connsiteY2307" fmla="*/ 3678145 h 6858054"/>
              <a:gd name="connsiteX2308" fmla="*/ 6217178 w 7631184"/>
              <a:gd name="connsiteY2308" fmla="*/ 3683029 h 6858054"/>
              <a:gd name="connsiteX2309" fmla="*/ 6208630 w 7631184"/>
              <a:gd name="connsiteY2309" fmla="*/ 3675703 h 6858054"/>
              <a:gd name="connsiteX2310" fmla="*/ 6208386 w 7631184"/>
              <a:gd name="connsiteY2310" fmla="*/ 3677168 h 6858054"/>
              <a:gd name="connsiteX2311" fmla="*/ 6207409 w 7631184"/>
              <a:gd name="connsiteY2311" fmla="*/ 3673260 h 6858054"/>
              <a:gd name="connsiteX2312" fmla="*/ 6187872 w 7631184"/>
              <a:gd name="connsiteY2312" fmla="*/ 3673260 h 6858054"/>
              <a:gd name="connsiteX2313" fmla="*/ 6197640 w 7631184"/>
              <a:gd name="connsiteY2313" fmla="*/ 3683029 h 6858054"/>
              <a:gd name="connsiteX2314" fmla="*/ 6236715 w 7631184"/>
              <a:gd name="connsiteY2314" fmla="*/ 3712337 h 6858054"/>
              <a:gd name="connsiteX2315" fmla="*/ 6266021 w 7631184"/>
              <a:gd name="connsiteY2315" fmla="*/ 3741645 h 6858054"/>
              <a:gd name="connsiteX2316" fmla="*/ 6262422 w 7631184"/>
              <a:gd name="connsiteY2316" fmla="*/ 3740745 h 6858054"/>
              <a:gd name="connsiteX2317" fmla="*/ 6256252 w 7631184"/>
              <a:gd name="connsiteY2317" fmla="*/ 3731876 h 6858054"/>
              <a:gd name="connsiteX2318" fmla="*/ 6261137 w 7631184"/>
              <a:gd name="connsiteY2318" fmla="*/ 3740424 h 6858054"/>
              <a:gd name="connsiteX2319" fmla="*/ 6262422 w 7631184"/>
              <a:gd name="connsiteY2319" fmla="*/ 3740745 h 6858054"/>
              <a:gd name="connsiteX2320" fmla="*/ 6275789 w 7631184"/>
              <a:gd name="connsiteY2320" fmla="*/ 3759963 h 6858054"/>
              <a:gd name="connsiteX2321" fmla="*/ 6295327 w 7631184"/>
              <a:gd name="connsiteY2321" fmla="*/ 3780722 h 6858054"/>
              <a:gd name="connsiteX2322" fmla="*/ 6314864 w 7631184"/>
              <a:gd name="connsiteY2322" fmla="*/ 3800261 h 6858054"/>
              <a:gd name="connsiteX2323" fmla="*/ 6324632 w 7631184"/>
              <a:gd name="connsiteY2323" fmla="*/ 3810030 h 6858054"/>
              <a:gd name="connsiteX2324" fmla="*/ 6344170 w 7631184"/>
              <a:gd name="connsiteY2324" fmla="*/ 3829569 h 6858054"/>
              <a:gd name="connsiteX2325" fmla="*/ 6363707 w 7631184"/>
              <a:gd name="connsiteY2325" fmla="*/ 3839338 h 6858054"/>
              <a:gd name="connsiteX2326" fmla="*/ 6373475 w 7631184"/>
              <a:gd name="connsiteY2326" fmla="*/ 3849107 h 6858054"/>
              <a:gd name="connsiteX2327" fmla="*/ 6373475 w 7631184"/>
              <a:gd name="connsiteY2327" fmla="*/ 3853992 h 6858054"/>
              <a:gd name="connsiteX2328" fmla="*/ 6373475 w 7631184"/>
              <a:gd name="connsiteY2328" fmla="*/ 3855946 h 6858054"/>
              <a:gd name="connsiteX2329" fmla="*/ 6363707 w 7631184"/>
              <a:gd name="connsiteY2329" fmla="*/ 3849107 h 6858054"/>
              <a:gd name="connsiteX2330" fmla="*/ 6334401 w 7631184"/>
              <a:gd name="connsiteY2330" fmla="*/ 3829569 h 6858054"/>
              <a:gd name="connsiteX2331" fmla="*/ 6363707 w 7631184"/>
              <a:gd name="connsiteY2331" fmla="*/ 3858877 h 6858054"/>
              <a:gd name="connsiteX2332" fmla="*/ 6373475 w 7631184"/>
              <a:gd name="connsiteY2332" fmla="*/ 3868646 h 6858054"/>
              <a:gd name="connsiteX2333" fmla="*/ 6383244 w 7631184"/>
              <a:gd name="connsiteY2333" fmla="*/ 3878415 h 6858054"/>
              <a:gd name="connsiteX2334" fmla="*/ 6402781 w 7631184"/>
              <a:gd name="connsiteY2334" fmla="*/ 3897954 h 6858054"/>
              <a:gd name="connsiteX2335" fmla="*/ 6412550 w 7631184"/>
              <a:gd name="connsiteY2335" fmla="*/ 3907723 h 6858054"/>
              <a:gd name="connsiteX2336" fmla="*/ 6422318 w 7631184"/>
              <a:gd name="connsiteY2336" fmla="*/ 3917493 h 6858054"/>
              <a:gd name="connsiteX2337" fmla="*/ 6441856 w 7631184"/>
              <a:gd name="connsiteY2337" fmla="*/ 3937031 h 6858054"/>
              <a:gd name="connsiteX2338" fmla="*/ 6451624 w 7631184"/>
              <a:gd name="connsiteY2338" fmla="*/ 3946800 h 6858054"/>
              <a:gd name="connsiteX2339" fmla="*/ 6500467 w 7631184"/>
              <a:gd name="connsiteY2339" fmla="*/ 3995647 h 6858054"/>
              <a:gd name="connsiteX2340" fmla="*/ 6510236 w 7631184"/>
              <a:gd name="connsiteY2340" fmla="*/ 4005416 h 6858054"/>
              <a:gd name="connsiteX2341" fmla="*/ 6539542 w 7631184"/>
              <a:gd name="connsiteY2341" fmla="*/ 4044494 h 6858054"/>
              <a:gd name="connsiteX2342" fmla="*/ 6549310 w 7631184"/>
              <a:gd name="connsiteY2342" fmla="*/ 4054263 h 6858054"/>
              <a:gd name="connsiteX2343" fmla="*/ 6568848 w 7631184"/>
              <a:gd name="connsiteY2343" fmla="*/ 4073801 h 6858054"/>
              <a:gd name="connsiteX2344" fmla="*/ 6573122 w 7631184"/>
              <a:gd name="connsiteY2344" fmla="*/ 4081281 h 6858054"/>
              <a:gd name="connsiteX2345" fmla="*/ 6563963 w 7631184"/>
              <a:gd name="connsiteY2345" fmla="*/ 4077465 h 6858054"/>
              <a:gd name="connsiteX2346" fmla="*/ 6549310 w 7631184"/>
              <a:gd name="connsiteY2346" fmla="*/ 4064032 h 6858054"/>
              <a:gd name="connsiteX2347" fmla="*/ 6539542 w 7631184"/>
              <a:gd name="connsiteY2347" fmla="*/ 4064032 h 6858054"/>
              <a:gd name="connsiteX2348" fmla="*/ 6529773 w 7631184"/>
              <a:gd name="connsiteY2348" fmla="*/ 4054263 h 6858054"/>
              <a:gd name="connsiteX2349" fmla="*/ 6529773 w 7631184"/>
              <a:gd name="connsiteY2349" fmla="*/ 4044494 h 6858054"/>
              <a:gd name="connsiteX2350" fmla="*/ 6520005 w 7631184"/>
              <a:gd name="connsiteY2350" fmla="*/ 4034724 h 6858054"/>
              <a:gd name="connsiteX2351" fmla="*/ 6510236 w 7631184"/>
              <a:gd name="connsiteY2351" fmla="*/ 4034724 h 6858054"/>
              <a:gd name="connsiteX2352" fmla="*/ 6490699 w 7631184"/>
              <a:gd name="connsiteY2352" fmla="*/ 4024955 h 6858054"/>
              <a:gd name="connsiteX2353" fmla="*/ 6441856 w 7631184"/>
              <a:gd name="connsiteY2353" fmla="*/ 3966339 h 6858054"/>
              <a:gd name="connsiteX2354" fmla="*/ 6422318 w 7631184"/>
              <a:gd name="connsiteY2354" fmla="*/ 3956570 h 6858054"/>
              <a:gd name="connsiteX2355" fmla="*/ 6412550 w 7631184"/>
              <a:gd name="connsiteY2355" fmla="*/ 3946800 h 6858054"/>
              <a:gd name="connsiteX2356" fmla="*/ 6402781 w 7631184"/>
              <a:gd name="connsiteY2356" fmla="*/ 3937031 h 6858054"/>
              <a:gd name="connsiteX2357" fmla="*/ 6363707 w 7631184"/>
              <a:gd name="connsiteY2357" fmla="*/ 3897954 h 6858054"/>
              <a:gd name="connsiteX2358" fmla="*/ 6295327 w 7631184"/>
              <a:gd name="connsiteY2358" fmla="*/ 3829569 h 6858054"/>
              <a:gd name="connsiteX2359" fmla="*/ 6275789 w 7631184"/>
              <a:gd name="connsiteY2359" fmla="*/ 3810030 h 6858054"/>
              <a:gd name="connsiteX2360" fmla="*/ 6266021 w 7631184"/>
              <a:gd name="connsiteY2360" fmla="*/ 3810030 h 6858054"/>
              <a:gd name="connsiteX2361" fmla="*/ 6256252 w 7631184"/>
              <a:gd name="connsiteY2361" fmla="*/ 3800261 h 6858054"/>
              <a:gd name="connsiteX2362" fmla="*/ 6246483 w 7631184"/>
              <a:gd name="connsiteY2362" fmla="*/ 3790492 h 6858054"/>
              <a:gd name="connsiteX2363" fmla="*/ 6221757 w 7631184"/>
              <a:gd name="connsiteY2363" fmla="*/ 3778127 h 6858054"/>
              <a:gd name="connsiteX2364" fmla="*/ 6218430 w 7631184"/>
              <a:gd name="connsiteY2364" fmla="*/ 3772915 h 6858054"/>
              <a:gd name="connsiteX2365" fmla="*/ 6226946 w 7631184"/>
              <a:gd name="connsiteY2365" fmla="*/ 3780722 h 6858054"/>
              <a:gd name="connsiteX2366" fmla="*/ 6207409 w 7631184"/>
              <a:gd name="connsiteY2366" fmla="*/ 3751414 h 6858054"/>
              <a:gd name="connsiteX2367" fmla="*/ 6187872 w 7631184"/>
              <a:gd name="connsiteY2367" fmla="*/ 3741645 h 6858054"/>
              <a:gd name="connsiteX2368" fmla="*/ 6178103 w 7631184"/>
              <a:gd name="connsiteY2368" fmla="*/ 3731876 h 6858054"/>
              <a:gd name="connsiteX2369" fmla="*/ 6168335 w 7631184"/>
              <a:gd name="connsiteY2369" fmla="*/ 3722106 h 6858054"/>
              <a:gd name="connsiteX2370" fmla="*/ 6158566 w 7631184"/>
              <a:gd name="connsiteY2370" fmla="*/ 3712337 h 6858054"/>
              <a:gd name="connsiteX2371" fmla="*/ 6148797 w 7631184"/>
              <a:gd name="connsiteY2371" fmla="*/ 3702568 h 6858054"/>
              <a:gd name="connsiteX2372" fmla="*/ 6139029 w 7631184"/>
              <a:gd name="connsiteY2372" fmla="*/ 3712337 h 6858054"/>
              <a:gd name="connsiteX2373" fmla="*/ 6129260 w 7631184"/>
              <a:gd name="connsiteY2373" fmla="*/ 3712337 h 6858054"/>
              <a:gd name="connsiteX2374" fmla="*/ 6139029 w 7631184"/>
              <a:gd name="connsiteY2374" fmla="*/ 3722106 h 6858054"/>
              <a:gd name="connsiteX2375" fmla="*/ 6148797 w 7631184"/>
              <a:gd name="connsiteY2375" fmla="*/ 3731876 h 6858054"/>
              <a:gd name="connsiteX2376" fmla="*/ 6168335 w 7631184"/>
              <a:gd name="connsiteY2376" fmla="*/ 3761184 h 6858054"/>
              <a:gd name="connsiteX2377" fmla="*/ 6197640 w 7631184"/>
              <a:gd name="connsiteY2377" fmla="*/ 3780722 h 6858054"/>
              <a:gd name="connsiteX2378" fmla="*/ 6207409 w 7631184"/>
              <a:gd name="connsiteY2378" fmla="*/ 3790492 h 6858054"/>
              <a:gd name="connsiteX2379" fmla="*/ 6158566 w 7631184"/>
              <a:gd name="connsiteY2379" fmla="*/ 3761184 h 6858054"/>
              <a:gd name="connsiteX2380" fmla="*/ 6139029 w 7631184"/>
              <a:gd name="connsiteY2380" fmla="*/ 3751414 h 6858054"/>
              <a:gd name="connsiteX2381" fmla="*/ 6132924 w 7631184"/>
              <a:gd name="connsiteY2381" fmla="*/ 3746530 h 6858054"/>
              <a:gd name="connsiteX2382" fmla="*/ 6120555 w 7631184"/>
              <a:gd name="connsiteY2382" fmla="*/ 3742032 h 6858054"/>
              <a:gd name="connsiteX2383" fmla="*/ 6118740 w 7631184"/>
              <a:gd name="connsiteY2383" fmla="*/ 3740330 h 6858054"/>
              <a:gd name="connsiteX2384" fmla="*/ 6114607 w 7631184"/>
              <a:gd name="connsiteY2384" fmla="*/ 3733097 h 6858054"/>
              <a:gd name="connsiteX2385" fmla="*/ 6109723 w 7631184"/>
              <a:gd name="connsiteY2385" fmla="*/ 3731876 h 6858054"/>
              <a:gd name="connsiteX2386" fmla="*/ 6118740 w 7631184"/>
              <a:gd name="connsiteY2386" fmla="*/ 3740330 h 6858054"/>
              <a:gd name="connsiteX2387" fmla="*/ 6119492 w 7631184"/>
              <a:gd name="connsiteY2387" fmla="*/ 3741645 h 6858054"/>
              <a:gd name="connsiteX2388" fmla="*/ 6120555 w 7631184"/>
              <a:gd name="connsiteY2388" fmla="*/ 3742032 h 6858054"/>
              <a:gd name="connsiteX2389" fmla="*/ 6129260 w 7631184"/>
              <a:gd name="connsiteY2389" fmla="*/ 3750193 h 6858054"/>
              <a:gd name="connsiteX2390" fmla="*/ 6148797 w 7631184"/>
              <a:gd name="connsiteY2390" fmla="*/ 3761184 h 6858054"/>
              <a:gd name="connsiteX2391" fmla="*/ 6158566 w 7631184"/>
              <a:gd name="connsiteY2391" fmla="*/ 3770953 h 6858054"/>
              <a:gd name="connsiteX2392" fmla="*/ 6158566 w 7631184"/>
              <a:gd name="connsiteY2392" fmla="*/ 3780722 h 6858054"/>
              <a:gd name="connsiteX2393" fmla="*/ 6168335 w 7631184"/>
              <a:gd name="connsiteY2393" fmla="*/ 3780722 h 6858054"/>
              <a:gd name="connsiteX2394" fmla="*/ 6168335 w 7631184"/>
              <a:gd name="connsiteY2394" fmla="*/ 3790492 h 6858054"/>
              <a:gd name="connsiteX2395" fmla="*/ 6197640 w 7631184"/>
              <a:gd name="connsiteY2395" fmla="*/ 3819799 h 6858054"/>
              <a:gd name="connsiteX2396" fmla="*/ 6217178 w 7631184"/>
              <a:gd name="connsiteY2396" fmla="*/ 3829569 h 6858054"/>
              <a:gd name="connsiteX2397" fmla="*/ 6236715 w 7631184"/>
              <a:gd name="connsiteY2397" fmla="*/ 3858877 h 6858054"/>
              <a:gd name="connsiteX2398" fmla="*/ 6305095 w 7631184"/>
              <a:gd name="connsiteY2398" fmla="*/ 3917493 h 6858054"/>
              <a:gd name="connsiteX2399" fmla="*/ 6324632 w 7631184"/>
              <a:gd name="connsiteY2399" fmla="*/ 3927262 h 6858054"/>
              <a:gd name="connsiteX2400" fmla="*/ 6344170 w 7631184"/>
              <a:gd name="connsiteY2400" fmla="*/ 3956570 h 6858054"/>
              <a:gd name="connsiteX2401" fmla="*/ 6363707 w 7631184"/>
              <a:gd name="connsiteY2401" fmla="*/ 3976108 h 6858054"/>
              <a:gd name="connsiteX2402" fmla="*/ 6412550 w 7631184"/>
              <a:gd name="connsiteY2402" fmla="*/ 4015186 h 6858054"/>
              <a:gd name="connsiteX2403" fmla="*/ 6432087 w 7631184"/>
              <a:gd name="connsiteY2403" fmla="*/ 4044494 h 6858054"/>
              <a:gd name="connsiteX2404" fmla="*/ 6441856 w 7631184"/>
              <a:gd name="connsiteY2404" fmla="*/ 4054263 h 6858054"/>
              <a:gd name="connsiteX2405" fmla="*/ 6471162 w 7631184"/>
              <a:gd name="connsiteY2405" fmla="*/ 4083571 h 6858054"/>
              <a:gd name="connsiteX2406" fmla="*/ 6490699 w 7631184"/>
              <a:gd name="connsiteY2406" fmla="*/ 4103109 h 6858054"/>
              <a:gd name="connsiteX2407" fmla="*/ 6500467 w 7631184"/>
              <a:gd name="connsiteY2407" fmla="*/ 4112879 h 6858054"/>
              <a:gd name="connsiteX2408" fmla="*/ 6520005 w 7631184"/>
              <a:gd name="connsiteY2408" fmla="*/ 4132417 h 6858054"/>
              <a:gd name="connsiteX2409" fmla="*/ 6549310 w 7631184"/>
              <a:gd name="connsiteY2409" fmla="*/ 4161725 h 6858054"/>
              <a:gd name="connsiteX2410" fmla="*/ 6578616 w 7631184"/>
              <a:gd name="connsiteY2410" fmla="*/ 4191033 h 6858054"/>
              <a:gd name="connsiteX2411" fmla="*/ 6637228 w 7631184"/>
              <a:gd name="connsiteY2411" fmla="*/ 4249649 h 6858054"/>
              <a:gd name="connsiteX2412" fmla="*/ 6627459 w 7631184"/>
              <a:gd name="connsiteY2412" fmla="*/ 4249649 h 6858054"/>
              <a:gd name="connsiteX2413" fmla="*/ 6617691 w 7631184"/>
              <a:gd name="connsiteY2413" fmla="*/ 4239880 h 6858054"/>
              <a:gd name="connsiteX2414" fmla="*/ 6598153 w 7631184"/>
              <a:gd name="connsiteY2414" fmla="*/ 4220341 h 6858054"/>
              <a:gd name="connsiteX2415" fmla="*/ 6588385 w 7631184"/>
              <a:gd name="connsiteY2415" fmla="*/ 4210572 h 6858054"/>
              <a:gd name="connsiteX2416" fmla="*/ 6578616 w 7631184"/>
              <a:gd name="connsiteY2416" fmla="*/ 4210572 h 6858054"/>
              <a:gd name="connsiteX2417" fmla="*/ 6578616 w 7631184"/>
              <a:gd name="connsiteY2417" fmla="*/ 4200803 h 6858054"/>
              <a:gd name="connsiteX2418" fmla="*/ 6568848 w 7631184"/>
              <a:gd name="connsiteY2418" fmla="*/ 4200803 h 6858054"/>
              <a:gd name="connsiteX2419" fmla="*/ 6559079 w 7631184"/>
              <a:gd name="connsiteY2419" fmla="*/ 4191033 h 6858054"/>
              <a:gd name="connsiteX2420" fmla="*/ 6549310 w 7631184"/>
              <a:gd name="connsiteY2420" fmla="*/ 4181264 h 6858054"/>
              <a:gd name="connsiteX2421" fmla="*/ 6529773 w 7631184"/>
              <a:gd name="connsiteY2421" fmla="*/ 4161725 h 6858054"/>
              <a:gd name="connsiteX2422" fmla="*/ 6520005 w 7631184"/>
              <a:gd name="connsiteY2422" fmla="*/ 4151956 h 6858054"/>
              <a:gd name="connsiteX2423" fmla="*/ 6510236 w 7631184"/>
              <a:gd name="connsiteY2423" fmla="*/ 4142187 h 6858054"/>
              <a:gd name="connsiteX2424" fmla="*/ 6510236 w 7631184"/>
              <a:gd name="connsiteY2424" fmla="*/ 4147072 h 6858054"/>
              <a:gd name="connsiteX2425" fmla="*/ 6510236 w 7631184"/>
              <a:gd name="connsiteY2425" fmla="*/ 4151068 h 6858054"/>
              <a:gd name="connsiteX2426" fmla="*/ 6500467 w 7631184"/>
              <a:gd name="connsiteY2426" fmla="*/ 4142187 h 6858054"/>
              <a:gd name="connsiteX2427" fmla="*/ 6480930 w 7631184"/>
              <a:gd name="connsiteY2427" fmla="*/ 4132417 h 6858054"/>
              <a:gd name="connsiteX2428" fmla="*/ 6461393 w 7631184"/>
              <a:gd name="connsiteY2428" fmla="*/ 4112879 h 6858054"/>
              <a:gd name="connsiteX2429" fmla="*/ 6432087 w 7631184"/>
              <a:gd name="connsiteY2429" fmla="*/ 4093340 h 6858054"/>
              <a:gd name="connsiteX2430" fmla="*/ 6412550 w 7631184"/>
              <a:gd name="connsiteY2430" fmla="*/ 4073801 h 6858054"/>
              <a:gd name="connsiteX2431" fmla="*/ 6373475 w 7631184"/>
              <a:gd name="connsiteY2431" fmla="*/ 4044494 h 6858054"/>
              <a:gd name="connsiteX2432" fmla="*/ 6334401 w 7631184"/>
              <a:gd name="connsiteY2432" fmla="*/ 4015186 h 6858054"/>
              <a:gd name="connsiteX2433" fmla="*/ 6314864 w 7631184"/>
              <a:gd name="connsiteY2433" fmla="*/ 4005416 h 6858054"/>
              <a:gd name="connsiteX2434" fmla="*/ 6334401 w 7631184"/>
              <a:gd name="connsiteY2434" fmla="*/ 4024955 h 6858054"/>
              <a:gd name="connsiteX2435" fmla="*/ 6344170 w 7631184"/>
              <a:gd name="connsiteY2435" fmla="*/ 4034724 h 6858054"/>
              <a:gd name="connsiteX2436" fmla="*/ 6363707 w 7631184"/>
              <a:gd name="connsiteY2436" fmla="*/ 4054263 h 6858054"/>
              <a:gd name="connsiteX2437" fmla="*/ 6393013 w 7631184"/>
              <a:gd name="connsiteY2437" fmla="*/ 4083571 h 6858054"/>
              <a:gd name="connsiteX2438" fmla="*/ 6412550 w 7631184"/>
              <a:gd name="connsiteY2438" fmla="*/ 4112879 h 6858054"/>
              <a:gd name="connsiteX2439" fmla="*/ 6432087 w 7631184"/>
              <a:gd name="connsiteY2439" fmla="*/ 4122648 h 6858054"/>
              <a:gd name="connsiteX2440" fmla="*/ 6422318 w 7631184"/>
              <a:gd name="connsiteY2440" fmla="*/ 4122648 h 6858054"/>
              <a:gd name="connsiteX2441" fmla="*/ 6402781 w 7631184"/>
              <a:gd name="connsiteY2441" fmla="*/ 4112879 h 6858054"/>
              <a:gd name="connsiteX2442" fmla="*/ 6373475 w 7631184"/>
              <a:gd name="connsiteY2442" fmla="*/ 4093340 h 6858054"/>
              <a:gd name="connsiteX2443" fmla="*/ 6324632 w 7631184"/>
              <a:gd name="connsiteY2443" fmla="*/ 4034724 h 6858054"/>
              <a:gd name="connsiteX2444" fmla="*/ 6305095 w 7631184"/>
              <a:gd name="connsiteY2444" fmla="*/ 4024955 h 6858054"/>
              <a:gd name="connsiteX2445" fmla="*/ 6295327 w 7631184"/>
              <a:gd name="connsiteY2445" fmla="*/ 4024955 h 6858054"/>
              <a:gd name="connsiteX2446" fmla="*/ 6266021 w 7631184"/>
              <a:gd name="connsiteY2446" fmla="*/ 4015186 h 6858054"/>
              <a:gd name="connsiteX2447" fmla="*/ 6256252 w 7631184"/>
              <a:gd name="connsiteY2447" fmla="*/ 4015186 h 6858054"/>
              <a:gd name="connsiteX2448" fmla="*/ 6256252 w 7631184"/>
              <a:gd name="connsiteY2448" fmla="*/ 4024955 h 6858054"/>
              <a:gd name="connsiteX2449" fmla="*/ 6256252 w 7631184"/>
              <a:gd name="connsiteY2449" fmla="*/ 4034724 h 6858054"/>
              <a:gd name="connsiteX2450" fmla="*/ 6266021 w 7631184"/>
              <a:gd name="connsiteY2450" fmla="*/ 4044494 h 6858054"/>
              <a:gd name="connsiteX2451" fmla="*/ 6275789 w 7631184"/>
              <a:gd name="connsiteY2451" fmla="*/ 4044494 h 6858054"/>
              <a:gd name="connsiteX2452" fmla="*/ 6285558 w 7631184"/>
              <a:gd name="connsiteY2452" fmla="*/ 4054263 h 6858054"/>
              <a:gd name="connsiteX2453" fmla="*/ 6285558 w 7631184"/>
              <a:gd name="connsiteY2453" fmla="*/ 4064032 h 6858054"/>
              <a:gd name="connsiteX2454" fmla="*/ 6295327 w 7631184"/>
              <a:gd name="connsiteY2454" fmla="*/ 4064032 h 6858054"/>
              <a:gd name="connsiteX2455" fmla="*/ 6305095 w 7631184"/>
              <a:gd name="connsiteY2455" fmla="*/ 4073801 h 6858054"/>
              <a:gd name="connsiteX2456" fmla="*/ 6314864 w 7631184"/>
              <a:gd name="connsiteY2456" fmla="*/ 4083571 h 6858054"/>
              <a:gd name="connsiteX2457" fmla="*/ 6324632 w 7631184"/>
              <a:gd name="connsiteY2457" fmla="*/ 4093340 h 6858054"/>
              <a:gd name="connsiteX2458" fmla="*/ 6334401 w 7631184"/>
              <a:gd name="connsiteY2458" fmla="*/ 4093340 h 6858054"/>
              <a:gd name="connsiteX2459" fmla="*/ 6363707 w 7631184"/>
              <a:gd name="connsiteY2459" fmla="*/ 4122648 h 6858054"/>
              <a:gd name="connsiteX2460" fmla="*/ 6422318 w 7631184"/>
              <a:gd name="connsiteY2460" fmla="*/ 4171495 h 6858054"/>
              <a:gd name="connsiteX2461" fmla="*/ 6402781 w 7631184"/>
              <a:gd name="connsiteY2461" fmla="*/ 4161725 h 6858054"/>
              <a:gd name="connsiteX2462" fmla="*/ 6393013 w 7631184"/>
              <a:gd name="connsiteY2462" fmla="*/ 4151956 h 6858054"/>
              <a:gd name="connsiteX2463" fmla="*/ 6353938 w 7631184"/>
              <a:gd name="connsiteY2463" fmla="*/ 4122648 h 6858054"/>
              <a:gd name="connsiteX2464" fmla="*/ 6334401 w 7631184"/>
              <a:gd name="connsiteY2464" fmla="*/ 4112879 h 6858054"/>
              <a:gd name="connsiteX2465" fmla="*/ 6324632 w 7631184"/>
              <a:gd name="connsiteY2465" fmla="*/ 4103109 h 6858054"/>
              <a:gd name="connsiteX2466" fmla="*/ 6314864 w 7631184"/>
              <a:gd name="connsiteY2466" fmla="*/ 4093340 h 6858054"/>
              <a:gd name="connsiteX2467" fmla="*/ 6295327 w 7631184"/>
              <a:gd name="connsiteY2467" fmla="*/ 4083571 h 6858054"/>
              <a:gd name="connsiteX2468" fmla="*/ 6275789 w 7631184"/>
              <a:gd name="connsiteY2468" fmla="*/ 4064032 h 6858054"/>
              <a:gd name="connsiteX2469" fmla="*/ 6275789 w 7631184"/>
              <a:gd name="connsiteY2469" fmla="*/ 4073801 h 6858054"/>
              <a:gd name="connsiteX2470" fmla="*/ 6285558 w 7631184"/>
              <a:gd name="connsiteY2470" fmla="*/ 4083571 h 6858054"/>
              <a:gd name="connsiteX2471" fmla="*/ 6305095 w 7631184"/>
              <a:gd name="connsiteY2471" fmla="*/ 4093340 h 6858054"/>
              <a:gd name="connsiteX2472" fmla="*/ 6314864 w 7631184"/>
              <a:gd name="connsiteY2472" fmla="*/ 4112879 h 6858054"/>
              <a:gd name="connsiteX2473" fmla="*/ 6353938 w 7631184"/>
              <a:gd name="connsiteY2473" fmla="*/ 4142187 h 6858054"/>
              <a:gd name="connsiteX2474" fmla="*/ 6373475 w 7631184"/>
              <a:gd name="connsiteY2474" fmla="*/ 4151956 h 6858054"/>
              <a:gd name="connsiteX2475" fmla="*/ 6393013 w 7631184"/>
              <a:gd name="connsiteY2475" fmla="*/ 4161725 h 6858054"/>
              <a:gd name="connsiteX2476" fmla="*/ 6402781 w 7631184"/>
              <a:gd name="connsiteY2476" fmla="*/ 4171495 h 6858054"/>
              <a:gd name="connsiteX2477" fmla="*/ 6422318 w 7631184"/>
              <a:gd name="connsiteY2477" fmla="*/ 4191033 h 6858054"/>
              <a:gd name="connsiteX2478" fmla="*/ 6441856 w 7631184"/>
              <a:gd name="connsiteY2478" fmla="*/ 4210572 h 6858054"/>
              <a:gd name="connsiteX2479" fmla="*/ 6436971 w 7631184"/>
              <a:gd name="connsiteY2479" fmla="*/ 4210572 h 6858054"/>
              <a:gd name="connsiteX2480" fmla="*/ 6432087 w 7631184"/>
              <a:gd name="connsiteY2480" fmla="*/ 4210572 h 6858054"/>
              <a:gd name="connsiteX2481" fmla="*/ 6441856 w 7631184"/>
              <a:gd name="connsiteY2481" fmla="*/ 4230110 h 6858054"/>
              <a:gd name="connsiteX2482" fmla="*/ 6461393 w 7631184"/>
              <a:gd name="connsiteY2482" fmla="*/ 4249649 h 6858054"/>
              <a:gd name="connsiteX2483" fmla="*/ 6480930 w 7631184"/>
              <a:gd name="connsiteY2483" fmla="*/ 4269188 h 6858054"/>
              <a:gd name="connsiteX2484" fmla="*/ 6490699 w 7631184"/>
              <a:gd name="connsiteY2484" fmla="*/ 4288726 h 6858054"/>
              <a:gd name="connsiteX2485" fmla="*/ 6461393 w 7631184"/>
              <a:gd name="connsiteY2485" fmla="*/ 4269188 h 6858054"/>
              <a:gd name="connsiteX2486" fmla="*/ 6441856 w 7631184"/>
              <a:gd name="connsiteY2486" fmla="*/ 4249649 h 6858054"/>
              <a:gd name="connsiteX2487" fmla="*/ 6412550 w 7631184"/>
              <a:gd name="connsiteY2487" fmla="*/ 4230110 h 6858054"/>
              <a:gd name="connsiteX2488" fmla="*/ 6402781 w 7631184"/>
              <a:gd name="connsiteY2488" fmla="*/ 4220341 h 6858054"/>
              <a:gd name="connsiteX2489" fmla="*/ 6393013 w 7631184"/>
              <a:gd name="connsiteY2489" fmla="*/ 4210572 h 6858054"/>
              <a:gd name="connsiteX2490" fmla="*/ 6363707 w 7631184"/>
              <a:gd name="connsiteY2490" fmla="*/ 4200803 h 6858054"/>
              <a:gd name="connsiteX2491" fmla="*/ 6344170 w 7631184"/>
              <a:gd name="connsiteY2491" fmla="*/ 4191033 h 6858054"/>
              <a:gd name="connsiteX2492" fmla="*/ 6334401 w 7631184"/>
              <a:gd name="connsiteY2492" fmla="*/ 4181264 h 6858054"/>
              <a:gd name="connsiteX2493" fmla="*/ 6324632 w 7631184"/>
              <a:gd name="connsiteY2493" fmla="*/ 4171495 h 6858054"/>
              <a:gd name="connsiteX2494" fmla="*/ 6295327 w 7631184"/>
              <a:gd name="connsiteY2494" fmla="*/ 4151956 h 6858054"/>
              <a:gd name="connsiteX2495" fmla="*/ 6275789 w 7631184"/>
              <a:gd name="connsiteY2495" fmla="*/ 4142187 h 6858054"/>
              <a:gd name="connsiteX2496" fmla="*/ 6246483 w 7631184"/>
              <a:gd name="connsiteY2496" fmla="*/ 4122648 h 6858054"/>
              <a:gd name="connsiteX2497" fmla="*/ 6246483 w 7631184"/>
              <a:gd name="connsiteY2497" fmla="*/ 4112879 h 6858054"/>
              <a:gd name="connsiteX2498" fmla="*/ 6236715 w 7631184"/>
              <a:gd name="connsiteY2498" fmla="*/ 4103109 h 6858054"/>
              <a:gd name="connsiteX2499" fmla="*/ 6226946 w 7631184"/>
              <a:gd name="connsiteY2499" fmla="*/ 4093340 h 6858054"/>
              <a:gd name="connsiteX2500" fmla="*/ 6226946 w 7631184"/>
              <a:gd name="connsiteY2500" fmla="*/ 4103109 h 6858054"/>
              <a:gd name="connsiteX2501" fmla="*/ 6236715 w 7631184"/>
              <a:gd name="connsiteY2501" fmla="*/ 4112879 h 6858054"/>
              <a:gd name="connsiteX2502" fmla="*/ 6236715 w 7631184"/>
              <a:gd name="connsiteY2502" fmla="*/ 4122648 h 6858054"/>
              <a:gd name="connsiteX2503" fmla="*/ 6217178 w 7631184"/>
              <a:gd name="connsiteY2503" fmla="*/ 4103109 h 6858054"/>
              <a:gd name="connsiteX2504" fmla="*/ 6207409 w 7631184"/>
              <a:gd name="connsiteY2504" fmla="*/ 4093340 h 6858054"/>
              <a:gd name="connsiteX2505" fmla="*/ 6197640 w 7631184"/>
              <a:gd name="connsiteY2505" fmla="*/ 4083571 h 6858054"/>
              <a:gd name="connsiteX2506" fmla="*/ 6168335 w 7631184"/>
              <a:gd name="connsiteY2506" fmla="*/ 4073801 h 6858054"/>
              <a:gd name="connsiteX2507" fmla="*/ 6139029 w 7631184"/>
              <a:gd name="connsiteY2507" fmla="*/ 4054263 h 6858054"/>
              <a:gd name="connsiteX2508" fmla="*/ 6080417 w 7631184"/>
              <a:gd name="connsiteY2508" fmla="*/ 4005416 h 6858054"/>
              <a:gd name="connsiteX2509" fmla="*/ 6099954 w 7631184"/>
              <a:gd name="connsiteY2509" fmla="*/ 4024955 h 6858054"/>
              <a:gd name="connsiteX2510" fmla="*/ 6119492 w 7631184"/>
              <a:gd name="connsiteY2510" fmla="*/ 4044494 h 6858054"/>
              <a:gd name="connsiteX2511" fmla="*/ 6148797 w 7631184"/>
              <a:gd name="connsiteY2511" fmla="*/ 4073801 h 6858054"/>
              <a:gd name="connsiteX2512" fmla="*/ 6158566 w 7631184"/>
              <a:gd name="connsiteY2512" fmla="*/ 4083571 h 6858054"/>
              <a:gd name="connsiteX2513" fmla="*/ 6168335 w 7631184"/>
              <a:gd name="connsiteY2513" fmla="*/ 4093340 h 6858054"/>
              <a:gd name="connsiteX2514" fmla="*/ 6178103 w 7631184"/>
              <a:gd name="connsiteY2514" fmla="*/ 4093340 h 6858054"/>
              <a:gd name="connsiteX2515" fmla="*/ 6168335 w 7631184"/>
              <a:gd name="connsiteY2515" fmla="*/ 4103109 h 6858054"/>
              <a:gd name="connsiteX2516" fmla="*/ 6178103 w 7631184"/>
              <a:gd name="connsiteY2516" fmla="*/ 4103109 h 6858054"/>
              <a:gd name="connsiteX2517" fmla="*/ 6187872 w 7631184"/>
              <a:gd name="connsiteY2517" fmla="*/ 4112879 h 6858054"/>
              <a:gd name="connsiteX2518" fmla="*/ 6207409 w 7631184"/>
              <a:gd name="connsiteY2518" fmla="*/ 4122648 h 6858054"/>
              <a:gd name="connsiteX2519" fmla="*/ 6197640 w 7631184"/>
              <a:gd name="connsiteY2519" fmla="*/ 4122648 h 6858054"/>
              <a:gd name="connsiteX2520" fmla="*/ 6187872 w 7631184"/>
              <a:gd name="connsiteY2520" fmla="*/ 4122648 h 6858054"/>
              <a:gd name="connsiteX2521" fmla="*/ 6197640 w 7631184"/>
              <a:gd name="connsiteY2521" fmla="*/ 4122648 h 6858054"/>
              <a:gd name="connsiteX2522" fmla="*/ 6217178 w 7631184"/>
              <a:gd name="connsiteY2522" fmla="*/ 4142187 h 6858054"/>
              <a:gd name="connsiteX2523" fmla="*/ 6226946 w 7631184"/>
              <a:gd name="connsiteY2523" fmla="*/ 4151956 h 6858054"/>
              <a:gd name="connsiteX2524" fmla="*/ 6197640 w 7631184"/>
              <a:gd name="connsiteY2524" fmla="*/ 4132417 h 6858054"/>
              <a:gd name="connsiteX2525" fmla="*/ 6207409 w 7631184"/>
              <a:gd name="connsiteY2525" fmla="*/ 4151956 h 6858054"/>
              <a:gd name="connsiteX2526" fmla="*/ 6158566 w 7631184"/>
              <a:gd name="connsiteY2526" fmla="*/ 4103109 h 6858054"/>
              <a:gd name="connsiteX2527" fmla="*/ 6148797 w 7631184"/>
              <a:gd name="connsiteY2527" fmla="*/ 4093340 h 6858054"/>
              <a:gd name="connsiteX2528" fmla="*/ 6139029 w 7631184"/>
              <a:gd name="connsiteY2528" fmla="*/ 4093340 h 6858054"/>
              <a:gd name="connsiteX2529" fmla="*/ 6129260 w 7631184"/>
              <a:gd name="connsiteY2529" fmla="*/ 4083571 h 6858054"/>
              <a:gd name="connsiteX2530" fmla="*/ 6099954 w 7631184"/>
              <a:gd name="connsiteY2530" fmla="*/ 4083571 h 6858054"/>
              <a:gd name="connsiteX2531" fmla="*/ 6090186 w 7631184"/>
              <a:gd name="connsiteY2531" fmla="*/ 4083571 h 6858054"/>
              <a:gd name="connsiteX2532" fmla="*/ 6070648 w 7631184"/>
              <a:gd name="connsiteY2532" fmla="*/ 4073801 h 6858054"/>
              <a:gd name="connsiteX2533" fmla="*/ 6051111 w 7631184"/>
              <a:gd name="connsiteY2533" fmla="*/ 4064032 h 6858054"/>
              <a:gd name="connsiteX2534" fmla="*/ 6041343 w 7631184"/>
              <a:gd name="connsiteY2534" fmla="*/ 4054263 h 6858054"/>
              <a:gd name="connsiteX2535" fmla="*/ 6031574 w 7631184"/>
              <a:gd name="connsiteY2535" fmla="*/ 4044494 h 6858054"/>
              <a:gd name="connsiteX2536" fmla="*/ 6031574 w 7631184"/>
              <a:gd name="connsiteY2536" fmla="*/ 4034724 h 6858054"/>
              <a:gd name="connsiteX2537" fmla="*/ 6021805 w 7631184"/>
              <a:gd name="connsiteY2537" fmla="*/ 4034724 h 6858054"/>
              <a:gd name="connsiteX2538" fmla="*/ 6021805 w 7631184"/>
              <a:gd name="connsiteY2538" fmla="*/ 4024955 h 6858054"/>
              <a:gd name="connsiteX2539" fmla="*/ 6012037 w 7631184"/>
              <a:gd name="connsiteY2539" fmla="*/ 4024955 h 6858054"/>
              <a:gd name="connsiteX2540" fmla="*/ 5982731 w 7631184"/>
              <a:gd name="connsiteY2540" fmla="*/ 3995647 h 6858054"/>
              <a:gd name="connsiteX2541" fmla="*/ 5953425 w 7631184"/>
              <a:gd name="connsiteY2541" fmla="*/ 3966339 h 6858054"/>
              <a:gd name="connsiteX2542" fmla="*/ 5953425 w 7631184"/>
              <a:gd name="connsiteY2542" fmla="*/ 3976108 h 6858054"/>
              <a:gd name="connsiteX2543" fmla="*/ 5943657 w 7631184"/>
              <a:gd name="connsiteY2543" fmla="*/ 3976108 h 6858054"/>
              <a:gd name="connsiteX2544" fmla="*/ 5924119 w 7631184"/>
              <a:gd name="connsiteY2544" fmla="*/ 3966339 h 6858054"/>
              <a:gd name="connsiteX2545" fmla="*/ 5914351 w 7631184"/>
              <a:gd name="connsiteY2545" fmla="*/ 3946800 h 6858054"/>
              <a:gd name="connsiteX2546" fmla="*/ 5904582 w 7631184"/>
              <a:gd name="connsiteY2546" fmla="*/ 3937031 h 6858054"/>
              <a:gd name="connsiteX2547" fmla="*/ 5894813 w 7631184"/>
              <a:gd name="connsiteY2547" fmla="*/ 3937031 h 6858054"/>
              <a:gd name="connsiteX2548" fmla="*/ 5885045 w 7631184"/>
              <a:gd name="connsiteY2548" fmla="*/ 3917493 h 6858054"/>
              <a:gd name="connsiteX2549" fmla="*/ 5865508 w 7631184"/>
              <a:gd name="connsiteY2549" fmla="*/ 3907723 h 6858054"/>
              <a:gd name="connsiteX2550" fmla="*/ 5836202 w 7631184"/>
              <a:gd name="connsiteY2550" fmla="*/ 3888185 h 6858054"/>
              <a:gd name="connsiteX2551" fmla="*/ 5865508 w 7631184"/>
              <a:gd name="connsiteY2551" fmla="*/ 3917493 h 6858054"/>
              <a:gd name="connsiteX2552" fmla="*/ 5885045 w 7631184"/>
              <a:gd name="connsiteY2552" fmla="*/ 3937031 h 6858054"/>
              <a:gd name="connsiteX2553" fmla="*/ 5914351 w 7631184"/>
              <a:gd name="connsiteY2553" fmla="*/ 3956570 h 6858054"/>
              <a:gd name="connsiteX2554" fmla="*/ 5943657 w 7631184"/>
              <a:gd name="connsiteY2554" fmla="*/ 3985878 h 6858054"/>
              <a:gd name="connsiteX2555" fmla="*/ 5953425 w 7631184"/>
              <a:gd name="connsiteY2555" fmla="*/ 3995647 h 6858054"/>
              <a:gd name="connsiteX2556" fmla="*/ 5972962 w 7631184"/>
              <a:gd name="connsiteY2556" fmla="*/ 4015186 h 6858054"/>
              <a:gd name="connsiteX2557" fmla="*/ 6002268 w 7631184"/>
              <a:gd name="connsiteY2557" fmla="*/ 4044494 h 6858054"/>
              <a:gd name="connsiteX2558" fmla="*/ 6012037 w 7631184"/>
              <a:gd name="connsiteY2558" fmla="*/ 4054263 h 6858054"/>
              <a:gd name="connsiteX2559" fmla="*/ 6021805 w 7631184"/>
              <a:gd name="connsiteY2559" fmla="*/ 4054263 h 6858054"/>
              <a:gd name="connsiteX2560" fmla="*/ 6051111 w 7631184"/>
              <a:gd name="connsiteY2560" fmla="*/ 4083571 h 6858054"/>
              <a:gd name="connsiteX2561" fmla="*/ 6021805 w 7631184"/>
              <a:gd name="connsiteY2561" fmla="*/ 4073801 h 6858054"/>
              <a:gd name="connsiteX2562" fmla="*/ 6012037 w 7631184"/>
              <a:gd name="connsiteY2562" fmla="*/ 4064032 h 6858054"/>
              <a:gd name="connsiteX2563" fmla="*/ 6012037 w 7631184"/>
              <a:gd name="connsiteY2563" fmla="*/ 4073801 h 6858054"/>
              <a:gd name="connsiteX2564" fmla="*/ 6031574 w 7631184"/>
              <a:gd name="connsiteY2564" fmla="*/ 4103109 h 6858054"/>
              <a:gd name="connsiteX2565" fmla="*/ 6041343 w 7631184"/>
              <a:gd name="connsiteY2565" fmla="*/ 4112879 h 6858054"/>
              <a:gd name="connsiteX2566" fmla="*/ 6021805 w 7631184"/>
              <a:gd name="connsiteY2566" fmla="*/ 4112879 h 6858054"/>
              <a:gd name="connsiteX2567" fmla="*/ 5992500 w 7631184"/>
              <a:gd name="connsiteY2567" fmla="*/ 4103109 h 6858054"/>
              <a:gd name="connsiteX2568" fmla="*/ 5982731 w 7631184"/>
              <a:gd name="connsiteY2568" fmla="*/ 4093340 h 6858054"/>
              <a:gd name="connsiteX2569" fmla="*/ 5953425 w 7631184"/>
              <a:gd name="connsiteY2569" fmla="*/ 4073801 h 6858054"/>
              <a:gd name="connsiteX2570" fmla="*/ 5933888 w 7631184"/>
              <a:gd name="connsiteY2570" fmla="*/ 4054263 h 6858054"/>
              <a:gd name="connsiteX2571" fmla="*/ 5914351 w 7631184"/>
              <a:gd name="connsiteY2571" fmla="*/ 4044494 h 6858054"/>
              <a:gd name="connsiteX2572" fmla="*/ 5885045 w 7631184"/>
              <a:gd name="connsiteY2572" fmla="*/ 4024955 h 6858054"/>
              <a:gd name="connsiteX2573" fmla="*/ 5875276 w 7631184"/>
              <a:gd name="connsiteY2573" fmla="*/ 4015186 h 6858054"/>
              <a:gd name="connsiteX2574" fmla="*/ 5836202 w 7631184"/>
              <a:gd name="connsiteY2574" fmla="*/ 3985878 h 6858054"/>
              <a:gd name="connsiteX2575" fmla="*/ 5865508 w 7631184"/>
              <a:gd name="connsiteY2575" fmla="*/ 4015186 h 6858054"/>
              <a:gd name="connsiteX2576" fmla="*/ 5885045 w 7631184"/>
              <a:gd name="connsiteY2576" fmla="*/ 4034724 h 6858054"/>
              <a:gd name="connsiteX2577" fmla="*/ 5904582 w 7631184"/>
              <a:gd name="connsiteY2577" fmla="*/ 4044494 h 6858054"/>
              <a:gd name="connsiteX2578" fmla="*/ 5904582 w 7631184"/>
              <a:gd name="connsiteY2578" fmla="*/ 4054263 h 6858054"/>
              <a:gd name="connsiteX2579" fmla="*/ 5914351 w 7631184"/>
              <a:gd name="connsiteY2579" fmla="*/ 4064032 h 6858054"/>
              <a:gd name="connsiteX2580" fmla="*/ 5933888 w 7631184"/>
              <a:gd name="connsiteY2580" fmla="*/ 4083571 h 6858054"/>
              <a:gd name="connsiteX2581" fmla="*/ 5943657 w 7631184"/>
              <a:gd name="connsiteY2581" fmla="*/ 4103109 h 6858054"/>
              <a:gd name="connsiteX2582" fmla="*/ 5953425 w 7631184"/>
              <a:gd name="connsiteY2582" fmla="*/ 4122648 h 6858054"/>
              <a:gd name="connsiteX2583" fmla="*/ 5924119 w 7631184"/>
              <a:gd name="connsiteY2583" fmla="*/ 4122648 h 6858054"/>
              <a:gd name="connsiteX2584" fmla="*/ 5914351 w 7631184"/>
              <a:gd name="connsiteY2584" fmla="*/ 4122648 h 6858054"/>
              <a:gd name="connsiteX2585" fmla="*/ 5904582 w 7631184"/>
              <a:gd name="connsiteY2585" fmla="*/ 4122648 h 6858054"/>
              <a:gd name="connsiteX2586" fmla="*/ 5875276 w 7631184"/>
              <a:gd name="connsiteY2586" fmla="*/ 4093340 h 6858054"/>
              <a:gd name="connsiteX2587" fmla="*/ 5845970 w 7631184"/>
              <a:gd name="connsiteY2587" fmla="*/ 4064032 h 6858054"/>
              <a:gd name="connsiteX2588" fmla="*/ 5777590 w 7631184"/>
              <a:gd name="connsiteY2588" fmla="*/ 4015186 h 6858054"/>
              <a:gd name="connsiteX2589" fmla="*/ 5767822 w 7631184"/>
              <a:gd name="connsiteY2589" fmla="*/ 4005416 h 6858054"/>
              <a:gd name="connsiteX2590" fmla="*/ 5748284 w 7631184"/>
              <a:gd name="connsiteY2590" fmla="*/ 3995647 h 6858054"/>
              <a:gd name="connsiteX2591" fmla="*/ 5738516 w 7631184"/>
              <a:gd name="connsiteY2591" fmla="*/ 4005416 h 6858054"/>
              <a:gd name="connsiteX2592" fmla="*/ 5748284 w 7631184"/>
              <a:gd name="connsiteY2592" fmla="*/ 4015186 h 6858054"/>
              <a:gd name="connsiteX2593" fmla="*/ 5797127 w 7631184"/>
              <a:gd name="connsiteY2593" fmla="*/ 4064032 h 6858054"/>
              <a:gd name="connsiteX2594" fmla="*/ 5787359 w 7631184"/>
              <a:gd name="connsiteY2594" fmla="*/ 4073801 h 6858054"/>
              <a:gd name="connsiteX2595" fmla="*/ 5777590 w 7631184"/>
              <a:gd name="connsiteY2595" fmla="*/ 4073801 h 6858054"/>
              <a:gd name="connsiteX2596" fmla="*/ 5767822 w 7631184"/>
              <a:gd name="connsiteY2596" fmla="*/ 4073801 h 6858054"/>
              <a:gd name="connsiteX2597" fmla="*/ 5709210 w 7631184"/>
              <a:gd name="connsiteY2597" fmla="*/ 4024955 h 6858054"/>
              <a:gd name="connsiteX2598" fmla="*/ 5689673 w 7631184"/>
              <a:gd name="connsiteY2598" fmla="*/ 4005416 h 6858054"/>
              <a:gd name="connsiteX2599" fmla="*/ 5679904 w 7631184"/>
              <a:gd name="connsiteY2599" fmla="*/ 4005416 h 6858054"/>
              <a:gd name="connsiteX2600" fmla="*/ 5660367 w 7631184"/>
              <a:gd name="connsiteY2600" fmla="*/ 3985878 h 6858054"/>
              <a:gd name="connsiteX2601" fmla="*/ 5640830 w 7631184"/>
              <a:gd name="connsiteY2601" fmla="*/ 3966339 h 6858054"/>
              <a:gd name="connsiteX2602" fmla="*/ 5611524 w 7631184"/>
              <a:gd name="connsiteY2602" fmla="*/ 3937031 h 6858054"/>
              <a:gd name="connsiteX2603" fmla="*/ 5582218 w 7631184"/>
              <a:gd name="connsiteY2603" fmla="*/ 3917493 h 6858054"/>
              <a:gd name="connsiteX2604" fmla="*/ 5552912 w 7631184"/>
              <a:gd name="connsiteY2604" fmla="*/ 3907723 h 6858054"/>
              <a:gd name="connsiteX2605" fmla="*/ 5552912 w 7631184"/>
              <a:gd name="connsiteY2605" fmla="*/ 3897954 h 6858054"/>
              <a:gd name="connsiteX2606" fmla="*/ 5513838 w 7631184"/>
              <a:gd name="connsiteY2606" fmla="*/ 3858877 h 6858054"/>
              <a:gd name="connsiteX2607" fmla="*/ 5494300 w 7631184"/>
              <a:gd name="connsiteY2607" fmla="*/ 3849107 h 6858054"/>
              <a:gd name="connsiteX2608" fmla="*/ 5474763 w 7631184"/>
              <a:gd name="connsiteY2608" fmla="*/ 3839338 h 6858054"/>
              <a:gd name="connsiteX2609" fmla="*/ 5464995 w 7631184"/>
              <a:gd name="connsiteY2609" fmla="*/ 3829569 h 6858054"/>
              <a:gd name="connsiteX2610" fmla="*/ 5455226 w 7631184"/>
              <a:gd name="connsiteY2610" fmla="*/ 3829569 h 6858054"/>
              <a:gd name="connsiteX2611" fmla="*/ 5435689 w 7631184"/>
              <a:gd name="connsiteY2611" fmla="*/ 3810030 h 6858054"/>
              <a:gd name="connsiteX2612" fmla="*/ 5328234 w 7631184"/>
              <a:gd name="connsiteY2612" fmla="*/ 3751414 h 6858054"/>
              <a:gd name="connsiteX2613" fmla="*/ 5289160 w 7631184"/>
              <a:gd name="connsiteY2613" fmla="*/ 3731876 h 6858054"/>
              <a:gd name="connsiteX2614" fmla="*/ 5250085 w 7631184"/>
              <a:gd name="connsiteY2614" fmla="*/ 3702568 h 6858054"/>
              <a:gd name="connsiteX2615" fmla="*/ 5220779 w 7631184"/>
              <a:gd name="connsiteY2615" fmla="*/ 3683029 h 6858054"/>
              <a:gd name="connsiteX2616" fmla="*/ 5132862 w 7631184"/>
              <a:gd name="connsiteY2616" fmla="*/ 3634183 h 6858054"/>
              <a:gd name="connsiteX2617" fmla="*/ 5113325 w 7631184"/>
              <a:gd name="connsiteY2617" fmla="*/ 3624413 h 6858054"/>
              <a:gd name="connsiteX2618" fmla="*/ 5103556 w 7631184"/>
              <a:gd name="connsiteY2618" fmla="*/ 3615865 h 6858054"/>
              <a:gd name="connsiteX2619" fmla="*/ 5094816 w 7631184"/>
              <a:gd name="connsiteY2619" fmla="*/ 3614773 h 6858054"/>
              <a:gd name="connsiteX2620" fmla="*/ 5093153 w 7631184"/>
              <a:gd name="connsiteY2620" fmla="*/ 3613248 h 6858054"/>
              <a:gd name="connsiteX2621" fmla="*/ 5087682 w 7631184"/>
              <a:gd name="connsiteY2621" fmla="*/ 3601211 h 6858054"/>
              <a:gd name="connsiteX2622" fmla="*/ 5074250 w 7631184"/>
              <a:gd name="connsiteY2622" fmla="*/ 3595105 h 6858054"/>
              <a:gd name="connsiteX2623" fmla="*/ 5054713 w 7631184"/>
              <a:gd name="connsiteY2623" fmla="*/ 3585336 h 6858054"/>
              <a:gd name="connsiteX2624" fmla="*/ 5044944 w 7631184"/>
              <a:gd name="connsiteY2624" fmla="*/ 3585336 h 6858054"/>
              <a:gd name="connsiteX2625" fmla="*/ 5084019 w 7631184"/>
              <a:gd name="connsiteY2625" fmla="*/ 3604875 h 6858054"/>
              <a:gd name="connsiteX2626" fmla="*/ 5093153 w 7631184"/>
              <a:gd name="connsiteY2626" fmla="*/ 3613248 h 6858054"/>
              <a:gd name="connsiteX2627" fmla="*/ 5093787 w 7631184"/>
              <a:gd name="connsiteY2627" fmla="*/ 3614644 h 6858054"/>
              <a:gd name="connsiteX2628" fmla="*/ 5094816 w 7631184"/>
              <a:gd name="connsiteY2628" fmla="*/ 3614773 h 6858054"/>
              <a:gd name="connsiteX2629" fmla="*/ 5098671 w 7631184"/>
              <a:gd name="connsiteY2629" fmla="*/ 3618308 h 6858054"/>
              <a:gd name="connsiteX2630" fmla="*/ 5113325 w 7631184"/>
              <a:gd name="connsiteY2630" fmla="*/ 3624413 h 6858054"/>
              <a:gd name="connsiteX2631" fmla="*/ 5132862 w 7631184"/>
              <a:gd name="connsiteY2631" fmla="*/ 3643952 h 6858054"/>
              <a:gd name="connsiteX2632" fmla="*/ 5162168 w 7631184"/>
              <a:gd name="connsiteY2632" fmla="*/ 3663491 h 6858054"/>
              <a:gd name="connsiteX2633" fmla="*/ 5181705 w 7631184"/>
              <a:gd name="connsiteY2633" fmla="*/ 3673260 h 6858054"/>
              <a:gd name="connsiteX2634" fmla="*/ 5191473 w 7631184"/>
              <a:gd name="connsiteY2634" fmla="*/ 3673260 h 6858054"/>
              <a:gd name="connsiteX2635" fmla="*/ 5191473 w 7631184"/>
              <a:gd name="connsiteY2635" fmla="*/ 3683029 h 6858054"/>
              <a:gd name="connsiteX2636" fmla="*/ 5191473 w 7631184"/>
              <a:gd name="connsiteY2636" fmla="*/ 3692798 h 6858054"/>
              <a:gd name="connsiteX2637" fmla="*/ 5201242 w 7631184"/>
              <a:gd name="connsiteY2637" fmla="*/ 3712337 h 6858054"/>
              <a:gd name="connsiteX2638" fmla="*/ 5211011 w 7631184"/>
              <a:gd name="connsiteY2638" fmla="*/ 3712337 h 6858054"/>
              <a:gd name="connsiteX2639" fmla="*/ 5220779 w 7631184"/>
              <a:gd name="connsiteY2639" fmla="*/ 3722106 h 6858054"/>
              <a:gd name="connsiteX2640" fmla="*/ 5201242 w 7631184"/>
              <a:gd name="connsiteY2640" fmla="*/ 3722106 h 6858054"/>
              <a:gd name="connsiteX2641" fmla="*/ 5191473 w 7631184"/>
              <a:gd name="connsiteY2641" fmla="*/ 3712337 h 6858054"/>
              <a:gd name="connsiteX2642" fmla="*/ 5181705 w 7631184"/>
              <a:gd name="connsiteY2642" fmla="*/ 3712337 h 6858054"/>
              <a:gd name="connsiteX2643" fmla="*/ 5142630 w 7631184"/>
              <a:gd name="connsiteY2643" fmla="*/ 3702568 h 6858054"/>
              <a:gd name="connsiteX2644" fmla="*/ 5123093 w 7631184"/>
              <a:gd name="connsiteY2644" fmla="*/ 3683029 h 6858054"/>
              <a:gd name="connsiteX2645" fmla="*/ 5113325 w 7631184"/>
              <a:gd name="connsiteY2645" fmla="*/ 3673260 h 6858054"/>
              <a:gd name="connsiteX2646" fmla="*/ 5064481 w 7631184"/>
              <a:gd name="connsiteY2646" fmla="*/ 3643952 h 6858054"/>
              <a:gd name="connsiteX2647" fmla="*/ 5054713 w 7631184"/>
              <a:gd name="connsiteY2647" fmla="*/ 3634183 h 6858054"/>
              <a:gd name="connsiteX2648" fmla="*/ 4957027 w 7631184"/>
              <a:gd name="connsiteY2648" fmla="*/ 3575567 h 6858054"/>
              <a:gd name="connsiteX2649" fmla="*/ 4937490 w 7631184"/>
              <a:gd name="connsiteY2649" fmla="*/ 3565797 h 6858054"/>
              <a:gd name="connsiteX2650" fmla="*/ 4898415 w 7631184"/>
              <a:gd name="connsiteY2650" fmla="*/ 3546259 h 6858054"/>
              <a:gd name="connsiteX2651" fmla="*/ 4888646 w 7631184"/>
              <a:gd name="connsiteY2651" fmla="*/ 3536490 h 6858054"/>
              <a:gd name="connsiteX2652" fmla="*/ 4878878 w 7631184"/>
              <a:gd name="connsiteY2652" fmla="*/ 3526720 h 6858054"/>
              <a:gd name="connsiteX2653" fmla="*/ 4859341 w 7631184"/>
              <a:gd name="connsiteY2653" fmla="*/ 3516951 h 6858054"/>
              <a:gd name="connsiteX2654" fmla="*/ 4849572 w 7631184"/>
              <a:gd name="connsiteY2654" fmla="*/ 3516951 h 6858054"/>
              <a:gd name="connsiteX2655" fmla="*/ 4820266 w 7631184"/>
              <a:gd name="connsiteY2655" fmla="*/ 3497412 h 6858054"/>
              <a:gd name="connsiteX2656" fmla="*/ 4790960 w 7631184"/>
              <a:gd name="connsiteY2656" fmla="*/ 3477874 h 6858054"/>
              <a:gd name="connsiteX2657" fmla="*/ 4732349 w 7631184"/>
              <a:gd name="connsiteY2657" fmla="*/ 3438796 h 6858054"/>
              <a:gd name="connsiteX2658" fmla="*/ 4663968 w 7631184"/>
              <a:gd name="connsiteY2658" fmla="*/ 3399719 h 6858054"/>
              <a:gd name="connsiteX2659" fmla="*/ 4634663 w 7631184"/>
              <a:gd name="connsiteY2659" fmla="*/ 3389950 h 6858054"/>
              <a:gd name="connsiteX2660" fmla="*/ 4595588 w 7631184"/>
              <a:gd name="connsiteY2660" fmla="*/ 3360642 h 6858054"/>
              <a:gd name="connsiteX2661" fmla="*/ 4556514 w 7631184"/>
              <a:gd name="connsiteY2661" fmla="*/ 3341103 h 6858054"/>
              <a:gd name="connsiteX2662" fmla="*/ 4527208 w 7631184"/>
              <a:gd name="connsiteY2662" fmla="*/ 3331334 h 6858054"/>
              <a:gd name="connsiteX2663" fmla="*/ 4517439 w 7631184"/>
              <a:gd name="connsiteY2663" fmla="*/ 3321565 h 6858054"/>
              <a:gd name="connsiteX2664" fmla="*/ 4488133 w 7631184"/>
              <a:gd name="connsiteY2664" fmla="*/ 3302026 h 6858054"/>
              <a:gd name="connsiteX2665" fmla="*/ 4468596 w 7631184"/>
              <a:gd name="connsiteY2665" fmla="*/ 3292257 h 6858054"/>
              <a:gd name="connsiteX2666" fmla="*/ 4458828 w 7631184"/>
              <a:gd name="connsiteY2666" fmla="*/ 3292257 h 6858054"/>
              <a:gd name="connsiteX2667" fmla="*/ 4439290 w 7631184"/>
              <a:gd name="connsiteY2667" fmla="*/ 3282488 h 6858054"/>
              <a:gd name="connsiteX2668" fmla="*/ 4400216 w 7631184"/>
              <a:gd name="connsiteY2668" fmla="*/ 3253180 h 6858054"/>
              <a:gd name="connsiteX2669" fmla="*/ 4361141 w 7631184"/>
              <a:gd name="connsiteY2669" fmla="*/ 3233641 h 6858054"/>
              <a:gd name="connsiteX2670" fmla="*/ 4331836 w 7631184"/>
              <a:gd name="connsiteY2670" fmla="*/ 3223872 h 6858054"/>
              <a:gd name="connsiteX2671" fmla="*/ 4312298 w 7631184"/>
              <a:gd name="connsiteY2671" fmla="*/ 3214102 h 6858054"/>
              <a:gd name="connsiteX2672" fmla="*/ 4253687 w 7631184"/>
              <a:gd name="connsiteY2672" fmla="*/ 3184794 h 6858054"/>
              <a:gd name="connsiteX2673" fmla="*/ 4302530 w 7631184"/>
              <a:gd name="connsiteY2673" fmla="*/ 3233641 h 6858054"/>
              <a:gd name="connsiteX2674" fmla="*/ 4331836 w 7631184"/>
              <a:gd name="connsiteY2674" fmla="*/ 3253180 h 6858054"/>
              <a:gd name="connsiteX2675" fmla="*/ 4361141 w 7631184"/>
              <a:gd name="connsiteY2675" fmla="*/ 3262949 h 6858054"/>
              <a:gd name="connsiteX2676" fmla="*/ 4409985 w 7631184"/>
              <a:gd name="connsiteY2676" fmla="*/ 3282488 h 6858054"/>
              <a:gd name="connsiteX2677" fmla="*/ 4439290 w 7631184"/>
              <a:gd name="connsiteY2677" fmla="*/ 3302026 h 6858054"/>
              <a:gd name="connsiteX2678" fmla="*/ 4458828 w 7631184"/>
              <a:gd name="connsiteY2678" fmla="*/ 3311795 h 6858054"/>
              <a:gd name="connsiteX2679" fmla="*/ 4488133 w 7631184"/>
              <a:gd name="connsiteY2679" fmla="*/ 3331334 h 6858054"/>
              <a:gd name="connsiteX2680" fmla="*/ 4576051 w 7631184"/>
              <a:gd name="connsiteY2680" fmla="*/ 3370411 h 6858054"/>
              <a:gd name="connsiteX2681" fmla="*/ 4595588 w 7631184"/>
              <a:gd name="connsiteY2681" fmla="*/ 3380181 h 6858054"/>
              <a:gd name="connsiteX2682" fmla="*/ 4605357 w 7631184"/>
              <a:gd name="connsiteY2682" fmla="*/ 3389950 h 6858054"/>
              <a:gd name="connsiteX2683" fmla="*/ 4644431 w 7631184"/>
              <a:gd name="connsiteY2683" fmla="*/ 3409489 h 6858054"/>
              <a:gd name="connsiteX2684" fmla="*/ 4673737 w 7631184"/>
              <a:gd name="connsiteY2684" fmla="*/ 3419258 h 6858054"/>
              <a:gd name="connsiteX2685" fmla="*/ 4732349 w 7631184"/>
              <a:gd name="connsiteY2685" fmla="*/ 3458335 h 6858054"/>
              <a:gd name="connsiteX2686" fmla="*/ 4751886 w 7631184"/>
              <a:gd name="connsiteY2686" fmla="*/ 3468104 h 6858054"/>
              <a:gd name="connsiteX2687" fmla="*/ 4771423 w 7631184"/>
              <a:gd name="connsiteY2687" fmla="*/ 3477874 h 6858054"/>
              <a:gd name="connsiteX2688" fmla="*/ 4790960 w 7631184"/>
              <a:gd name="connsiteY2688" fmla="*/ 3487643 h 6858054"/>
              <a:gd name="connsiteX2689" fmla="*/ 4839803 w 7631184"/>
              <a:gd name="connsiteY2689" fmla="*/ 3516951 h 6858054"/>
              <a:gd name="connsiteX2690" fmla="*/ 4898415 w 7631184"/>
              <a:gd name="connsiteY2690" fmla="*/ 3556028 h 6858054"/>
              <a:gd name="connsiteX2691" fmla="*/ 5005870 w 7631184"/>
              <a:gd name="connsiteY2691" fmla="*/ 3624413 h 6858054"/>
              <a:gd name="connsiteX2692" fmla="*/ 5035176 w 7631184"/>
              <a:gd name="connsiteY2692" fmla="*/ 3643952 h 6858054"/>
              <a:gd name="connsiteX2693" fmla="*/ 5074250 w 7631184"/>
              <a:gd name="connsiteY2693" fmla="*/ 3663491 h 6858054"/>
              <a:gd name="connsiteX2694" fmla="*/ 5103556 w 7631184"/>
              <a:gd name="connsiteY2694" fmla="*/ 3683029 h 6858054"/>
              <a:gd name="connsiteX2695" fmla="*/ 5113325 w 7631184"/>
              <a:gd name="connsiteY2695" fmla="*/ 3702568 h 6858054"/>
              <a:gd name="connsiteX2696" fmla="*/ 5142630 w 7631184"/>
              <a:gd name="connsiteY2696" fmla="*/ 3712337 h 6858054"/>
              <a:gd name="connsiteX2697" fmla="*/ 5181705 w 7631184"/>
              <a:gd name="connsiteY2697" fmla="*/ 3741645 h 6858054"/>
              <a:gd name="connsiteX2698" fmla="*/ 5211011 w 7631184"/>
              <a:gd name="connsiteY2698" fmla="*/ 3751414 h 6858054"/>
              <a:gd name="connsiteX2699" fmla="*/ 5220779 w 7631184"/>
              <a:gd name="connsiteY2699" fmla="*/ 3761184 h 6858054"/>
              <a:gd name="connsiteX2700" fmla="*/ 5279391 w 7631184"/>
              <a:gd name="connsiteY2700" fmla="*/ 3800261 h 6858054"/>
              <a:gd name="connsiteX2701" fmla="*/ 5289160 w 7631184"/>
              <a:gd name="connsiteY2701" fmla="*/ 3800261 h 6858054"/>
              <a:gd name="connsiteX2702" fmla="*/ 5298928 w 7631184"/>
              <a:gd name="connsiteY2702" fmla="*/ 3800261 h 6858054"/>
              <a:gd name="connsiteX2703" fmla="*/ 5298928 w 7631184"/>
              <a:gd name="connsiteY2703" fmla="*/ 3810030 h 6858054"/>
              <a:gd name="connsiteX2704" fmla="*/ 5308697 w 7631184"/>
              <a:gd name="connsiteY2704" fmla="*/ 3819799 h 6858054"/>
              <a:gd name="connsiteX2705" fmla="*/ 5318465 w 7631184"/>
              <a:gd name="connsiteY2705" fmla="*/ 3829569 h 6858054"/>
              <a:gd name="connsiteX2706" fmla="*/ 5328234 w 7631184"/>
              <a:gd name="connsiteY2706" fmla="*/ 3839338 h 6858054"/>
              <a:gd name="connsiteX2707" fmla="*/ 5338003 w 7631184"/>
              <a:gd name="connsiteY2707" fmla="*/ 3849107 h 6858054"/>
              <a:gd name="connsiteX2708" fmla="*/ 5308697 w 7631184"/>
              <a:gd name="connsiteY2708" fmla="*/ 3829569 h 6858054"/>
              <a:gd name="connsiteX2709" fmla="*/ 5269622 w 7631184"/>
              <a:gd name="connsiteY2709" fmla="*/ 3800261 h 6858054"/>
              <a:gd name="connsiteX2710" fmla="*/ 5240316 w 7631184"/>
              <a:gd name="connsiteY2710" fmla="*/ 3780722 h 6858054"/>
              <a:gd name="connsiteX2711" fmla="*/ 5142630 w 7631184"/>
              <a:gd name="connsiteY2711" fmla="*/ 3722106 h 6858054"/>
              <a:gd name="connsiteX2712" fmla="*/ 5123093 w 7631184"/>
              <a:gd name="connsiteY2712" fmla="*/ 3712337 h 6858054"/>
              <a:gd name="connsiteX2713" fmla="*/ 5103556 w 7631184"/>
              <a:gd name="connsiteY2713" fmla="*/ 3702568 h 6858054"/>
              <a:gd name="connsiteX2714" fmla="*/ 5064481 w 7631184"/>
              <a:gd name="connsiteY2714" fmla="*/ 3683029 h 6858054"/>
              <a:gd name="connsiteX2715" fmla="*/ 5054713 w 7631184"/>
              <a:gd name="connsiteY2715" fmla="*/ 3673260 h 6858054"/>
              <a:gd name="connsiteX2716" fmla="*/ 5035176 w 7631184"/>
              <a:gd name="connsiteY2716" fmla="*/ 3653721 h 6858054"/>
              <a:gd name="connsiteX2717" fmla="*/ 5015638 w 7631184"/>
              <a:gd name="connsiteY2717" fmla="*/ 3643952 h 6858054"/>
              <a:gd name="connsiteX2718" fmla="*/ 4966795 w 7631184"/>
              <a:gd name="connsiteY2718" fmla="*/ 3614644 h 6858054"/>
              <a:gd name="connsiteX2719" fmla="*/ 4947258 w 7631184"/>
              <a:gd name="connsiteY2719" fmla="*/ 3604875 h 6858054"/>
              <a:gd name="connsiteX2720" fmla="*/ 4927721 w 7631184"/>
              <a:gd name="connsiteY2720" fmla="*/ 3585336 h 6858054"/>
              <a:gd name="connsiteX2721" fmla="*/ 4908184 w 7631184"/>
              <a:gd name="connsiteY2721" fmla="*/ 3575567 h 6858054"/>
              <a:gd name="connsiteX2722" fmla="*/ 4830035 w 7631184"/>
              <a:gd name="connsiteY2722" fmla="*/ 3526720 h 6858054"/>
              <a:gd name="connsiteX2723" fmla="*/ 4820266 w 7631184"/>
              <a:gd name="connsiteY2723" fmla="*/ 3516951 h 6858054"/>
              <a:gd name="connsiteX2724" fmla="*/ 4800729 w 7631184"/>
              <a:gd name="connsiteY2724" fmla="*/ 3507182 h 6858054"/>
              <a:gd name="connsiteX2725" fmla="*/ 4771423 w 7631184"/>
              <a:gd name="connsiteY2725" fmla="*/ 3487643 h 6858054"/>
              <a:gd name="connsiteX2726" fmla="*/ 4761655 w 7631184"/>
              <a:gd name="connsiteY2726" fmla="*/ 3487643 h 6858054"/>
              <a:gd name="connsiteX2727" fmla="*/ 4781192 w 7631184"/>
              <a:gd name="connsiteY2727" fmla="*/ 3497412 h 6858054"/>
              <a:gd name="connsiteX2728" fmla="*/ 4790960 w 7631184"/>
              <a:gd name="connsiteY2728" fmla="*/ 3507182 h 6858054"/>
              <a:gd name="connsiteX2729" fmla="*/ 4800729 w 7631184"/>
              <a:gd name="connsiteY2729" fmla="*/ 3516951 h 6858054"/>
              <a:gd name="connsiteX2730" fmla="*/ 4810498 w 7631184"/>
              <a:gd name="connsiteY2730" fmla="*/ 3526720 h 6858054"/>
              <a:gd name="connsiteX2731" fmla="*/ 4790960 w 7631184"/>
              <a:gd name="connsiteY2731" fmla="*/ 3516951 h 6858054"/>
              <a:gd name="connsiteX2732" fmla="*/ 4742117 w 7631184"/>
              <a:gd name="connsiteY2732" fmla="*/ 3487643 h 6858054"/>
              <a:gd name="connsiteX2733" fmla="*/ 4722580 w 7631184"/>
              <a:gd name="connsiteY2733" fmla="*/ 3477874 h 6858054"/>
              <a:gd name="connsiteX2734" fmla="*/ 4693274 w 7631184"/>
              <a:gd name="connsiteY2734" fmla="*/ 3458335 h 6858054"/>
              <a:gd name="connsiteX2735" fmla="*/ 4644431 w 7631184"/>
              <a:gd name="connsiteY2735" fmla="*/ 3438796 h 6858054"/>
              <a:gd name="connsiteX2736" fmla="*/ 4595588 w 7631184"/>
              <a:gd name="connsiteY2736" fmla="*/ 3409489 h 6858054"/>
              <a:gd name="connsiteX2737" fmla="*/ 4566282 w 7631184"/>
              <a:gd name="connsiteY2737" fmla="*/ 3389950 h 6858054"/>
              <a:gd name="connsiteX2738" fmla="*/ 4546745 w 7631184"/>
              <a:gd name="connsiteY2738" fmla="*/ 3380181 h 6858054"/>
              <a:gd name="connsiteX2739" fmla="*/ 4536976 w 7631184"/>
              <a:gd name="connsiteY2739" fmla="*/ 3380181 h 6858054"/>
              <a:gd name="connsiteX2740" fmla="*/ 4517439 w 7631184"/>
              <a:gd name="connsiteY2740" fmla="*/ 3370411 h 6858054"/>
              <a:gd name="connsiteX2741" fmla="*/ 4439290 w 7631184"/>
              <a:gd name="connsiteY2741" fmla="*/ 3331334 h 6858054"/>
              <a:gd name="connsiteX2742" fmla="*/ 4380679 w 7631184"/>
              <a:gd name="connsiteY2742" fmla="*/ 3292257 h 6858054"/>
              <a:gd name="connsiteX2743" fmla="*/ 4351373 w 7631184"/>
              <a:gd name="connsiteY2743" fmla="*/ 3282488 h 6858054"/>
              <a:gd name="connsiteX2744" fmla="*/ 4341604 w 7631184"/>
              <a:gd name="connsiteY2744" fmla="*/ 3272718 h 6858054"/>
              <a:gd name="connsiteX2745" fmla="*/ 4370910 w 7631184"/>
              <a:gd name="connsiteY2745" fmla="*/ 3311795 h 6858054"/>
              <a:gd name="connsiteX2746" fmla="*/ 4419753 w 7631184"/>
              <a:gd name="connsiteY2746" fmla="*/ 3360642 h 6858054"/>
              <a:gd name="connsiteX2747" fmla="*/ 4429522 w 7631184"/>
              <a:gd name="connsiteY2747" fmla="*/ 3360642 h 6858054"/>
              <a:gd name="connsiteX2748" fmla="*/ 4468596 w 7631184"/>
              <a:gd name="connsiteY2748" fmla="*/ 3389950 h 6858054"/>
              <a:gd name="connsiteX2749" fmla="*/ 4497902 w 7631184"/>
              <a:gd name="connsiteY2749" fmla="*/ 3399719 h 6858054"/>
              <a:gd name="connsiteX2750" fmla="*/ 4527208 w 7631184"/>
              <a:gd name="connsiteY2750" fmla="*/ 3419258 h 6858054"/>
              <a:gd name="connsiteX2751" fmla="*/ 4585820 w 7631184"/>
              <a:gd name="connsiteY2751" fmla="*/ 3438796 h 6858054"/>
              <a:gd name="connsiteX2752" fmla="*/ 4585820 w 7631184"/>
              <a:gd name="connsiteY2752" fmla="*/ 3448566 h 6858054"/>
              <a:gd name="connsiteX2753" fmla="*/ 4683506 w 7631184"/>
              <a:gd name="connsiteY2753" fmla="*/ 3507182 h 6858054"/>
              <a:gd name="connsiteX2754" fmla="*/ 4742117 w 7631184"/>
              <a:gd name="connsiteY2754" fmla="*/ 3536490 h 6858054"/>
              <a:gd name="connsiteX2755" fmla="*/ 4751886 w 7631184"/>
              <a:gd name="connsiteY2755" fmla="*/ 3536490 h 6858054"/>
              <a:gd name="connsiteX2756" fmla="*/ 4768981 w 7631184"/>
              <a:gd name="connsiteY2756" fmla="*/ 3543817 h 6858054"/>
              <a:gd name="connsiteX2757" fmla="*/ 4770535 w 7631184"/>
              <a:gd name="connsiteY2757" fmla="*/ 3539154 h 6858054"/>
              <a:gd name="connsiteX2758" fmla="*/ 4781192 w 7631184"/>
              <a:gd name="connsiteY2758" fmla="*/ 3546259 h 6858054"/>
              <a:gd name="connsiteX2759" fmla="*/ 4800729 w 7631184"/>
              <a:gd name="connsiteY2759" fmla="*/ 3556028 h 6858054"/>
              <a:gd name="connsiteX2760" fmla="*/ 4839803 w 7631184"/>
              <a:gd name="connsiteY2760" fmla="*/ 3585336 h 6858054"/>
              <a:gd name="connsiteX2761" fmla="*/ 4849572 w 7631184"/>
              <a:gd name="connsiteY2761" fmla="*/ 3585336 h 6858054"/>
              <a:gd name="connsiteX2762" fmla="*/ 4849572 w 7631184"/>
              <a:gd name="connsiteY2762" fmla="*/ 3595105 h 6858054"/>
              <a:gd name="connsiteX2763" fmla="*/ 4859341 w 7631184"/>
              <a:gd name="connsiteY2763" fmla="*/ 3604875 h 6858054"/>
              <a:gd name="connsiteX2764" fmla="*/ 4878878 w 7631184"/>
              <a:gd name="connsiteY2764" fmla="*/ 3624413 h 6858054"/>
              <a:gd name="connsiteX2765" fmla="*/ 4878878 w 7631184"/>
              <a:gd name="connsiteY2765" fmla="*/ 3614644 h 6858054"/>
              <a:gd name="connsiteX2766" fmla="*/ 4898415 w 7631184"/>
              <a:gd name="connsiteY2766" fmla="*/ 3624413 h 6858054"/>
              <a:gd name="connsiteX2767" fmla="*/ 4927721 w 7631184"/>
              <a:gd name="connsiteY2767" fmla="*/ 3634183 h 6858054"/>
              <a:gd name="connsiteX2768" fmla="*/ 4976564 w 7631184"/>
              <a:gd name="connsiteY2768" fmla="*/ 3663491 h 6858054"/>
              <a:gd name="connsiteX2769" fmla="*/ 4986333 w 7631184"/>
              <a:gd name="connsiteY2769" fmla="*/ 3673260 h 6858054"/>
              <a:gd name="connsiteX2770" fmla="*/ 4957027 w 7631184"/>
              <a:gd name="connsiteY2770" fmla="*/ 3663491 h 6858054"/>
              <a:gd name="connsiteX2771" fmla="*/ 4966795 w 7631184"/>
              <a:gd name="connsiteY2771" fmla="*/ 3673260 h 6858054"/>
              <a:gd name="connsiteX2772" fmla="*/ 4986333 w 7631184"/>
              <a:gd name="connsiteY2772" fmla="*/ 3683029 h 6858054"/>
              <a:gd name="connsiteX2773" fmla="*/ 4996101 w 7631184"/>
              <a:gd name="connsiteY2773" fmla="*/ 3692798 h 6858054"/>
              <a:gd name="connsiteX2774" fmla="*/ 5025407 w 7631184"/>
              <a:gd name="connsiteY2774" fmla="*/ 3702568 h 6858054"/>
              <a:gd name="connsiteX2775" fmla="*/ 5054713 w 7631184"/>
              <a:gd name="connsiteY2775" fmla="*/ 3722106 h 6858054"/>
              <a:gd name="connsiteX2776" fmla="*/ 5084019 w 7631184"/>
              <a:gd name="connsiteY2776" fmla="*/ 3741645 h 6858054"/>
              <a:gd name="connsiteX2777" fmla="*/ 5103556 w 7631184"/>
              <a:gd name="connsiteY2777" fmla="*/ 3741645 h 6858054"/>
              <a:gd name="connsiteX2778" fmla="*/ 5123093 w 7631184"/>
              <a:gd name="connsiteY2778" fmla="*/ 3761184 h 6858054"/>
              <a:gd name="connsiteX2779" fmla="*/ 5142630 w 7631184"/>
              <a:gd name="connsiteY2779" fmla="*/ 3770953 h 6858054"/>
              <a:gd name="connsiteX2780" fmla="*/ 5162168 w 7631184"/>
              <a:gd name="connsiteY2780" fmla="*/ 3780722 h 6858054"/>
              <a:gd name="connsiteX2781" fmla="*/ 5181705 w 7631184"/>
              <a:gd name="connsiteY2781" fmla="*/ 3790492 h 6858054"/>
              <a:gd name="connsiteX2782" fmla="*/ 5201242 w 7631184"/>
              <a:gd name="connsiteY2782" fmla="*/ 3800261 h 6858054"/>
              <a:gd name="connsiteX2783" fmla="*/ 5211011 w 7631184"/>
              <a:gd name="connsiteY2783" fmla="*/ 3810030 h 6858054"/>
              <a:gd name="connsiteX2784" fmla="*/ 5220779 w 7631184"/>
              <a:gd name="connsiteY2784" fmla="*/ 3819799 h 6858054"/>
              <a:gd name="connsiteX2785" fmla="*/ 5230548 w 7631184"/>
              <a:gd name="connsiteY2785" fmla="*/ 3829569 h 6858054"/>
              <a:gd name="connsiteX2786" fmla="*/ 5279391 w 7631184"/>
              <a:gd name="connsiteY2786" fmla="*/ 3868646 h 6858054"/>
              <a:gd name="connsiteX2787" fmla="*/ 5298928 w 7631184"/>
              <a:gd name="connsiteY2787" fmla="*/ 3878415 h 6858054"/>
              <a:gd name="connsiteX2788" fmla="*/ 5357540 w 7631184"/>
              <a:gd name="connsiteY2788" fmla="*/ 3907723 h 6858054"/>
              <a:gd name="connsiteX2789" fmla="*/ 5396614 w 7631184"/>
              <a:gd name="connsiteY2789" fmla="*/ 3946800 h 6858054"/>
              <a:gd name="connsiteX2790" fmla="*/ 5416151 w 7631184"/>
              <a:gd name="connsiteY2790" fmla="*/ 3956570 h 6858054"/>
              <a:gd name="connsiteX2791" fmla="*/ 5416151 w 7631184"/>
              <a:gd name="connsiteY2791" fmla="*/ 3966339 h 6858054"/>
              <a:gd name="connsiteX2792" fmla="*/ 5396614 w 7631184"/>
              <a:gd name="connsiteY2792" fmla="*/ 3956570 h 6858054"/>
              <a:gd name="connsiteX2793" fmla="*/ 5386846 w 7631184"/>
              <a:gd name="connsiteY2793" fmla="*/ 3946800 h 6858054"/>
              <a:gd name="connsiteX2794" fmla="*/ 5308697 w 7631184"/>
              <a:gd name="connsiteY2794" fmla="*/ 3888185 h 6858054"/>
              <a:gd name="connsiteX2795" fmla="*/ 5250085 w 7631184"/>
              <a:gd name="connsiteY2795" fmla="*/ 3849107 h 6858054"/>
              <a:gd name="connsiteX2796" fmla="*/ 5220779 w 7631184"/>
              <a:gd name="connsiteY2796" fmla="*/ 3829569 h 6858054"/>
              <a:gd name="connsiteX2797" fmla="*/ 5181705 w 7631184"/>
              <a:gd name="connsiteY2797" fmla="*/ 3810030 h 6858054"/>
              <a:gd name="connsiteX2798" fmla="*/ 5171936 w 7631184"/>
              <a:gd name="connsiteY2798" fmla="*/ 3800261 h 6858054"/>
              <a:gd name="connsiteX2799" fmla="*/ 5152399 w 7631184"/>
              <a:gd name="connsiteY2799" fmla="*/ 3790492 h 6858054"/>
              <a:gd name="connsiteX2800" fmla="*/ 5123093 w 7631184"/>
              <a:gd name="connsiteY2800" fmla="*/ 3770953 h 6858054"/>
              <a:gd name="connsiteX2801" fmla="*/ 5093787 w 7631184"/>
              <a:gd name="connsiteY2801" fmla="*/ 3761184 h 6858054"/>
              <a:gd name="connsiteX2802" fmla="*/ 5064481 w 7631184"/>
              <a:gd name="connsiteY2802" fmla="*/ 3741645 h 6858054"/>
              <a:gd name="connsiteX2803" fmla="*/ 5035176 w 7631184"/>
              <a:gd name="connsiteY2803" fmla="*/ 3722106 h 6858054"/>
              <a:gd name="connsiteX2804" fmla="*/ 4996101 w 7631184"/>
              <a:gd name="connsiteY2804" fmla="*/ 3702568 h 6858054"/>
              <a:gd name="connsiteX2805" fmla="*/ 4966795 w 7631184"/>
              <a:gd name="connsiteY2805" fmla="*/ 3683029 h 6858054"/>
              <a:gd name="connsiteX2806" fmla="*/ 4947258 w 7631184"/>
              <a:gd name="connsiteY2806" fmla="*/ 3673260 h 6858054"/>
              <a:gd name="connsiteX2807" fmla="*/ 4927721 w 7631184"/>
              <a:gd name="connsiteY2807" fmla="*/ 3663491 h 6858054"/>
              <a:gd name="connsiteX2808" fmla="*/ 4869109 w 7631184"/>
              <a:gd name="connsiteY2808" fmla="*/ 3634183 h 6858054"/>
              <a:gd name="connsiteX2809" fmla="*/ 4849572 w 7631184"/>
              <a:gd name="connsiteY2809" fmla="*/ 3614644 h 6858054"/>
              <a:gd name="connsiteX2810" fmla="*/ 4849572 w 7631184"/>
              <a:gd name="connsiteY2810" fmla="*/ 3624413 h 6858054"/>
              <a:gd name="connsiteX2811" fmla="*/ 4888646 w 7631184"/>
              <a:gd name="connsiteY2811" fmla="*/ 3653721 h 6858054"/>
              <a:gd name="connsiteX2812" fmla="*/ 4908184 w 7631184"/>
              <a:gd name="connsiteY2812" fmla="*/ 3673260 h 6858054"/>
              <a:gd name="connsiteX2813" fmla="*/ 4917952 w 7631184"/>
              <a:gd name="connsiteY2813" fmla="*/ 3683029 h 6858054"/>
              <a:gd name="connsiteX2814" fmla="*/ 4937490 w 7631184"/>
              <a:gd name="connsiteY2814" fmla="*/ 3702568 h 6858054"/>
              <a:gd name="connsiteX2815" fmla="*/ 4976564 w 7631184"/>
              <a:gd name="connsiteY2815" fmla="*/ 3722106 h 6858054"/>
              <a:gd name="connsiteX2816" fmla="*/ 5025407 w 7631184"/>
              <a:gd name="connsiteY2816" fmla="*/ 3751414 h 6858054"/>
              <a:gd name="connsiteX2817" fmla="*/ 5064481 w 7631184"/>
              <a:gd name="connsiteY2817" fmla="*/ 3770953 h 6858054"/>
              <a:gd name="connsiteX2818" fmla="*/ 5093787 w 7631184"/>
              <a:gd name="connsiteY2818" fmla="*/ 3790492 h 6858054"/>
              <a:gd name="connsiteX2819" fmla="*/ 5113325 w 7631184"/>
              <a:gd name="connsiteY2819" fmla="*/ 3810030 h 6858054"/>
              <a:gd name="connsiteX2820" fmla="*/ 5142630 w 7631184"/>
              <a:gd name="connsiteY2820" fmla="*/ 3819799 h 6858054"/>
              <a:gd name="connsiteX2821" fmla="*/ 5191473 w 7631184"/>
              <a:gd name="connsiteY2821" fmla="*/ 3849107 h 6858054"/>
              <a:gd name="connsiteX2822" fmla="*/ 5220779 w 7631184"/>
              <a:gd name="connsiteY2822" fmla="*/ 3868646 h 6858054"/>
              <a:gd name="connsiteX2823" fmla="*/ 5308697 w 7631184"/>
              <a:gd name="connsiteY2823" fmla="*/ 3927262 h 6858054"/>
              <a:gd name="connsiteX2824" fmla="*/ 5357540 w 7631184"/>
              <a:gd name="connsiteY2824" fmla="*/ 3956570 h 6858054"/>
              <a:gd name="connsiteX2825" fmla="*/ 5377077 w 7631184"/>
              <a:gd name="connsiteY2825" fmla="*/ 3966339 h 6858054"/>
              <a:gd name="connsiteX2826" fmla="*/ 5367308 w 7631184"/>
              <a:gd name="connsiteY2826" fmla="*/ 3966339 h 6858054"/>
              <a:gd name="connsiteX2827" fmla="*/ 5328234 w 7631184"/>
              <a:gd name="connsiteY2827" fmla="*/ 3946800 h 6858054"/>
              <a:gd name="connsiteX2828" fmla="*/ 5308697 w 7631184"/>
              <a:gd name="connsiteY2828" fmla="*/ 3937031 h 6858054"/>
              <a:gd name="connsiteX2829" fmla="*/ 5289160 w 7631184"/>
              <a:gd name="connsiteY2829" fmla="*/ 3917493 h 6858054"/>
              <a:gd name="connsiteX2830" fmla="*/ 5279391 w 7631184"/>
              <a:gd name="connsiteY2830" fmla="*/ 3917493 h 6858054"/>
              <a:gd name="connsiteX2831" fmla="*/ 5269622 w 7631184"/>
              <a:gd name="connsiteY2831" fmla="*/ 3907723 h 6858054"/>
              <a:gd name="connsiteX2832" fmla="*/ 5240316 w 7631184"/>
              <a:gd name="connsiteY2832" fmla="*/ 3888185 h 6858054"/>
              <a:gd name="connsiteX2833" fmla="*/ 5220779 w 7631184"/>
              <a:gd name="connsiteY2833" fmla="*/ 3878415 h 6858054"/>
              <a:gd name="connsiteX2834" fmla="*/ 5201242 w 7631184"/>
              <a:gd name="connsiteY2834" fmla="*/ 3868646 h 6858054"/>
              <a:gd name="connsiteX2835" fmla="*/ 5171936 w 7631184"/>
              <a:gd name="connsiteY2835" fmla="*/ 3849107 h 6858054"/>
              <a:gd name="connsiteX2836" fmla="*/ 5162168 w 7631184"/>
              <a:gd name="connsiteY2836" fmla="*/ 3839338 h 6858054"/>
              <a:gd name="connsiteX2837" fmla="*/ 5142630 w 7631184"/>
              <a:gd name="connsiteY2837" fmla="*/ 3829569 h 6858054"/>
              <a:gd name="connsiteX2838" fmla="*/ 5123093 w 7631184"/>
              <a:gd name="connsiteY2838" fmla="*/ 3829569 h 6858054"/>
              <a:gd name="connsiteX2839" fmla="*/ 5113325 w 7631184"/>
              <a:gd name="connsiteY2839" fmla="*/ 3819799 h 6858054"/>
              <a:gd name="connsiteX2840" fmla="*/ 5093787 w 7631184"/>
              <a:gd name="connsiteY2840" fmla="*/ 3810030 h 6858054"/>
              <a:gd name="connsiteX2841" fmla="*/ 5015638 w 7631184"/>
              <a:gd name="connsiteY2841" fmla="*/ 3761184 h 6858054"/>
              <a:gd name="connsiteX2842" fmla="*/ 5005870 w 7631184"/>
              <a:gd name="connsiteY2842" fmla="*/ 3761184 h 6858054"/>
              <a:gd name="connsiteX2843" fmla="*/ 4996101 w 7631184"/>
              <a:gd name="connsiteY2843" fmla="*/ 3751414 h 6858054"/>
              <a:gd name="connsiteX2844" fmla="*/ 4947258 w 7631184"/>
              <a:gd name="connsiteY2844" fmla="*/ 3731876 h 6858054"/>
              <a:gd name="connsiteX2845" fmla="*/ 4947258 w 7631184"/>
              <a:gd name="connsiteY2845" fmla="*/ 3751414 h 6858054"/>
              <a:gd name="connsiteX2846" fmla="*/ 4927721 w 7631184"/>
              <a:gd name="connsiteY2846" fmla="*/ 3741645 h 6858054"/>
              <a:gd name="connsiteX2847" fmla="*/ 4908184 w 7631184"/>
              <a:gd name="connsiteY2847" fmla="*/ 3741645 h 6858054"/>
              <a:gd name="connsiteX2848" fmla="*/ 4888646 w 7631184"/>
              <a:gd name="connsiteY2848" fmla="*/ 3741645 h 6858054"/>
              <a:gd name="connsiteX2849" fmla="*/ 4908184 w 7631184"/>
              <a:gd name="connsiteY2849" fmla="*/ 3761184 h 6858054"/>
              <a:gd name="connsiteX2850" fmla="*/ 4859341 w 7631184"/>
              <a:gd name="connsiteY2850" fmla="*/ 3731876 h 6858054"/>
              <a:gd name="connsiteX2851" fmla="*/ 4810498 w 7631184"/>
              <a:gd name="connsiteY2851" fmla="*/ 3702568 h 6858054"/>
              <a:gd name="connsiteX2852" fmla="*/ 4781192 w 7631184"/>
              <a:gd name="connsiteY2852" fmla="*/ 3692798 h 6858054"/>
              <a:gd name="connsiteX2853" fmla="*/ 4712811 w 7631184"/>
              <a:gd name="connsiteY2853" fmla="*/ 3653721 h 6858054"/>
              <a:gd name="connsiteX2854" fmla="*/ 4693274 w 7631184"/>
              <a:gd name="connsiteY2854" fmla="*/ 3643952 h 6858054"/>
              <a:gd name="connsiteX2855" fmla="*/ 4624894 w 7631184"/>
              <a:gd name="connsiteY2855" fmla="*/ 3604875 h 6858054"/>
              <a:gd name="connsiteX2856" fmla="*/ 4615125 w 7631184"/>
              <a:gd name="connsiteY2856" fmla="*/ 3595105 h 6858054"/>
              <a:gd name="connsiteX2857" fmla="*/ 4566282 w 7631184"/>
              <a:gd name="connsiteY2857" fmla="*/ 3565797 h 6858054"/>
              <a:gd name="connsiteX2858" fmla="*/ 4527208 w 7631184"/>
              <a:gd name="connsiteY2858" fmla="*/ 3551144 h 6858054"/>
              <a:gd name="connsiteX2859" fmla="*/ 4496980 w 7631184"/>
              <a:gd name="connsiteY2859" fmla="*/ 3539808 h 6858054"/>
              <a:gd name="connsiteX2860" fmla="*/ 4496681 w 7631184"/>
              <a:gd name="connsiteY2860" fmla="*/ 3537711 h 6858054"/>
              <a:gd name="connsiteX2861" fmla="*/ 4488133 w 7631184"/>
              <a:gd name="connsiteY2861" fmla="*/ 3536490 h 6858054"/>
              <a:gd name="connsiteX2862" fmla="*/ 4468596 w 7631184"/>
              <a:gd name="connsiteY2862" fmla="*/ 3516951 h 6858054"/>
              <a:gd name="connsiteX2863" fmla="*/ 4458828 w 7631184"/>
              <a:gd name="connsiteY2863" fmla="*/ 3516951 h 6858054"/>
              <a:gd name="connsiteX2864" fmla="*/ 4429522 w 7631184"/>
              <a:gd name="connsiteY2864" fmla="*/ 3497412 h 6858054"/>
              <a:gd name="connsiteX2865" fmla="*/ 4409985 w 7631184"/>
              <a:gd name="connsiteY2865" fmla="*/ 3497412 h 6858054"/>
              <a:gd name="connsiteX2866" fmla="*/ 4400216 w 7631184"/>
              <a:gd name="connsiteY2866" fmla="*/ 3487643 h 6858054"/>
              <a:gd name="connsiteX2867" fmla="*/ 4351373 w 7631184"/>
              <a:gd name="connsiteY2867" fmla="*/ 3458335 h 6858054"/>
              <a:gd name="connsiteX2868" fmla="*/ 4331836 w 7631184"/>
              <a:gd name="connsiteY2868" fmla="*/ 3448566 h 6858054"/>
              <a:gd name="connsiteX2869" fmla="*/ 4341604 w 7631184"/>
              <a:gd name="connsiteY2869" fmla="*/ 3468104 h 6858054"/>
              <a:gd name="connsiteX2870" fmla="*/ 4351373 w 7631184"/>
              <a:gd name="connsiteY2870" fmla="*/ 3477874 h 6858054"/>
              <a:gd name="connsiteX2871" fmla="*/ 4361141 w 7631184"/>
              <a:gd name="connsiteY2871" fmla="*/ 3487643 h 6858054"/>
              <a:gd name="connsiteX2872" fmla="*/ 4361141 w 7631184"/>
              <a:gd name="connsiteY2872" fmla="*/ 3497412 h 6858054"/>
              <a:gd name="connsiteX2873" fmla="*/ 4380679 w 7631184"/>
              <a:gd name="connsiteY2873" fmla="*/ 3507182 h 6858054"/>
              <a:gd name="connsiteX2874" fmla="*/ 4419753 w 7631184"/>
              <a:gd name="connsiteY2874" fmla="*/ 3565797 h 6858054"/>
              <a:gd name="connsiteX2875" fmla="*/ 4458828 w 7631184"/>
              <a:gd name="connsiteY2875" fmla="*/ 3575567 h 6858054"/>
              <a:gd name="connsiteX2876" fmla="*/ 4468596 w 7631184"/>
              <a:gd name="connsiteY2876" fmla="*/ 3585336 h 6858054"/>
              <a:gd name="connsiteX2877" fmla="*/ 4458828 w 7631184"/>
              <a:gd name="connsiteY2877" fmla="*/ 3585336 h 6858054"/>
              <a:gd name="connsiteX2878" fmla="*/ 4449059 w 7631184"/>
              <a:gd name="connsiteY2878" fmla="*/ 3585336 h 6858054"/>
              <a:gd name="connsiteX2879" fmla="*/ 4439290 w 7631184"/>
              <a:gd name="connsiteY2879" fmla="*/ 3585336 h 6858054"/>
              <a:gd name="connsiteX2880" fmla="*/ 4429522 w 7631184"/>
              <a:gd name="connsiteY2880" fmla="*/ 3575567 h 6858054"/>
              <a:gd name="connsiteX2881" fmla="*/ 4478365 w 7631184"/>
              <a:gd name="connsiteY2881" fmla="*/ 3634183 h 6858054"/>
              <a:gd name="connsiteX2882" fmla="*/ 4527208 w 7631184"/>
              <a:gd name="connsiteY2882" fmla="*/ 3692798 h 6858054"/>
              <a:gd name="connsiteX2883" fmla="*/ 4556514 w 7631184"/>
              <a:gd name="connsiteY2883" fmla="*/ 3741645 h 6858054"/>
              <a:gd name="connsiteX2884" fmla="*/ 4566282 w 7631184"/>
              <a:gd name="connsiteY2884" fmla="*/ 3751414 h 6858054"/>
              <a:gd name="connsiteX2885" fmla="*/ 4624894 w 7631184"/>
              <a:gd name="connsiteY2885" fmla="*/ 3819799 h 6858054"/>
              <a:gd name="connsiteX2886" fmla="*/ 4644431 w 7631184"/>
              <a:gd name="connsiteY2886" fmla="*/ 3829569 h 6858054"/>
              <a:gd name="connsiteX2887" fmla="*/ 4654200 w 7631184"/>
              <a:gd name="connsiteY2887" fmla="*/ 3858877 h 6858054"/>
              <a:gd name="connsiteX2888" fmla="*/ 4663968 w 7631184"/>
              <a:gd name="connsiteY2888" fmla="*/ 3868646 h 6858054"/>
              <a:gd name="connsiteX2889" fmla="*/ 4683506 w 7631184"/>
              <a:gd name="connsiteY2889" fmla="*/ 3888185 h 6858054"/>
              <a:gd name="connsiteX2890" fmla="*/ 4712811 w 7631184"/>
              <a:gd name="connsiteY2890" fmla="*/ 3917493 h 6858054"/>
              <a:gd name="connsiteX2891" fmla="*/ 4722580 w 7631184"/>
              <a:gd name="connsiteY2891" fmla="*/ 3937031 h 6858054"/>
              <a:gd name="connsiteX2892" fmla="*/ 4732349 w 7631184"/>
              <a:gd name="connsiteY2892" fmla="*/ 3956570 h 6858054"/>
              <a:gd name="connsiteX2893" fmla="*/ 4742117 w 7631184"/>
              <a:gd name="connsiteY2893" fmla="*/ 3966339 h 6858054"/>
              <a:gd name="connsiteX2894" fmla="*/ 4751886 w 7631184"/>
              <a:gd name="connsiteY2894" fmla="*/ 3985878 h 6858054"/>
              <a:gd name="connsiteX2895" fmla="*/ 4771423 w 7631184"/>
              <a:gd name="connsiteY2895" fmla="*/ 4005416 h 6858054"/>
              <a:gd name="connsiteX2896" fmla="*/ 4771423 w 7631184"/>
              <a:gd name="connsiteY2896" fmla="*/ 4015186 h 6858054"/>
              <a:gd name="connsiteX2897" fmla="*/ 4781192 w 7631184"/>
              <a:gd name="connsiteY2897" fmla="*/ 4024955 h 6858054"/>
              <a:gd name="connsiteX2898" fmla="*/ 4781192 w 7631184"/>
              <a:gd name="connsiteY2898" fmla="*/ 4034724 h 6858054"/>
              <a:gd name="connsiteX2899" fmla="*/ 4790960 w 7631184"/>
              <a:gd name="connsiteY2899" fmla="*/ 4034724 h 6858054"/>
              <a:gd name="connsiteX2900" fmla="*/ 4800729 w 7631184"/>
              <a:gd name="connsiteY2900" fmla="*/ 4054263 h 6858054"/>
              <a:gd name="connsiteX2901" fmla="*/ 4820266 w 7631184"/>
              <a:gd name="connsiteY2901" fmla="*/ 4073801 h 6858054"/>
              <a:gd name="connsiteX2902" fmla="*/ 4830035 w 7631184"/>
              <a:gd name="connsiteY2902" fmla="*/ 4093340 h 6858054"/>
              <a:gd name="connsiteX2903" fmla="*/ 4839803 w 7631184"/>
              <a:gd name="connsiteY2903" fmla="*/ 4103109 h 6858054"/>
              <a:gd name="connsiteX2904" fmla="*/ 4849572 w 7631184"/>
              <a:gd name="connsiteY2904" fmla="*/ 4122648 h 6858054"/>
              <a:gd name="connsiteX2905" fmla="*/ 4869109 w 7631184"/>
              <a:gd name="connsiteY2905" fmla="*/ 4142187 h 6858054"/>
              <a:gd name="connsiteX2906" fmla="*/ 4888646 w 7631184"/>
              <a:gd name="connsiteY2906" fmla="*/ 4171495 h 6858054"/>
              <a:gd name="connsiteX2907" fmla="*/ 4898415 w 7631184"/>
              <a:gd name="connsiteY2907" fmla="*/ 4191033 h 6858054"/>
              <a:gd name="connsiteX2908" fmla="*/ 4888646 w 7631184"/>
              <a:gd name="connsiteY2908" fmla="*/ 4181264 h 6858054"/>
              <a:gd name="connsiteX2909" fmla="*/ 4859341 w 7631184"/>
              <a:gd name="connsiteY2909" fmla="*/ 4142187 h 6858054"/>
              <a:gd name="connsiteX2910" fmla="*/ 4859341 w 7631184"/>
              <a:gd name="connsiteY2910" fmla="*/ 4151956 h 6858054"/>
              <a:gd name="connsiteX2911" fmla="*/ 4839803 w 7631184"/>
              <a:gd name="connsiteY2911" fmla="*/ 4122648 h 6858054"/>
              <a:gd name="connsiteX2912" fmla="*/ 4820266 w 7631184"/>
              <a:gd name="connsiteY2912" fmla="*/ 4103109 h 6858054"/>
              <a:gd name="connsiteX2913" fmla="*/ 4800729 w 7631184"/>
              <a:gd name="connsiteY2913" fmla="*/ 4083571 h 6858054"/>
              <a:gd name="connsiteX2914" fmla="*/ 4781192 w 7631184"/>
              <a:gd name="connsiteY2914" fmla="*/ 4054263 h 6858054"/>
              <a:gd name="connsiteX2915" fmla="*/ 4761655 w 7631184"/>
              <a:gd name="connsiteY2915" fmla="*/ 4024955 h 6858054"/>
              <a:gd name="connsiteX2916" fmla="*/ 4751886 w 7631184"/>
              <a:gd name="connsiteY2916" fmla="*/ 4015186 h 6858054"/>
              <a:gd name="connsiteX2917" fmla="*/ 4722580 w 7631184"/>
              <a:gd name="connsiteY2917" fmla="*/ 3976108 h 6858054"/>
              <a:gd name="connsiteX2918" fmla="*/ 4712811 w 7631184"/>
              <a:gd name="connsiteY2918" fmla="*/ 3956570 h 6858054"/>
              <a:gd name="connsiteX2919" fmla="*/ 4722580 w 7631184"/>
              <a:gd name="connsiteY2919" fmla="*/ 3956570 h 6858054"/>
              <a:gd name="connsiteX2920" fmla="*/ 4693274 w 7631184"/>
              <a:gd name="connsiteY2920" fmla="*/ 3917493 h 6858054"/>
              <a:gd name="connsiteX2921" fmla="*/ 4693274 w 7631184"/>
              <a:gd name="connsiteY2921" fmla="*/ 3927262 h 6858054"/>
              <a:gd name="connsiteX2922" fmla="*/ 4712811 w 7631184"/>
              <a:gd name="connsiteY2922" fmla="*/ 3946800 h 6858054"/>
              <a:gd name="connsiteX2923" fmla="*/ 4693274 w 7631184"/>
              <a:gd name="connsiteY2923" fmla="*/ 3937031 h 6858054"/>
              <a:gd name="connsiteX2924" fmla="*/ 4673737 w 7631184"/>
              <a:gd name="connsiteY2924" fmla="*/ 3917493 h 6858054"/>
              <a:gd name="connsiteX2925" fmla="*/ 4644431 w 7631184"/>
              <a:gd name="connsiteY2925" fmla="*/ 3878415 h 6858054"/>
              <a:gd name="connsiteX2926" fmla="*/ 4654200 w 7631184"/>
              <a:gd name="connsiteY2926" fmla="*/ 3888185 h 6858054"/>
              <a:gd name="connsiteX2927" fmla="*/ 4673737 w 7631184"/>
              <a:gd name="connsiteY2927" fmla="*/ 3897954 h 6858054"/>
              <a:gd name="connsiteX2928" fmla="*/ 4663968 w 7631184"/>
              <a:gd name="connsiteY2928" fmla="*/ 3878415 h 6858054"/>
              <a:gd name="connsiteX2929" fmla="*/ 4654200 w 7631184"/>
              <a:gd name="connsiteY2929" fmla="*/ 3868646 h 6858054"/>
              <a:gd name="connsiteX2930" fmla="*/ 4644431 w 7631184"/>
              <a:gd name="connsiteY2930" fmla="*/ 3858877 h 6858054"/>
              <a:gd name="connsiteX2931" fmla="*/ 4624894 w 7631184"/>
              <a:gd name="connsiteY2931" fmla="*/ 3839338 h 6858054"/>
              <a:gd name="connsiteX2932" fmla="*/ 4615125 w 7631184"/>
              <a:gd name="connsiteY2932" fmla="*/ 3810030 h 6858054"/>
              <a:gd name="connsiteX2933" fmla="*/ 4546745 w 7631184"/>
              <a:gd name="connsiteY2933" fmla="*/ 3731876 h 6858054"/>
              <a:gd name="connsiteX2934" fmla="*/ 4536976 w 7631184"/>
              <a:gd name="connsiteY2934" fmla="*/ 3722106 h 6858054"/>
              <a:gd name="connsiteX2935" fmla="*/ 4527208 w 7631184"/>
              <a:gd name="connsiteY2935" fmla="*/ 3712337 h 6858054"/>
              <a:gd name="connsiteX2936" fmla="*/ 4517439 w 7631184"/>
              <a:gd name="connsiteY2936" fmla="*/ 3702568 h 6858054"/>
              <a:gd name="connsiteX2937" fmla="*/ 4517439 w 7631184"/>
              <a:gd name="connsiteY2937" fmla="*/ 3692798 h 6858054"/>
              <a:gd name="connsiteX2938" fmla="*/ 4488133 w 7631184"/>
              <a:gd name="connsiteY2938" fmla="*/ 3663491 h 6858054"/>
              <a:gd name="connsiteX2939" fmla="*/ 4458828 w 7631184"/>
              <a:gd name="connsiteY2939" fmla="*/ 3624413 h 6858054"/>
              <a:gd name="connsiteX2940" fmla="*/ 4449059 w 7631184"/>
              <a:gd name="connsiteY2940" fmla="*/ 3614644 h 6858054"/>
              <a:gd name="connsiteX2941" fmla="*/ 4409985 w 7631184"/>
              <a:gd name="connsiteY2941" fmla="*/ 3565797 h 6858054"/>
              <a:gd name="connsiteX2942" fmla="*/ 4351373 w 7631184"/>
              <a:gd name="connsiteY2942" fmla="*/ 3536490 h 6858054"/>
              <a:gd name="connsiteX2943" fmla="*/ 4341604 w 7631184"/>
              <a:gd name="connsiteY2943" fmla="*/ 3526720 h 6858054"/>
              <a:gd name="connsiteX2944" fmla="*/ 4341604 w 7631184"/>
              <a:gd name="connsiteY2944" fmla="*/ 3516951 h 6858054"/>
              <a:gd name="connsiteX2945" fmla="*/ 4331836 w 7631184"/>
              <a:gd name="connsiteY2945" fmla="*/ 3516951 h 6858054"/>
              <a:gd name="connsiteX2946" fmla="*/ 4322067 w 7631184"/>
              <a:gd name="connsiteY2946" fmla="*/ 3497412 h 6858054"/>
              <a:gd name="connsiteX2947" fmla="*/ 4253687 w 7631184"/>
              <a:gd name="connsiteY2947" fmla="*/ 3419258 h 6858054"/>
              <a:gd name="connsiteX2948" fmla="*/ 4243918 w 7631184"/>
              <a:gd name="connsiteY2948" fmla="*/ 3419258 h 6858054"/>
              <a:gd name="connsiteX2949" fmla="*/ 4224381 w 7631184"/>
              <a:gd name="connsiteY2949" fmla="*/ 3399719 h 6858054"/>
              <a:gd name="connsiteX2950" fmla="*/ 4214612 w 7631184"/>
              <a:gd name="connsiteY2950" fmla="*/ 3389950 h 6858054"/>
              <a:gd name="connsiteX2951" fmla="*/ 4214612 w 7631184"/>
              <a:gd name="connsiteY2951" fmla="*/ 3399719 h 6858054"/>
              <a:gd name="connsiteX2952" fmla="*/ 4195075 w 7631184"/>
              <a:gd name="connsiteY2952" fmla="*/ 3380181 h 6858054"/>
              <a:gd name="connsiteX2953" fmla="*/ 4185306 w 7631184"/>
              <a:gd name="connsiteY2953" fmla="*/ 3380181 h 6858054"/>
              <a:gd name="connsiteX2954" fmla="*/ 4204844 w 7631184"/>
              <a:gd name="connsiteY2954" fmla="*/ 3399719 h 6858054"/>
              <a:gd name="connsiteX2955" fmla="*/ 4234150 w 7631184"/>
              <a:gd name="connsiteY2955" fmla="*/ 3429027 h 6858054"/>
              <a:gd name="connsiteX2956" fmla="*/ 4253687 w 7631184"/>
              <a:gd name="connsiteY2956" fmla="*/ 3458335 h 6858054"/>
              <a:gd name="connsiteX2957" fmla="*/ 4263455 w 7631184"/>
              <a:gd name="connsiteY2957" fmla="*/ 3477874 h 6858054"/>
              <a:gd name="connsiteX2958" fmla="*/ 4273224 w 7631184"/>
              <a:gd name="connsiteY2958" fmla="*/ 3487643 h 6858054"/>
              <a:gd name="connsiteX2959" fmla="*/ 4282993 w 7631184"/>
              <a:gd name="connsiteY2959" fmla="*/ 3497412 h 6858054"/>
              <a:gd name="connsiteX2960" fmla="*/ 4253687 w 7631184"/>
              <a:gd name="connsiteY2960" fmla="*/ 3487643 h 6858054"/>
              <a:gd name="connsiteX2961" fmla="*/ 4204844 w 7631184"/>
              <a:gd name="connsiteY2961" fmla="*/ 3468104 h 6858054"/>
              <a:gd name="connsiteX2962" fmla="*/ 4224381 w 7631184"/>
              <a:gd name="connsiteY2962" fmla="*/ 3487643 h 6858054"/>
              <a:gd name="connsiteX2963" fmla="*/ 4273224 w 7631184"/>
              <a:gd name="connsiteY2963" fmla="*/ 3536490 h 6858054"/>
              <a:gd name="connsiteX2964" fmla="*/ 4312298 w 7631184"/>
              <a:gd name="connsiteY2964" fmla="*/ 3575567 h 6858054"/>
              <a:gd name="connsiteX2965" fmla="*/ 4361141 w 7631184"/>
              <a:gd name="connsiteY2965" fmla="*/ 3643952 h 6858054"/>
              <a:gd name="connsiteX2966" fmla="*/ 4370910 w 7631184"/>
              <a:gd name="connsiteY2966" fmla="*/ 3653721 h 6858054"/>
              <a:gd name="connsiteX2967" fmla="*/ 4390447 w 7631184"/>
              <a:gd name="connsiteY2967" fmla="*/ 3673260 h 6858054"/>
              <a:gd name="connsiteX2968" fmla="*/ 4400216 w 7631184"/>
              <a:gd name="connsiteY2968" fmla="*/ 3683029 h 6858054"/>
              <a:gd name="connsiteX2969" fmla="*/ 4419753 w 7631184"/>
              <a:gd name="connsiteY2969" fmla="*/ 3702568 h 6858054"/>
              <a:gd name="connsiteX2970" fmla="*/ 4429522 w 7631184"/>
              <a:gd name="connsiteY2970" fmla="*/ 3722106 h 6858054"/>
              <a:gd name="connsiteX2971" fmla="*/ 4419753 w 7631184"/>
              <a:gd name="connsiteY2971" fmla="*/ 3722106 h 6858054"/>
              <a:gd name="connsiteX2972" fmla="*/ 4429522 w 7631184"/>
              <a:gd name="connsiteY2972" fmla="*/ 3731876 h 6858054"/>
              <a:gd name="connsiteX2973" fmla="*/ 4439290 w 7631184"/>
              <a:gd name="connsiteY2973" fmla="*/ 3741645 h 6858054"/>
              <a:gd name="connsiteX2974" fmla="*/ 4439290 w 7631184"/>
              <a:gd name="connsiteY2974" fmla="*/ 3731876 h 6858054"/>
              <a:gd name="connsiteX2975" fmla="*/ 4449059 w 7631184"/>
              <a:gd name="connsiteY2975" fmla="*/ 3731876 h 6858054"/>
              <a:gd name="connsiteX2976" fmla="*/ 4458828 w 7631184"/>
              <a:gd name="connsiteY2976" fmla="*/ 3741645 h 6858054"/>
              <a:gd name="connsiteX2977" fmla="*/ 4468596 w 7631184"/>
              <a:gd name="connsiteY2977" fmla="*/ 3751414 h 6858054"/>
              <a:gd name="connsiteX2978" fmla="*/ 4458828 w 7631184"/>
              <a:gd name="connsiteY2978" fmla="*/ 3751414 h 6858054"/>
              <a:gd name="connsiteX2979" fmla="*/ 4449059 w 7631184"/>
              <a:gd name="connsiteY2979" fmla="*/ 3751414 h 6858054"/>
              <a:gd name="connsiteX2980" fmla="*/ 4468596 w 7631184"/>
              <a:gd name="connsiteY2980" fmla="*/ 3770953 h 6858054"/>
              <a:gd name="connsiteX2981" fmla="*/ 4488133 w 7631184"/>
              <a:gd name="connsiteY2981" fmla="*/ 3790492 h 6858054"/>
              <a:gd name="connsiteX2982" fmla="*/ 4527208 w 7631184"/>
              <a:gd name="connsiteY2982" fmla="*/ 3839338 h 6858054"/>
              <a:gd name="connsiteX2983" fmla="*/ 4536976 w 7631184"/>
              <a:gd name="connsiteY2983" fmla="*/ 3858877 h 6858054"/>
              <a:gd name="connsiteX2984" fmla="*/ 4556514 w 7631184"/>
              <a:gd name="connsiteY2984" fmla="*/ 3888185 h 6858054"/>
              <a:gd name="connsiteX2985" fmla="*/ 4615125 w 7631184"/>
              <a:gd name="connsiteY2985" fmla="*/ 3956570 h 6858054"/>
              <a:gd name="connsiteX2986" fmla="*/ 4663968 w 7631184"/>
              <a:gd name="connsiteY2986" fmla="*/ 4024955 h 6858054"/>
              <a:gd name="connsiteX2987" fmla="*/ 4683506 w 7631184"/>
              <a:gd name="connsiteY2987" fmla="*/ 4044494 h 6858054"/>
              <a:gd name="connsiteX2988" fmla="*/ 4712811 w 7631184"/>
              <a:gd name="connsiteY2988" fmla="*/ 4083571 h 6858054"/>
              <a:gd name="connsiteX2989" fmla="*/ 4712811 w 7631184"/>
              <a:gd name="connsiteY2989" fmla="*/ 4093340 h 6858054"/>
              <a:gd name="connsiteX2990" fmla="*/ 4703043 w 7631184"/>
              <a:gd name="connsiteY2990" fmla="*/ 4093340 h 6858054"/>
              <a:gd name="connsiteX2991" fmla="*/ 4703043 w 7631184"/>
              <a:gd name="connsiteY2991" fmla="*/ 4083571 h 6858054"/>
              <a:gd name="connsiteX2992" fmla="*/ 4673737 w 7631184"/>
              <a:gd name="connsiteY2992" fmla="*/ 4054263 h 6858054"/>
              <a:gd name="connsiteX2993" fmla="*/ 4663968 w 7631184"/>
              <a:gd name="connsiteY2993" fmla="*/ 4034724 h 6858054"/>
              <a:gd name="connsiteX2994" fmla="*/ 4654200 w 7631184"/>
              <a:gd name="connsiteY2994" fmla="*/ 4024955 h 6858054"/>
              <a:gd name="connsiteX2995" fmla="*/ 4634663 w 7631184"/>
              <a:gd name="connsiteY2995" fmla="*/ 4005416 h 6858054"/>
              <a:gd name="connsiteX2996" fmla="*/ 4615125 w 7631184"/>
              <a:gd name="connsiteY2996" fmla="*/ 3976108 h 6858054"/>
              <a:gd name="connsiteX2997" fmla="*/ 4585820 w 7631184"/>
              <a:gd name="connsiteY2997" fmla="*/ 3946800 h 6858054"/>
              <a:gd name="connsiteX2998" fmla="*/ 4576051 w 7631184"/>
              <a:gd name="connsiteY2998" fmla="*/ 3927262 h 6858054"/>
              <a:gd name="connsiteX2999" fmla="*/ 4566282 w 7631184"/>
              <a:gd name="connsiteY2999" fmla="*/ 3917493 h 6858054"/>
              <a:gd name="connsiteX3000" fmla="*/ 4556514 w 7631184"/>
              <a:gd name="connsiteY3000" fmla="*/ 3917493 h 6858054"/>
              <a:gd name="connsiteX3001" fmla="*/ 4527208 w 7631184"/>
              <a:gd name="connsiteY3001" fmla="*/ 3878415 h 6858054"/>
              <a:gd name="connsiteX3002" fmla="*/ 4527208 w 7631184"/>
              <a:gd name="connsiteY3002" fmla="*/ 3868646 h 6858054"/>
              <a:gd name="connsiteX3003" fmla="*/ 4507671 w 7631184"/>
              <a:gd name="connsiteY3003" fmla="*/ 3849107 h 6858054"/>
              <a:gd name="connsiteX3004" fmla="*/ 4497902 w 7631184"/>
              <a:gd name="connsiteY3004" fmla="*/ 3829569 h 6858054"/>
              <a:gd name="connsiteX3005" fmla="*/ 4488133 w 7631184"/>
              <a:gd name="connsiteY3005" fmla="*/ 3819799 h 6858054"/>
              <a:gd name="connsiteX3006" fmla="*/ 4468596 w 7631184"/>
              <a:gd name="connsiteY3006" fmla="*/ 3800261 h 6858054"/>
              <a:gd name="connsiteX3007" fmla="*/ 4449059 w 7631184"/>
              <a:gd name="connsiteY3007" fmla="*/ 3770953 h 6858054"/>
              <a:gd name="connsiteX3008" fmla="*/ 4449059 w 7631184"/>
              <a:gd name="connsiteY3008" fmla="*/ 3761184 h 6858054"/>
              <a:gd name="connsiteX3009" fmla="*/ 4439290 w 7631184"/>
              <a:gd name="connsiteY3009" fmla="*/ 3761184 h 6858054"/>
              <a:gd name="connsiteX3010" fmla="*/ 4419753 w 7631184"/>
              <a:gd name="connsiteY3010" fmla="*/ 3731876 h 6858054"/>
              <a:gd name="connsiteX3011" fmla="*/ 4409985 w 7631184"/>
              <a:gd name="connsiteY3011" fmla="*/ 3722106 h 6858054"/>
              <a:gd name="connsiteX3012" fmla="*/ 4390447 w 7631184"/>
              <a:gd name="connsiteY3012" fmla="*/ 3712337 h 6858054"/>
              <a:gd name="connsiteX3013" fmla="*/ 4361141 w 7631184"/>
              <a:gd name="connsiteY3013" fmla="*/ 3663491 h 6858054"/>
              <a:gd name="connsiteX3014" fmla="*/ 4351373 w 7631184"/>
              <a:gd name="connsiteY3014" fmla="*/ 3653721 h 6858054"/>
              <a:gd name="connsiteX3015" fmla="*/ 4331836 w 7631184"/>
              <a:gd name="connsiteY3015" fmla="*/ 3643952 h 6858054"/>
              <a:gd name="connsiteX3016" fmla="*/ 4322067 w 7631184"/>
              <a:gd name="connsiteY3016" fmla="*/ 3624413 h 6858054"/>
              <a:gd name="connsiteX3017" fmla="*/ 4312298 w 7631184"/>
              <a:gd name="connsiteY3017" fmla="*/ 3604875 h 6858054"/>
              <a:gd name="connsiteX3018" fmla="*/ 4282993 w 7631184"/>
              <a:gd name="connsiteY3018" fmla="*/ 3575567 h 6858054"/>
              <a:gd name="connsiteX3019" fmla="*/ 4253687 w 7631184"/>
              <a:gd name="connsiteY3019" fmla="*/ 3546259 h 6858054"/>
              <a:gd name="connsiteX3020" fmla="*/ 4243918 w 7631184"/>
              <a:gd name="connsiteY3020" fmla="*/ 3546259 h 6858054"/>
              <a:gd name="connsiteX3021" fmla="*/ 4253687 w 7631184"/>
              <a:gd name="connsiteY3021" fmla="*/ 3556028 h 6858054"/>
              <a:gd name="connsiteX3022" fmla="*/ 4263455 w 7631184"/>
              <a:gd name="connsiteY3022" fmla="*/ 3585336 h 6858054"/>
              <a:gd name="connsiteX3023" fmla="*/ 4282993 w 7631184"/>
              <a:gd name="connsiteY3023" fmla="*/ 3604875 h 6858054"/>
              <a:gd name="connsiteX3024" fmla="*/ 4292761 w 7631184"/>
              <a:gd name="connsiteY3024" fmla="*/ 3614644 h 6858054"/>
              <a:gd name="connsiteX3025" fmla="*/ 4312298 w 7631184"/>
              <a:gd name="connsiteY3025" fmla="*/ 3634183 h 6858054"/>
              <a:gd name="connsiteX3026" fmla="*/ 4322067 w 7631184"/>
              <a:gd name="connsiteY3026" fmla="*/ 3643952 h 6858054"/>
              <a:gd name="connsiteX3027" fmla="*/ 4351373 w 7631184"/>
              <a:gd name="connsiteY3027" fmla="*/ 3683029 h 6858054"/>
              <a:gd name="connsiteX3028" fmla="*/ 4361141 w 7631184"/>
              <a:gd name="connsiteY3028" fmla="*/ 3702568 h 6858054"/>
              <a:gd name="connsiteX3029" fmla="*/ 4361141 w 7631184"/>
              <a:gd name="connsiteY3029" fmla="*/ 3712337 h 6858054"/>
              <a:gd name="connsiteX3030" fmla="*/ 4370910 w 7631184"/>
              <a:gd name="connsiteY3030" fmla="*/ 3722106 h 6858054"/>
              <a:gd name="connsiteX3031" fmla="*/ 4380679 w 7631184"/>
              <a:gd name="connsiteY3031" fmla="*/ 3731876 h 6858054"/>
              <a:gd name="connsiteX3032" fmla="*/ 4390447 w 7631184"/>
              <a:gd name="connsiteY3032" fmla="*/ 3741645 h 6858054"/>
              <a:gd name="connsiteX3033" fmla="*/ 4400216 w 7631184"/>
              <a:gd name="connsiteY3033" fmla="*/ 3751414 h 6858054"/>
              <a:gd name="connsiteX3034" fmla="*/ 4409985 w 7631184"/>
              <a:gd name="connsiteY3034" fmla="*/ 3751414 h 6858054"/>
              <a:gd name="connsiteX3035" fmla="*/ 4409985 w 7631184"/>
              <a:gd name="connsiteY3035" fmla="*/ 3761184 h 6858054"/>
              <a:gd name="connsiteX3036" fmla="*/ 4409985 w 7631184"/>
              <a:gd name="connsiteY3036" fmla="*/ 3770953 h 6858054"/>
              <a:gd name="connsiteX3037" fmla="*/ 4429522 w 7631184"/>
              <a:gd name="connsiteY3037" fmla="*/ 3770953 h 6858054"/>
              <a:gd name="connsiteX3038" fmla="*/ 4429522 w 7631184"/>
              <a:gd name="connsiteY3038" fmla="*/ 3780722 h 6858054"/>
              <a:gd name="connsiteX3039" fmla="*/ 4429522 w 7631184"/>
              <a:gd name="connsiteY3039" fmla="*/ 3790492 h 6858054"/>
              <a:gd name="connsiteX3040" fmla="*/ 4439290 w 7631184"/>
              <a:gd name="connsiteY3040" fmla="*/ 3800261 h 6858054"/>
              <a:gd name="connsiteX3041" fmla="*/ 4449059 w 7631184"/>
              <a:gd name="connsiteY3041" fmla="*/ 3810030 h 6858054"/>
              <a:gd name="connsiteX3042" fmla="*/ 4449059 w 7631184"/>
              <a:gd name="connsiteY3042" fmla="*/ 3819799 h 6858054"/>
              <a:gd name="connsiteX3043" fmla="*/ 4458828 w 7631184"/>
              <a:gd name="connsiteY3043" fmla="*/ 3829569 h 6858054"/>
              <a:gd name="connsiteX3044" fmla="*/ 4478365 w 7631184"/>
              <a:gd name="connsiteY3044" fmla="*/ 3839338 h 6858054"/>
              <a:gd name="connsiteX3045" fmla="*/ 4488133 w 7631184"/>
              <a:gd name="connsiteY3045" fmla="*/ 3868646 h 6858054"/>
              <a:gd name="connsiteX3046" fmla="*/ 4517439 w 7631184"/>
              <a:gd name="connsiteY3046" fmla="*/ 3897954 h 6858054"/>
              <a:gd name="connsiteX3047" fmla="*/ 4546745 w 7631184"/>
              <a:gd name="connsiteY3047" fmla="*/ 3927262 h 6858054"/>
              <a:gd name="connsiteX3048" fmla="*/ 4546745 w 7631184"/>
              <a:gd name="connsiteY3048" fmla="*/ 3937031 h 6858054"/>
              <a:gd name="connsiteX3049" fmla="*/ 4576051 w 7631184"/>
              <a:gd name="connsiteY3049" fmla="*/ 3966339 h 6858054"/>
              <a:gd name="connsiteX3050" fmla="*/ 4585820 w 7631184"/>
              <a:gd name="connsiteY3050" fmla="*/ 3976108 h 6858054"/>
              <a:gd name="connsiteX3051" fmla="*/ 4605357 w 7631184"/>
              <a:gd name="connsiteY3051" fmla="*/ 4005416 h 6858054"/>
              <a:gd name="connsiteX3052" fmla="*/ 4644431 w 7631184"/>
              <a:gd name="connsiteY3052" fmla="*/ 4054263 h 6858054"/>
              <a:gd name="connsiteX3053" fmla="*/ 4693274 w 7631184"/>
              <a:gd name="connsiteY3053" fmla="*/ 4122648 h 6858054"/>
              <a:gd name="connsiteX3054" fmla="*/ 4712811 w 7631184"/>
              <a:gd name="connsiteY3054" fmla="*/ 4142187 h 6858054"/>
              <a:gd name="connsiteX3055" fmla="*/ 4722580 w 7631184"/>
              <a:gd name="connsiteY3055" fmla="*/ 4171495 h 6858054"/>
              <a:gd name="connsiteX3056" fmla="*/ 4742117 w 7631184"/>
              <a:gd name="connsiteY3056" fmla="*/ 4191033 h 6858054"/>
              <a:gd name="connsiteX3057" fmla="*/ 4751886 w 7631184"/>
              <a:gd name="connsiteY3057" fmla="*/ 4200803 h 6858054"/>
              <a:gd name="connsiteX3058" fmla="*/ 4761655 w 7631184"/>
              <a:gd name="connsiteY3058" fmla="*/ 4220341 h 6858054"/>
              <a:gd name="connsiteX3059" fmla="*/ 4771423 w 7631184"/>
              <a:gd name="connsiteY3059" fmla="*/ 4230110 h 6858054"/>
              <a:gd name="connsiteX3060" fmla="*/ 4781192 w 7631184"/>
              <a:gd name="connsiteY3060" fmla="*/ 4239880 h 6858054"/>
              <a:gd name="connsiteX3061" fmla="*/ 4781192 w 7631184"/>
              <a:gd name="connsiteY3061" fmla="*/ 4249649 h 6858054"/>
              <a:gd name="connsiteX3062" fmla="*/ 4800729 w 7631184"/>
              <a:gd name="connsiteY3062" fmla="*/ 4278957 h 6858054"/>
              <a:gd name="connsiteX3063" fmla="*/ 4849572 w 7631184"/>
              <a:gd name="connsiteY3063" fmla="*/ 4337573 h 6858054"/>
              <a:gd name="connsiteX3064" fmla="*/ 4849572 w 7631184"/>
              <a:gd name="connsiteY3064" fmla="*/ 4347342 h 6858054"/>
              <a:gd name="connsiteX3065" fmla="*/ 4859341 w 7631184"/>
              <a:gd name="connsiteY3065" fmla="*/ 4347342 h 6858054"/>
              <a:gd name="connsiteX3066" fmla="*/ 4859341 w 7631184"/>
              <a:gd name="connsiteY3066" fmla="*/ 4357111 h 6858054"/>
              <a:gd name="connsiteX3067" fmla="*/ 4898415 w 7631184"/>
              <a:gd name="connsiteY3067" fmla="*/ 4405958 h 6858054"/>
              <a:gd name="connsiteX3068" fmla="*/ 4908184 w 7631184"/>
              <a:gd name="connsiteY3068" fmla="*/ 4425497 h 6858054"/>
              <a:gd name="connsiteX3069" fmla="*/ 4976564 w 7631184"/>
              <a:gd name="connsiteY3069" fmla="*/ 4513420 h 6858054"/>
              <a:gd name="connsiteX3070" fmla="*/ 4966795 w 7631184"/>
              <a:gd name="connsiteY3070" fmla="*/ 4503651 h 6858054"/>
              <a:gd name="connsiteX3071" fmla="*/ 4947258 w 7631184"/>
              <a:gd name="connsiteY3071" fmla="*/ 4503651 h 6858054"/>
              <a:gd name="connsiteX3072" fmla="*/ 4947258 w 7631184"/>
              <a:gd name="connsiteY3072" fmla="*/ 4513420 h 6858054"/>
              <a:gd name="connsiteX3073" fmla="*/ 4937490 w 7631184"/>
              <a:gd name="connsiteY3073" fmla="*/ 4542728 h 6858054"/>
              <a:gd name="connsiteX3074" fmla="*/ 4957027 w 7631184"/>
              <a:gd name="connsiteY3074" fmla="*/ 4562267 h 6858054"/>
              <a:gd name="connsiteX3075" fmla="*/ 5005870 w 7631184"/>
              <a:gd name="connsiteY3075" fmla="*/ 4640421 h 6858054"/>
              <a:gd name="connsiteX3076" fmla="*/ 5015638 w 7631184"/>
              <a:gd name="connsiteY3076" fmla="*/ 4659960 h 6858054"/>
              <a:gd name="connsiteX3077" fmla="*/ 5025407 w 7631184"/>
              <a:gd name="connsiteY3077" fmla="*/ 4669729 h 6858054"/>
              <a:gd name="connsiteX3078" fmla="*/ 5044944 w 7631184"/>
              <a:gd name="connsiteY3078" fmla="*/ 4699037 h 6858054"/>
              <a:gd name="connsiteX3079" fmla="*/ 5064481 w 7631184"/>
              <a:gd name="connsiteY3079" fmla="*/ 4757653 h 6858054"/>
              <a:gd name="connsiteX3080" fmla="*/ 5054713 w 7631184"/>
              <a:gd name="connsiteY3080" fmla="*/ 4757653 h 6858054"/>
              <a:gd name="connsiteX3081" fmla="*/ 5064481 w 7631184"/>
              <a:gd name="connsiteY3081" fmla="*/ 4786961 h 6858054"/>
              <a:gd name="connsiteX3082" fmla="*/ 5064481 w 7631184"/>
              <a:gd name="connsiteY3082" fmla="*/ 4796730 h 6858054"/>
              <a:gd name="connsiteX3083" fmla="*/ 5074250 w 7631184"/>
              <a:gd name="connsiteY3083" fmla="*/ 4806500 h 6858054"/>
              <a:gd name="connsiteX3084" fmla="*/ 5084019 w 7631184"/>
              <a:gd name="connsiteY3084" fmla="*/ 4826038 h 6858054"/>
              <a:gd name="connsiteX3085" fmla="*/ 5103556 w 7631184"/>
              <a:gd name="connsiteY3085" fmla="*/ 4845577 h 6858054"/>
              <a:gd name="connsiteX3086" fmla="*/ 5113325 w 7631184"/>
              <a:gd name="connsiteY3086" fmla="*/ 4874885 h 6858054"/>
              <a:gd name="connsiteX3087" fmla="*/ 5132862 w 7631184"/>
              <a:gd name="connsiteY3087" fmla="*/ 4894423 h 6858054"/>
              <a:gd name="connsiteX3088" fmla="*/ 5142630 w 7631184"/>
              <a:gd name="connsiteY3088" fmla="*/ 4913962 h 6858054"/>
              <a:gd name="connsiteX3089" fmla="*/ 5152399 w 7631184"/>
              <a:gd name="connsiteY3089" fmla="*/ 4923731 h 6858054"/>
              <a:gd name="connsiteX3090" fmla="*/ 5152399 w 7631184"/>
              <a:gd name="connsiteY3090" fmla="*/ 4933501 h 6858054"/>
              <a:gd name="connsiteX3091" fmla="*/ 5162168 w 7631184"/>
              <a:gd name="connsiteY3091" fmla="*/ 4943270 h 6858054"/>
              <a:gd name="connsiteX3092" fmla="*/ 5162168 w 7631184"/>
              <a:gd name="connsiteY3092" fmla="*/ 4953039 h 6858054"/>
              <a:gd name="connsiteX3093" fmla="*/ 5181705 w 7631184"/>
              <a:gd name="connsiteY3093" fmla="*/ 4982347 h 6858054"/>
              <a:gd name="connsiteX3094" fmla="*/ 5201242 w 7631184"/>
              <a:gd name="connsiteY3094" fmla="*/ 5011655 h 6858054"/>
              <a:gd name="connsiteX3095" fmla="*/ 5211011 w 7631184"/>
              <a:gd name="connsiteY3095" fmla="*/ 5031194 h 6858054"/>
              <a:gd name="connsiteX3096" fmla="*/ 5230548 w 7631184"/>
              <a:gd name="connsiteY3096" fmla="*/ 5050732 h 6858054"/>
              <a:gd name="connsiteX3097" fmla="*/ 5240316 w 7631184"/>
              <a:gd name="connsiteY3097" fmla="*/ 5070271 h 6858054"/>
              <a:gd name="connsiteX3098" fmla="*/ 5250085 w 7631184"/>
              <a:gd name="connsiteY3098" fmla="*/ 5089810 h 6858054"/>
              <a:gd name="connsiteX3099" fmla="*/ 5259854 w 7631184"/>
              <a:gd name="connsiteY3099" fmla="*/ 5099579 h 6858054"/>
              <a:gd name="connsiteX3100" fmla="*/ 5259854 w 7631184"/>
              <a:gd name="connsiteY3100" fmla="*/ 5109348 h 6858054"/>
              <a:gd name="connsiteX3101" fmla="*/ 5259854 w 7631184"/>
              <a:gd name="connsiteY3101" fmla="*/ 5128887 h 6858054"/>
              <a:gd name="connsiteX3102" fmla="*/ 5269622 w 7631184"/>
              <a:gd name="connsiteY3102" fmla="*/ 5148425 h 6858054"/>
              <a:gd name="connsiteX3103" fmla="*/ 5289160 w 7631184"/>
              <a:gd name="connsiteY3103" fmla="*/ 5167964 h 6858054"/>
              <a:gd name="connsiteX3104" fmla="*/ 5298928 w 7631184"/>
              <a:gd name="connsiteY3104" fmla="*/ 5197272 h 6858054"/>
              <a:gd name="connsiteX3105" fmla="*/ 5318465 w 7631184"/>
              <a:gd name="connsiteY3105" fmla="*/ 5236349 h 6858054"/>
              <a:gd name="connsiteX3106" fmla="*/ 5338003 w 7631184"/>
              <a:gd name="connsiteY3106" fmla="*/ 5265657 h 6858054"/>
              <a:gd name="connsiteX3107" fmla="*/ 5347771 w 7631184"/>
              <a:gd name="connsiteY3107" fmla="*/ 5275426 h 6858054"/>
              <a:gd name="connsiteX3108" fmla="*/ 5367308 w 7631184"/>
              <a:gd name="connsiteY3108" fmla="*/ 5324273 h 6858054"/>
              <a:gd name="connsiteX3109" fmla="*/ 5377077 w 7631184"/>
              <a:gd name="connsiteY3109" fmla="*/ 5334042 h 6858054"/>
              <a:gd name="connsiteX3110" fmla="*/ 5386846 w 7631184"/>
              <a:gd name="connsiteY3110" fmla="*/ 5353581 h 6858054"/>
              <a:gd name="connsiteX3111" fmla="*/ 5386846 w 7631184"/>
              <a:gd name="connsiteY3111" fmla="*/ 5363350 h 6858054"/>
              <a:gd name="connsiteX3112" fmla="*/ 5396614 w 7631184"/>
              <a:gd name="connsiteY3112" fmla="*/ 5373119 h 6858054"/>
              <a:gd name="connsiteX3113" fmla="*/ 5396614 w 7631184"/>
              <a:gd name="connsiteY3113" fmla="*/ 5382889 h 6858054"/>
              <a:gd name="connsiteX3114" fmla="*/ 5396614 w 7631184"/>
              <a:gd name="connsiteY3114" fmla="*/ 5392658 h 6858054"/>
              <a:gd name="connsiteX3115" fmla="*/ 5406383 w 7631184"/>
              <a:gd name="connsiteY3115" fmla="*/ 5402427 h 6858054"/>
              <a:gd name="connsiteX3116" fmla="*/ 5406383 w 7631184"/>
              <a:gd name="connsiteY3116" fmla="*/ 5412197 h 6858054"/>
              <a:gd name="connsiteX3117" fmla="*/ 5416151 w 7631184"/>
              <a:gd name="connsiteY3117" fmla="*/ 5421966 h 6858054"/>
              <a:gd name="connsiteX3118" fmla="*/ 5425920 w 7631184"/>
              <a:gd name="connsiteY3118" fmla="*/ 5441505 h 6858054"/>
              <a:gd name="connsiteX3119" fmla="*/ 5425920 w 7631184"/>
              <a:gd name="connsiteY3119" fmla="*/ 5451274 h 6858054"/>
              <a:gd name="connsiteX3120" fmla="*/ 5435689 w 7631184"/>
              <a:gd name="connsiteY3120" fmla="*/ 5461043 h 6858054"/>
              <a:gd name="connsiteX3121" fmla="*/ 5445457 w 7631184"/>
              <a:gd name="connsiteY3121" fmla="*/ 5490351 h 6858054"/>
              <a:gd name="connsiteX3122" fmla="*/ 5464995 w 7631184"/>
              <a:gd name="connsiteY3122" fmla="*/ 5519659 h 6858054"/>
              <a:gd name="connsiteX3123" fmla="*/ 5474763 w 7631184"/>
              <a:gd name="connsiteY3123" fmla="*/ 5529428 h 6858054"/>
              <a:gd name="connsiteX3124" fmla="*/ 5474763 w 7631184"/>
              <a:gd name="connsiteY3124" fmla="*/ 5548967 h 6858054"/>
              <a:gd name="connsiteX3125" fmla="*/ 5494300 w 7631184"/>
              <a:gd name="connsiteY3125" fmla="*/ 5578275 h 6858054"/>
              <a:gd name="connsiteX3126" fmla="*/ 5504069 w 7631184"/>
              <a:gd name="connsiteY3126" fmla="*/ 5597814 h 6858054"/>
              <a:gd name="connsiteX3127" fmla="*/ 5504069 w 7631184"/>
              <a:gd name="connsiteY3127" fmla="*/ 5607583 h 6858054"/>
              <a:gd name="connsiteX3128" fmla="*/ 5513838 w 7631184"/>
              <a:gd name="connsiteY3128" fmla="*/ 5627121 h 6858054"/>
              <a:gd name="connsiteX3129" fmla="*/ 5523606 w 7631184"/>
              <a:gd name="connsiteY3129" fmla="*/ 5636891 h 6858054"/>
              <a:gd name="connsiteX3130" fmla="*/ 5533375 w 7631184"/>
              <a:gd name="connsiteY3130" fmla="*/ 5656429 h 6858054"/>
              <a:gd name="connsiteX3131" fmla="*/ 5533375 w 7631184"/>
              <a:gd name="connsiteY3131" fmla="*/ 5666199 h 6858054"/>
              <a:gd name="connsiteX3132" fmla="*/ 5543143 w 7631184"/>
              <a:gd name="connsiteY3132" fmla="*/ 5675968 h 6858054"/>
              <a:gd name="connsiteX3133" fmla="*/ 5552912 w 7631184"/>
              <a:gd name="connsiteY3133" fmla="*/ 5685737 h 6858054"/>
              <a:gd name="connsiteX3134" fmla="*/ 5562681 w 7631184"/>
              <a:gd name="connsiteY3134" fmla="*/ 5724815 h 6858054"/>
              <a:gd name="connsiteX3135" fmla="*/ 5572449 w 7631184"/>
              <a:gd name="connsiteY3135" fmla="*/ 5734584 h 6858054"/>
              <a:gd name="connsiteX3136" fmla="*/ 5572449 w 7631184"/>
              <a:gd name="connsiteY3136" fmla="*/ 5744353 h 6858054"/>
              <a:gd name="connsiteX3137" fmla="*/ 5582218 w 7631184"/>
              <a:gd name="connsiteY3137" fmla="*/ 5754122 h 6858054"/>
              <a:gd name="connsiteX3138" fmla="*/ 5582218 w 7631184"/>
              <a:gd name="connsiteY3138" fmla="*/ 5763892 h 6858054"/>
              <a:gd name="connsiteX3139" fmla="*/ 5582218 w 7631184"/>
              <a:gd name="connsiteY3139" fmla="*/ 5773661 h 6858054"/>
              <a:gd name="connsiteX3140" fmla="*/ 5562681 w 7631184"/>
              <a:gd name="connsiteY3140" fmla="*/ 5744353 h 6858054"/>
              <a:gd name="connsiteX3141" fmla="*/ 5552912 w 7631184"/>
              <a:gd name="connsiteY3141" fmla="*/ 5734584 h 6858054"/>
              <a:gd name="connsiteX3142" fmla="*/ 5533375 w 7631184"/>
              <a:gd name="connsiteY3142" fmla="*/ 5695507 h 6858054"/>
              <a:gd name="connsiteX3143" fmla="*/ 5533375 w 7631184"/>
              <a:gd name="connsiteY3143" fmla="*/ 5685737 h 6858054"/>
              <a:gd name="connsiteX3144" fmla="*/ 5523606 w 7631184"/>
              <a:gd name="connsiteY3144" fmla="*/ 5666199 h 6858054"/>
              <a:gd name="connsiteX3145" fmla="*/ 5513838 w 7631184"/>
              <a:gd name="connsiteY3145" fmla="*/ 5646660 h 6858054"/>
              <a:gd name="connsiteX3146" fmla="*/ 5504069 w 7631184"/>
              <a:gd name="connsiteY3146" fmla="*/ 5627121 h 6858054"/>
              <a:gd name="connsiteX3147" fmla="*/ 5494300 w 7631184"/>
              <a:gd name="connsiteY3147" fmla="*/ 5607583 h 6858054"/>
              <a:gd name="connsiteX3148" fmla="*/ 5484532 w 7631184"/>
              <a:gd name="connsiteY3148" fmla="*/ 5588044 h 6858054"/>
              <a:gd name="connsiteX3149" fmla="*/ 5474763 w 7631184"/>
              <a:gd name="connsiteY3149" fmla="*/ 5568506 h 6858054"/>
              <a:gd name="connsiteX3150" fmla="*/ 5464995 w 7631184"/>
              <a:gd name="connsiteY3150" fmla="*/ 5548967 h 6858054"/>
              <a:gd name="connsiteX3151" fmla="*/ 5455226 w 7631184"/>
              <a:gd name="connsiteY3151" fmla="*/ 5539198 h 6858054"/>
              <a:gd name="connsiteX3152" fmla="*/ 5455226 w 7631184"/>
              <a:gd name="connsiteY3152" fmla="*/ 5519659 h 6858054"/>
              <a:gd name="connsiteX3153" fmla="*/ 5445457 w 7631184"/>
              <a:gd name="connsiteY3153" fmla="*/ 5509890 h 6858054"/>
              <a:gd name="connsiteX3154" fmla="*/ 5435689 w 7631184"/>
              <a:gd name="connsiteY3154" fmla="*/ 5490351 h 6858054"/>
              <a:gd name="connsiteX3155" fmla="*/ 5425920 w 7631184"/>
              <a:gd name="connsiteY3155" fmla="*/ 5470813 h 6858054"/>
              <a:gd name="connsiteX3156" fmla="*/ 5416151 w 7631184"/>
              <a:gd name="connsiteY3156" fmla="*/ 5451274 h 6858054"/>
              <a:gd name="connsiteX3157" fmla="*/ 5406383 w 7631184"/>
              <a:gd name="connsiteY3157" fmla="*/ 5441505 h 6858054"/>
              <a:gd name="connsiteX3158" fmla="*/ 5406383 w 7631184"/>
              <a:gd name="connsiteY3158" fmla="*/ 5431735 h 6858054"/>
              <a:gd name="connsiteX3159" fmla="*/ 5406383 w 7631184"/>
              <a:gd name="connsiteY3159" fmla="*/ 5421966 h 6858054"/>
              <a:gd name="connsiteX3160" fmla="*/ 5396614 w 7631184"/>
              <a:gd name="connsiteY3160" fmla="*/ 5412197 h 6858054"/>
              <a:gd name="connsiteX3161" fmla="*/ 5386846 w 7631184"/>
              <a:gd name="connsiteY3161" fmla="*/ 5392658 h 6858054"/>
              <a:gd name="connsiteX3162" fmla="*/ 5377077 w 7631184"/>
              <a:gd name="connsiteY3162" fmla="*/ 5373119 h 6858054"/>
              <a:gd name="connsiteX3163" fmla="*/ 5367308 w 7631184"/>
              <a:gd name="connsiteY3163" fmla="*/ 5353581 h 6858054"/>
              <a:gd name="connsiteX3164" fmla="*/ 5347771 w 7631184"/>
              <a:gd name="connsiteY3164" fmla="*/ 5324273 h 6858054"/>
              <a:gd name="connsiteX3165" fmla="*/ 5338003 w 7631184"/>
              <a:gd name="connsiteY3165" fmla="*/ 5314504 h 6858054"/>
              <a:gd name="connsiteX3166" fmla="*/ 5328234 w 7631184"/>
              <a:gd name="connsiteY3166" fmla="*/ 5275426 h 6858054"/>
              <a:gd name="connsiteX3167" fmla="*/ 5298928 w 7631184"/>
              <a:gd name="connsiteY3167" fmla="*/ 5236349 h 6858054"/>
              <a:gd name="connsiteX3168" fmla="*/ 5279391 w 7631184"/>
              <a:gd name="connsiteY3168" fmla="*/ 5207041 h 6858054"/>
              <a:gd name="connsiteX3169" fmla="*/ 5259854 w 7631184"/>
              <a:gd name="connsiteY3169" fmla="*/ 5158195 h 6858054"/>
              <a:gd name="connsiteX3170" fmla="*/ 5250085 w 7631184"/>
              <a:gd name="connsiteY3170" fmla="*/ 5138656 h 6858054"/>
              <a:gd name="connsiteX3171" fmla="*/ 5220779 w 7631184"/>
              <a:gd name="connsiteY3171" fmla="*/ 5089810 h 6858054"/>
              <a:gd name="connsiteX3172" fmla="*/ 5211011 w 7631184"/>
              <a:gd name="connsiteY3172" fmla="*/ 5070271 h 6858054"/>
              <a:gd name="connsiteX3173" fmla="*/ 5191473 w 7631184"/>
              <a:gd name="connsiteY3173" fmla="*/ 5040963 h 6858054"/>
              <a:gd name="connsiteX3174" fmla="*/ 5162168 w 7631184"/>
              <a:gd name="connsiteY3174" fmla="*/ 5001886 h 6858054"/>
              <a:gd name="connsiteX3175" fmla="*/ 5142630 w 7631184"/>
              <a:gd name="connsiteY3175" fmla="*/ 4962809 h 6858054"/>
              <a:gd name="connsiteX3176" fmla="*/ 5113325 w 7631184"/>
              <a:gd name="connsiteY3176" fmla="*/ 4913962 h 6858054"/>
              <a:gd name="connsiteX3177" fmla="*/ 5084019 w 7631184"/>
              <a:gd name="connsiteY3177" fmla="*/ 4874885 h 6858054"/>
              <a:gd name="connsiteX3178" fmla="*/ 5074250 w 7631184"/>
              <a:gd name="connsiteY3178" fmla="*/ 4855346 h 6858054"/>
              <a:gd name="connsiteX3179" fmla="*/ 5064481 w 7631184"/>
              <a:gd name="connsiteY3179" fmla="*/ 4835808 h 6858054"/>
              <a:gd name="connsiteX3180" fmla="*/ 5044944 w 7631184"/>
              <a:gd name="connsiteY3180" fmla="*/ 4806500 h 6858054"/>
              <a:gd name="connsiteX3181" fmla="*/ 5015638 w 7631184"/>
              <a:gd name="connsiteY3181" fmla="*/ 4767422 h 6858054"/>
              <a:gd name="connsiteX3182" fmla="*/ 5005870 w 7631184"/>
              <a:gd name="connsiteY3182" fmla="*/ 4747884 h 6858054"/>
              <a:gd name="connsiteX3183" fmla="*/ 4996101 w 7631184"/>
              <a:gd name="connsiteY3183" fmla="*/ 4738114 h 6858054"/>
              <a:gd name="connsiteX3184" fmla="*/ 4996101 w 7631184"/>
              <a:gd name="connsiteY3184" fmla="*/ 4728345 h 6858054"/>
              <a:gd name="connsiteX3185" fmla="*/ 4986333 w 7631184"/>
              <a:gd name="connsiteY3185" fmla="*/ 4718576 h 6858054"/>
              <a:gd name="connsiteX3186" fmla="*/ 4966795 w 7631184"/>
              <a:gd name="connsiteY3186" fmla="*/ 4689268 h 6858054"/>
              <a:gd name="connsiteX3187" fmla="*/ 4966795 w 7631184"/>
              <a:gd name="connsiteY3187" fmla="*/ 4679499 h 6858054"/>
              <a:gd name="connsiteX3188" fmla="*/ 4957027 w 7631184"/>
              <a:gd name="connsiteY3188" fmla="*/ 4669729 h 6858054"/>
              <a:gd name="connsiteX3189" fmla="*/ 4927721 w 7631184"/>
              <a:gd name="connsiteY3189" fmla="*/ 4630652 h 6858054"/>
              <a:gd name="connsiteX3190" fmla="*/ 4859341 w 7631184"/>
              <a:gd name="connsiteY3190" fmla="*/ 4562267 h 6858054"/>
              <a:gd name="connsiteX3191" fmla="*/ 4849572 w 7631184"/>
              <a:gd name="connsiteY3191" fmla="*/ 4542728 h 6858054"/>
              <a:gd name="connsiteX3192" fmla="*/ 4843574 w 7631184"/>
              <a:gd name="connsiteY3192" fmla="*/ 4529531 h 6858054"/>
              <a:gd name="connsiteX3193" fmla="*/ 4849572 w 7631184"/>
              <a:gd name="connsiteY3193" fmla="*/ 4532959 h 6858054"/>
              <a:gd name="connsiteX3194" fmla="*/ 4830035 w 7631184"/>
              <a:gd name="connsiteY3194" fmla="*/ 4503651 h 6858054"/>
              <a:gd name="connsiteX3195" fmla="*/ 4810498 w 7631184"/>
              <a:gd name="connsiteY3195" fmla="*/ 4474343 h 6858054"/>
              <a:gd name="connsiteX3196" fmla="*/ 4800729 w 7631184"/>
              <a:gd name="connsiteY3196" fmla="*/ 4454805 h 6858054"/>
              <a:gd name="connsiteX3197" fmla="*/ 4761655 w 7631184"/>
              <a:gd name="connsiteY3197" fmla="*/ 4396189 h 6858054"/>
              <a:gd name="connsiteX3198" fmla="*/ 4732349 w 7631184"/>
              <a:gd name="connsiteY3198" fmla="*/ 4357111 h 6858054"/>
              <a:gd name="connsiteX3199" fmla="*/ 4703043 w 7631184"/>
              <a:gd name="connsiteY3199" fmla="*/ 4308265 h 6858054"/>
              <a:gd name="connsiteX3200" fmla="*/ 4673737 w 7631184"/>
              <a:gd name="connsiteY3200" fmla="*/ 4278957 h 6858054"/>
              <a:gd name="connsiteX3201" fmla="*/ 4663968 w 7631184"/>
              <a:gd name="connsiteY3201" fmla="*/ 4259418 h 6858054"/>
              <a:gd name="connsiteX3202" fmla="*/ 4644431 w 7631184"/>
              <a:gd name="connsiteY3202" fmla="*/ 4239880 h 6858054"/>
              <a:gd name="connsiteX3203" fmla="*/ 4634663 w 7631184"/>
              <a:gd name="connsiteY3203" fmla="*/ 4220341 h 6858054"/>
              <a:gd name="connsiteX3204" fmla="*/ 4615125 w 7631184"/>
              <a:gd name="connsiteY3204" fmla="*/ 4200803 h 6858054"/>
              <a:gd name="connsiteX3205" fmla="*/ 4595588 w 7631184"/>
              <a:gd name="connsiteY3205" fmla="*/ 4171495 h 6858054"/>
              <a:gd name="connsiteX3206" fmla="*/ 4576051 w 7631184"/>
              <a:gd name="connsiteY3206" fmla="*/ 4151956 h 6858054"/>
              <a:gd name="connsiteX3207" fmla="*/ 4556514 w 7631184"/>
              <a:gd name="connsiteY3207" fmla="*/ 4122648 h 6858054"/>
              <a:gd name="connsiteX3208" fmla="*/ 4536976 w 7631184"/>
              <a:gd name="connsiteY3208" fmla="*/ 4093340 h 6858054"/>
              <a:gd name="connsiteX3209" fmla="*/ 4527208 w 7631184"/>
              <a:gd name="connsiteY3209" fmla="*/ 4083571 h 6858054"/>
              <a:gd name="connsiteX3210" fmla="*/ 4507671 w 7631184"/>
              <a:gd name="connsiteY3210" fmla="*/ 4054263 h 6858054"/>
              <a:gd name="connsiteX3211" fmla="*/ 4497902 w 7631184"/>
              <a:gd name="connsiteY3211" fmla="*/ 4054263 h 6858054"/>
              <a:gd name="connsiteX3212" fmla="*/ 4497902 w 7631184"/>
              <a:gd name="connsiteY3212" fmla="*/ 4044494 h 6858054"/>
              <a:gd name="connsiteX3213" fmla="*/ 4488133 w 7631184"/>
              <a:gd name="connsiteY3213" fmla="*/ 4034724 h 6858054"/>
              <a:gd name="connsiteX3214" fmla="*/ 4478365 w 7631184"/>
              <a:gd name="connsiteY3214" fmla="*/ 4024955 h 6858054"/>
              <a:gd name="connsiteX3215" fmla="*/ 4468596 w 7631184"/>
              <a:gd name="connsiteY3215" fmla="*/ 4015186 h 6858054"/>
              <a:gd name="connsiteX3216" fmla="*/ 4429522 w 7631184"/>
              <a:gd name="connsiteY3216" fmla="*/ 3966339 h 6858054"/>
              <a:gd name="connsiteX3217" fmla="*/ 4419753 w 7631184"/>
              <a:gd name="connsiteY3217" fmla="*/ 3956570 h 6858054"/>
              <a:gd name="connsiteX3218" fmla="*/ 4400216 w 7631184"/>
              <a:gd name="connsiteY3218" fmla="*/ 3937031 h 6858054"/>
              <a:gd name="connsiteX3219" fmla="*/ 4380679 w 7631184"/>
              <a:gd name="connsiteY3219" fmla="*/ 3917493 h 6858054"/>
              <a:gd name="connsiteX3220" fmla="*/ 4341604 w 7631184"/>
              <a:gd name="connsiteY3220" fmla="*/ 3878415 h 6858054"/>
              <a:gd name="connsiteX3221" fmla="*/ 4322067 w 7631184"/>
              <a:gd name="connsiteY3221" fmla="*/ 3868646 h 6858054"/>
              <a:gd name="connsiteX3222" fmla="*/ 4312298 w 7631184"/>
              <a:gd name="connsiteY3222" fmla="*/ 3858877 h 6858054"/>
              <a:gd name="connsiteX3223" fmla="*/ 4322067 w 7631184"/>
              <a:gd name="connsiteY3223" fmla="*/ 3878415 h 6858054"/>
              <a:gd name="connsiteX3224" fmla="*/ 4380679 w 7631184"/>
              <a:gd name="connsiteY3224" fmla="*/ 3946800 h 6858054"/>
              <a:gd name="connsiteX3225" fmla="*/ 4400216 w 7631184"/>
              <a:gd name="connsiteY3225" fmla="*/ 3976108 h 6858054"/>
              <a:gd name="connsiteX3226" fmla="*/ 4429522 w 7631184"/>
              <a:gd name="connsiteY3226" fmla="*/ 4005416 h 6858054"/>
              <a:gd name="connsiteX3227" fmla="*/ 4449059 w 7631184"/>
              <a:gd name="connsiteY3227" fmla="*/ 4044494 h 6858054"/>
              <a:gd name="connsiteX3228" fmla="*/ 4468596 w 7631184"/>
              <a:gd name="connsiteY3228" fmla="*/ 4054263 h 6858054"/>
              <a:gd name="connsiteX3229" fmla="*/ 4497902 w 7631184"/>
              <a:gd name="connsiteY3229" fmla="*/ 4093340 h 6858054"/>
              <a:gd name="connsiteX3230" fmla="*/ 4576051 w 7631184"/>
              <a:gd name="connsiteY3230" fmla="*/ 4200803 h 6858054"/>
              <a:gd name="connsiteX3231" fmla="*/ 4576051 w 7631184"/>
              <a:gd name="connsiteY3231" fmla="*/ 4210572 h 6858054"/>
              <a:gd name="connsiteX3232" fmla="*/ 4566282 w 7631184"/>
              <a:gd name="connsiteY3232" fmla="*/ 4200803 h 6858054"/>
              <a:gd name="connsiteX3233" fmla="*/ 4566282 w 7631184"/>
              <a:gd name="connsiteY3233" fmla="*/ 4220341 h 6858054"/>
              <a:gd name="connsiteX3234" fmla="*/ 4576051 w 7631184"/>
              <a:gd name="connsiteY3234" fmla="*/ 4230110 h 6858054"/>
              <a:gd name="connsiteX3235" fmla="*/ 4585820 w 7631184"/>
              <a:gd name="connsiteY3235" fmla="*/ 4239880 h 6858054"/>
              <a:gd name="connsiteX3236" fmla="*/ 4585820 w 7631184"/>
              <a:gd name="connsiteY3236" fmla="*/ 4249649 h 6858054"/>
              <a:gd name="connsiteX3237" fmla="*/ 4595588 w 7631184"/>
              <a:gd name="connsiteY3237" fmla="*/ 4259418 h 6858054"/>
              <a:gd name="connsiteX3238" fmla="*/ 4605357 w 7631184"/>
              <a:gd name="connsiteY3238" fmla="*/ 4278957 h 6858054"/>
              <a:gd name="connsiteX3239" fmla="*/ 4644431 w 7631184"/>
              <a:gd name="connsiteY3239" fmla="*/ 4318034 h 6858054"/>
              <a:gd name="connsiteX3240" fmla="*/ 4703043 w 7631184"/>
              <a:gd name="connsiteY3240" fmla="*/ 4386419 h 6858054"/>
              <a:gd name="connsiteX3241" fmla="*/ 4732349 w 7631184"/>
              <a:gd name="connsiteY3241" fmla="*/ 4425497 h 6858054"/>
              <a:gd name="connsiteX3242" fmla="*/ 4771423 w 7631184"/>
              <a:gd name="connsiteY3242" fmla="*/ 4474343 h 6858054"/>
              <a:gd name="connsiteX3243" fmla="*/ 4781192 w 7631184"/>
              <a:gd name="connsiteY3243" fmla="*/ 4503651 h 6858054"/>
              <a:gd name="connsiteX3244" fmla="*/ 4800729 w 7631184"/>
              <a:gd name="connsiteY3244" fmla="*/ 4523190 h 6858054"/>
              <a:gd name="connsiteX3245" fmla="*/ 4810498 w 7631184"/>
              <a:gd name="connsiteY3245" fmla="*/ 4532959 h 6858054"/>
              <a:gd name="connsiteX3246" fmla="*/ 4810498 w 7631184"/>
              <a:gd name="connsiteY3246" fmla="*/ 4542728 h 6858054"/>
              <a:gd name="connsiteX3247" fmla="*/ 4820266 w 7631184"/>
              <a:gd name="connsiteY3247" fmla="*/ 4552498 h 6858054"/>
              <a:gd name="connsiteX3248" fmla="*/ 4839803 w 7631184"/>
              <a:gd name="connsiteY3248" fmla="*/ 4581806 h 6858054"/>
              <a:gd name="connsiteX3249" fmla="*/ 4849572 w 7631184"/>
              <a:gd name="connsiteY3249" fmla="*/ 4601344 h 6858054"/>
              <a:gd name="connsiteX3250" fmla="*/ 4849572 w 7631184"/>
              <a:gd name="connsiteY3250" fmla="*/ 4611113 h 6858054"/>
              <a:gd name="connsiteX3251" fmla="*/ 4869109 w 7631184"/>
              <a:gd name="connsiteY3251" fmla="*/ 4640421 h 6858054"/>
              <a:gd name="connsiteX3252" fmla="*/ 4888646 w 7631184"/>
              <a:gd name="connsiteY3252" fmla="*/ 4669729 h 6858054"/>
              <a:gd name="connsiteX3253" fmla="*/ 4898415 w 7631184"/>
              <a:gd name="connsiteY3253" fmla="*/ 4689268 h 6858054"/>
              <a:gd name="connsiteX3254" fmla="*/ 4927721 w 7631184"/>
              <a:gd name="connsiteY3254" fmla="*/ 4718576 h 6858054"/>
              <a:gd name="connsiteX3255" fmla="*/ 4947258 w 7631184"/>
              <a:gd name="connsiteY3255" fmla="*/ 4747884 h 6858054"/>
              <a:gd name="connsiteX3256" fmla="*/ 4966795 w 7631184"/>
              <a:gd name="connsiteY3256" fmla="*/ 4777192 h 6858054"/>
              <a:gd name="connsiteX3257" fmla="*/ 4976564 w 7631184"/>
              <a:gd name="connsiteY3257" fmla="*/ 4796730 h 6858054"/>
              <a:gd name="connsiteX3258" fmla="*/ 4986333 w 7631184"/>
              <a:gd name="connsiteY3258" fmla="*/ 4806500 h 6858054"/>
              <a:gd name="connsiteX3259" fmla="*/ 4986333 w 7631184"/>
              <a:gd name="connsiteY3259" fmla="*/ 4816269 h 6858054"/>
              <a:gd name="connsiteX3260" fmla="*/ 4976564 w 7631184"/>
              <a:gd name="connsiteY3260" fmla="*/ 4816269 h 6858054"/>
              <a:gd name="connsiteX3261" fmla="*/ 4957027 w 7631184"/>
              <a:gd name="connsiteY3261" fmla="*/ 4786961 h 6858054"/>
              <a:gd name="connsiteX3262" fmla="*/ 4908184 w 7631184"/>
              <a:gd name="connsiteY3262" fmla="*/ 4728345 h 6858054"/>
              <a:gd name="connsiteX3263" fmla="*/ 4917952 w 7631184"/>
              <a:gd name="connsiteY3263" fmla="*/ 4757653 h 6858054"/>
              <a:gd name="connsiteX3264" fmla="*/ 4937490 w 7631184"/>
              <a:gd name="connsiteY3264" fmla="*/ 4777192 h 6858054"/>
              <a:gd name="connsiteX3265" fmla="*/ 4947258 w 7631184"/>
              <a:gd name="connsiteY3265" fmla="*/ 4806500 h 6858054"/>
              <a:gd name="connsiteX3266" fmla="*/ 4986333 w 7631184"/>
              <a:gd name="connsiteY3266" fmla="*/ 4855346 h 6858054"/>
              <a:gd name="connsiteX3267" fmla="*/ 5005870 w 7631184"/>
              <a:gd name="connsiteY3267" fmla="*/ 4884654 h 6858054"/>
              <a:gd name="connsiteX3268" fmla="*/ 5035176 w 7631184"/>
              <a:gd name="connsiteY3268" fmla="*/ 4913962 h 6858054"/>
              <a:gd name="connsiteX3269" fmla="*/ 5044944 w 7631184"/>
              <a:gd name="connsiteY3269" fmla="*/ 4933501 h 6858054"/>
              <a:gd name="connsiteX3270" fmla="*/ 5044944 w 7631184"/>
              <a:gd name="connsiteY3270" fmla="*/ 4943270 h 6858054"/>
              <a:gd name="connsiteX3271" fmla="*/ 5044944 w 7631184"/>
              <a:gd name="connsiteY3271" fmla="*/ 4953039 h 6858054"/>
              <a:gd name="connsiteX3272" fmla="*/ 5015638 w 7631184"/>
              <a:gd name="connsiteY3272" fmla="*/ 4904193 h 6858054"/>
              <a:gd name="connsiteX3273" fmla="*/ 5005870 w 7631184"/>
              <a:gd name="connsiteY3273" fmla="*/ 4904193 h 6858054"/>
              <a:gd name="connsiteX3274" fmla="*/ 5025407 w 7631184"/>
              <a:gd name="connsiteY3274" fmla="*/ 4933501 h 6858054"/>
              <a:gd name="connsiteX3275" fmla="*/ 5025407 w 7631184"/>
              <a:gd name="connsiteY3275" fmla="*/ 4943270 h 6858054"/>
              <a:gd name="connsiteX3276" fmla="*/ 5035176 w 7631184"/>
              <a:gd name="connsiteY3276" fmla="*/ 4953039 h 6858054"/>
              <a:gd name="connsiteX3277" fmla="*/ 5044944 w 7631184"/>
              <a:gd name="connsiteY3277" fmla="*/ 4972578 h 6858054"/>
              <a:gd name="connsiteX3278" fmla="*/ 5064481 w 7631184"/>
              <a:gd name="connsiteY3278" fmla="*/ 5001886 h 6858054"/>
              <a:gd name="connsiteX3279" fmla="*/ 5074250 w 7631184"/>
              <a:gd name="connsiteY3279" fmla="*/ 5021424 h 6858054"/>
              <a:gd name="connsiteX3280" fmla="*/ 5084019 w 7631184"/>
              <a:gd name="connsiteY3280" fmla="*/ 5050732 h 6858054"/>
              <a:gd name="connsiteX3281" fmla="*/ 5093787 w 7631184"/>
              <a:gd name="connsiteY3281" fmla="*/ 5070271 h 6858054"/>
              <a:gd name="connsiteX3282" fmla="*/ 5093787 w 7631184"/>
              <a:gd name="connsiteY3282" fmla="*/ 5080040 h 6858054"/>
              <a:gd name="connsiteX3283" fmla="*/ 5103556 w 7631184"/>
              <a:gd name="connsiteY3283" fmla="*/ 5080040 h 6858054"/>
              <a:gd name="connsiteX3284" fmla="*/ 5123093 w 7631184"/>
              <a:gd name="connsiteY3284" fmla="*/ 5119117 h 6858054"/>
              <a:gd name="connsiteX3285" fmla="*/ 5132862 w 7631184"/>
              <a:gd name="connsiteY3285" fmla="*/ 5138656 h 6858054"/>
              <a:gd name="connsiteX3286" fmla="*/ 5142630 w 7631184"/>
              <a:gd name="connsiteY3286" fmla="*/ 5138656 h 6858054"/>
              <a:gd name="connsiteX3287" fmla="*/ 5152399 w 7631184"/>
              <a:gd name="connsiteY3287" fmla="*/ 5138656 h 6858054"/>
              <a:gd name="connsiteX3288" fmla="*/ 5162168 w 7631184"/>
              <a:gd name="connsiteY3288" fmla="*/ 5167964 h 6858054"/>
              <a:gd name="connsiteX3289" fmla="*/ 5170715 w 7631184"/>
              <a:gd name="connsiteY3289" fmla="*/ 5174070 h 6858054"/>
              <a:gd name="connsiteX3290" fmla="*/ 5171936 w 7631184"/>
              <a:gd name="connsiteY3290" fmla="*/ 5187503 h 6858054"/>
              <a:gd name="connsiteX3291" fmla="*/ 5162168 w 7631184"/>
              <a:gd name="connsiteY3291" fmla="*/ 5177733 h 6858054"/>
              <a:gd name="connsiteX3292" fmla="*/ 5142630 w 7631184"/>
              <a:gd name="connsiteY3292" fmla="*/ 5158195 h 6858054"/>
              <a:gd name="connsiteX3293" fmla="*/ 5162168 w 7631184"/>
              <a:gd name="connsiteY3293" fmla="*/ 5187503 h 6858054"/>
              <a:gd name="connsiteX3294" fmla="*/ 5181705 w 7631184"/>
              <a:gd name="connsiteY3294" fmla="*/ 5236349 h 6858054"/>
              <a:gd name="connsiteX3295" fmla="*/ 5191473 w 7631184"/>
              <a:gd name="connsiteY3295" fmla="*/ 5246118 h 6858054"/>
              <a:gd name="connsiteX3296" fmla="*/ 5211011 w 7631184"/>
              <a:gd name="connsiteY3296" fmla="*/ 5275426 h 6858054"/>
              <a:gd name="connsiteX3297" fmla="*/ 5220779 w 7631184"/>
              <a:gd name="connsiteY3297" fmla="*/ 5294965 h 6858054"/>
              <a:gd name="connsiteX3298" fmla="*/ 5230548 w 7631184"/>
              <a:gd name="connsiteY3298" fmla="*/ 5304734 h 6858054"/>
              <a:gd name="connsiteX3299" fmla="*/ 5230548 w 7631184"/>
              <a:gd name="connsiteY3299" fmla="*/ 5314504 h 6858054"/>
              <a:gd name="connsiteX3300" fmla="*/ 5240316 w 7631184"/>
              <a:gd name="connsiteY3300" fmla="*/ 5324273 h 6858054"/>
              <a:gd name="connsiteX3301" fmla="*/ 5250085 w 7631184"/>
              <a:gd name="connsiteY3301" fmla="*/ 5334042 h 6858054"/>
              <a:gd name="connsiteX3302" fmla="*/ 5269622 w 7631184"/>
              <a:gd name="connsiteY3302" fmla="*/ 5373119 h 6858054"/>
              <a:gd name="connsiteX3303" fmla="*/ 5279391 w 7631184"/>
              <a:gd name="connsiteY3303" fmla="*/ 5412197 h 6858054"/>
              <a:gd name="connsiteX3304" fmla="*/ 5289160 w 7631184"/>
              <a:gd name="connsiteY3304" fmla="*/ 5441505 h 6858054"/>
              <a:gd name="connsiteX3305" fmla="*/ 5298928 w 7631184"/>
              <a:gd name="connsiteY3305" fmla="*/ 5451274 h 6858054"/>
              <a:gd name="connsiteX3306" fmla="*/ 5308697 w 7631184"/>
              <a:gd name="connsiteY3306" fmla="*/ 5470813 h 6858054"/>
              <a:gd name="connsiteX3307" fmla="*/ 5318465 w 7631184"/>
              <a:gd name="connsiteY3307" fmla="*/ 5490351 h 6858054"/>
              <a:gd name="connsiteX3308" fmla="*/ 5328234 w 7631184"/>
              <a:gd name="connsiteY3308" fmla="*/ 5500120 h 6858054"/>
              <a:gd name="connsiteX3309" fmla="*/ 5338003 w 7631184"/>
              <a:gd name="connsiteY3309" fmla="*/ 5509890 h 6858054"/>
              <a:gd name="connsiteX3310" fmla="*/ 5338003 w 7631184"/>
              <a:gd name="connsiteY3310" fmla="*/ 5519659 h 6858054"/>
              <a:gd name="connsiteX3311" fmla="*/ 5377077 w 7631184"/>
              <a:gd name="connsiteY3311" fmla="*/ 5578275 h 6858054"/>
              <a:gd name="connsiteX3312" fmla="*/ 5386846 w 7631184"/>
              <a:gd name="connsiteY3312" fmla="*/ 5597814 h 6858054"/>
              <a:gd name="connsiteX3313" fmla="*/ 5406383 w 7631184"/>
              <a:gd name="connsiteY3313" fmla="*/ 5627121 h 6858054"/>
              <a:gd name="connsiteX3314" fmla="*/ 5435689 w 7631184"/>
              <a:gd name="connsiteY3314" fmla="*/ 5666199 h 6858054"/>
              <a:gd name="connsiteX3315" fmla="*/ 5464995 w 7631184"/>
              <a:gd name="connsiteY3315" fmla="*/ 5724815 h 6858054"/>
              <a:gd name="connsiteX3316" fmla="*/ 5474763 w 7631184"/>
              <a:gd name="connsiteY3316" fmla="*/ 5734584 h 6858054"/>
              <a:gd name="connsiteX3317" fmla="*/ 5474763 w 7631184"/>
              <a:gd name="connsiteY3317" fmla="*/ 5754122 h 6858054"/>
              <a:gd name="connsiteX3318" fmla="*/ 5494300 w 7631184"/>
              <a:gd name="connsiteY3318" fmla="*/ 5773661 h 6858054"/>
              <a:gd name="connsiteX3319" fmla="*/ 5504069 w 7631184"/>
              <a:gd name="connsiteY3319" fmla="*/ 5802969 h 6858054"/>
              <a:gd name="connsiteX3320" fmla="*/ 5513838 w 7631184"/>
              <a:gd name="connsiteY3320" fmla="*/ 5822508 h 6858054"/>
              <a:gd name="connsiteX3321" fmla="*/ 5523606 w 7631184"/>
              <a:gd name="connsiteY3321" fmla="*/ 5842046 h 6858054"/>
              <a:gd name="connsiteX3322" fmla="*/ 5533375 w 7631184"/>
              <a:gd name="connsiteY3322" fmla="*/ 5861585 h 6858054"/>
              <a:gd name="connsiteX3323" fmla="*/ 5552912 w 7631184"/>
              <a:gd name="connsiteY3323" fmla="*/ 5900662 h 6858054"/>
              <a:gd name="connsiteX3324" fmla="*/ 5572449 w 7631184"/>
              <a:gd name="connsiteY3324" fmla="*/ 5939739 h 6858054"/>
              <a:gd name="connsiteX3325" fmla="*/ 5582218 w 7631184"/>
              <a:gd name="connsiteY3325" fmla="*/ 5949509 h 6858054"/>
              <a:gd name="connsiteX3326" fmla="*/ 5591986 w 7631184"/>
              <a:gd name="connsiteY3326" fmla="*/ 5978817 h 6858054"/>
              <a:gd name="connsiteX3327" fmla="*/ 5601755 w 7631184"/>
              <a:gd name="connsiteY3327" fmla="*/ 5998355 h 6858054"/>
              <a:gd name="connsiteX3328" fmla="*/ 5611524 w 7631184"/>
              <a:gd name="connsiteY3328" fmla="*/ 6017894 h 6858054"/>
              <a:gd name="connsiteX3329" fmla="*/ 5621292 w 7631184"/>
              <a:gd name="connsiteY3329" fmla="*/ 6037432 h 6858054"/>
              <a:gd name="connsiteX3330" fmla="*/ 5640830 w 7631184"/>
              <a:gd name="connsiteY3330" fmla="*/ 6076510 h 6858054"/>
              <a:gd name="connsiteX3331" fmla="*/ 5660367 w 7631184"/>
              <a:gd name="connsiteY3331" fmla="*/ 6105818 h 6858054"/>
              <a:gd name="connsiteX3332" fmla="*/ 5689673 w 7631184"/>
              <a:gd name="connsiteY3332" fmla="*/ 6164433 h 6858054"/>
              <a:gd name="connsiteX3333" fmla="*/ 5689673 w 7631184"/>
              <a:gd name="connsiteY3333" fmla="*/ 6174203 h 6858054"/>
              <a:gd name="connsiteX3334" fmla="*/ 5709210 w 7631184"/>
              <a:gd name="connsiteY3334" fmla="*/ 6203511 h 6858054"/>
              <a:gd name="connsiteX3335" fmla="*/ 5728747 w 7631184"/>
              <a:gd name="connsiteY3335" fmla="*/ 6252357 h 6858054"/>
              <a:gd name="connsiteX3336" fmla="*/ 5738516 w 7631184"/>
              <a:gd name="connsiteY3336" fmla="*/ 6271896 h 6858054"/>
              <a:gd name="connsiteX3337" fmla="*/ 5738516 w 7631184"/>
              <a:gd name="connsiteY3337" fmla="*/ 6281665 h 6858054"/>
              <a:gd name="connsiteX3338" fmla="*/ 5748284 w 7631184"/>
              <a:gd name="connsiteY3338" fmla="*/ 6301204 h 6858054"/>
              <a:gd name="connsiteX3339" fmla="*/ 5758053 w 7631184"/>
              <a:gd name="connsiteY3339" fmla="*/ 6310973 h 6858054"/>
              <a:gd name="connsiteX3340" fmla="*/ 5758053 w 7631184"/>
              <a:gd name="connsiteY3340" fmla="*/ 6320742 h 6858054"/>
              <a:gd name="connsiteX3341" fmla="*/ 5758053 w 7631184"/>
              <a:gd name="connsiteY3341" fmla="*/ 6330512 h 6858054"/>
              <a:gd name="connsiteX3342" fmla="*/ 5767822 w 7631184"/>
              <a:gd name="connsiteY3342" fmla="*/ 6340281 h 6858054"/>
              <a:gd name="connsiteX3343" fmla="*/ 5787359 w 7631184"/>
              <a:gd name="connsiteY3343" fmla="*/ 6359820 h 6858054"/>
              <a:gd name="connsiteX3344" fmla="*/ 5806896 w 7631184"/>
              <a:gd name="connsiteY3344" fmla="*/ 6398897 h 6858054"/>
              <a:gd name="connsiteX3345" fmla="*/ 5816665 w 7631184"/>
              <a:gd name="connsiteY3345" fmla="*/ 6437974 h 6858054"/>
              <a:gd name="connsiteX3346" fmla="*/ 5826433 w 7631184"/>
              <a:gd name="connsiteY3346" fmla="*/ 6447743 h 6858054"/>
              <a:gd name="connsiteX3347" fmla="*/ 5855739 w 7631184"/>
              <a:gd name="connsiteY3347" fmla="*/ 6496590 h 6858054"/>
              <a:gd name="connsiteX3348" fmla="*/ 5836202 w 7631184"/>
              <a:gd name="connsiteY3348" fmla="*/ 6477051 h 6858054"/>
              <a:gd name="connsiteX3349" fmla="*/ 5816665 w 7631184"/>
              <a:gd name="connsiteY3349" fmla="*/ 6457513 h 6858054"/>
              <a:gd name="connsiteX3350" fmla="*/ 5806896 w 7631184"/>
              <a:gd name="connsiteY3350" fmla="*/ 6457513 h 6858054"/>
              <a:gd name="connsiteX3351" fmla="*/ 5816665 w 7631184"/>
              <a:gd name="connsiteY3351" fmla="*/ 6486821 h 6858054"/>
              <a:gd name="connsiteX3352" fmla="*/ 5816665 w 7631184"/>
              <a:gd name="connsiteY3352" fmla="*/ 6496590 h 6858054"/>
              <a:gd name="connsiteX3353" fmla="*/ 5826433 w 7631184"/>
              <a:gd name="connsiteY3353" fmla="*/ 6506359 h 6858054"/>
              <a:gd name="connsiteX3354" fmla="*/ 5836202 w 7631184"/>
              <a:gd name="connsiteY3354" fmla="*/ 6525898 h 6858054"/>
              <a:gd name="connsiteX3355" fmla="*/ 5845970 w 7631184"/>
              <a:gd name="connsiteY3355" fmla="*/ 6545436 h 6858054"/>
              <a:gd name="connsiteX3356" fmla="*/ 5855739 w 7631184"/>
              <a:gd name="connsiteY3356" fmla="*/ 6574744 h 6858054"/>
              <a:gd name="connsiteX3357" fmla="*/ 5865508 w 7631184"/>
              <a:gd name="connsiteY3357" fmla="*/ 6604052 h 6858054"/>
              <a:gd name="connsiteX3358" fmla="*/ 5875276 w 7631184"/>
              <a:gd name="connsiteY3358" fmla="*/ 6623591 h 6858054"/>
              <a:gd name="connsiteX3359" fmla="*/ 5885045 w 7631184"/>
              <a:gd name="connsiteY3359" fmla="*/ 6643129 h 6858054"/>
              <a:gd name="connsiteX3360" fmla="*/ 5894813 w 7631184"/>
              <a:gd name="connsiteY3360" fmla="*/ 6672437 h 6858054"/>
              <a:gd name="connsiteX3361" fmla="*/ 5914351 w 7631184"/>
              <a:gd name="connsiteY3361" fmla="*/ 6721284 h 6858054"/>
              <a:gd name="connsiteX3362" fmla="*/ 5924119 w 7631184"/>
              <a:gd name="connsiteY3362" fmla="*/ 6740823 h 6858054"/>
              <a:gd name="connsiteX3363" fmla="*/ 5914351 w 7631184"/>
              <a:gd name="connsiteY3363" fmla="*/ 6731053 h 6858054"/>
              <a:gd name="connsiteX3364" fmla="*/ 5894813 w 7631184"/>
              <a:gd name="connsiteY3364" fmla="*/ 6691976 h 6858054"/>
              <a:gd name="connsiteX3365" fmla="*/ 5875276 w 7631184"/>
              <a:gd name="connsiteY3365" fmla="*/ 6652899 h 6858054"/>
              <a:gd name="connsiteX3366" fmla="*/ 5855739 w 7631184"/>
              <a:gd name="connsiteY3366" fmla="*/ 6594283 h 6858054"/>
              <a:gd name="connsiteX3367" fmla="*/ 5826433 w 7631184"/>
              <a:gd name="connsiteY3367" fmla="*/ 6555206 h 6858054"/>
              <a:gd name="connsiteX3368" fmla="*/ 5806896 w 7631184"/>
              <a:gd name="connsiteY3368" fmla="*/ 6535667 h 6858054"/>
              <a:gd name="connsiteX3369" fmla="*/ 5797127 w 7631184"/>
              <a:gd name="connsiteY3369" fmla="*/ 6525898 h 6858054"/>
              <a:gd name="connsiteX3370" fmla="*/ 5787359 w 7631184"/>
              <a:gd name="connsiteY3370" fmla="*/ 6516128 h 6858054"/>
              <a:gd name="connsiteX3371" fmla="*/ 5777590 w 7631184"/>
              <a:gd name="connsiteY3371" fmla="*/ 6496590 h 6858054"/>
              <a:gd name="connsiteX3372" fmla="*/ 5787359 w 7631184"/>
              <a:gd name="connsiteY3372" fmla="*/ 6506359 h 6858054"/>
              <a:gd name="connsiteX3373" fmla="*/ 5806896 w 7631184"/>
              <a:gd name="connsiteY3373" fmla="*/ 6516128 h 6858054"/>
              <a:gd name="connsiteX3374" fmla="*/ 5787359 w 7631184"/>
              <a:gd name="connsiteY3374" fmla="*/ 6477051 h 6858054"/>
              <a:gd name="connsiteX3375" fmla="*/ 5777590 w 7631184"/>
              <a:gd name="connsiteY3375" fmla="*/ 6477051 h 6858054"/>
              <a:gd name="connsiteX3376" fmla="*/ 5758053 w 7631184"/>
              <a:gd name="connsiteY3376" fmla="*/ 6467282 h 6858054"/>
              <a:gd name="connsiteX3377" fmla="*/ 5758053 w 7631184"/>
              <a:gd name="connsiteY3377" fmla="*/ 6447743 h 6858054"/>
              <a:gd name="connsiteX3378" fmla="*/ 5748284 w 7631184"/>
              <a:gd name="connsiteY3378" fmla="*/ 6428205 h 6858054"/>
              <a:gd name="connsiteX3379" fmla="*/ 5728747 w 7631184"/>
              <a:gd name="connsiteY3379" fmla="*/ 6418435 h 6858054"/>
              <a:gd name="connsiteX3380" fmla="*/ 5718978 w 7631184"/>
              <a:gd name="connsiteY3380" fmla="*/ 6398897 h 6858054"/>
              <a:gd name="connsiteX3381" fmla="*/ 5709210 w 7631184"/>
              <a:gd name="connsiteY3381" fmla="*/ 6379358 h 6858054"/>
              <a:gd name="connsiteX3382" fmla="*/ 5699441 w 7631184"/>
              <a:gd name="connsiteY3382" fmla="*/ 6359820 h 6858054"/>
              <a:gd name="connsiteX3383" fmla="*/ 5670135 w 7631184"/>
              <a:gd name="connsiteY3383" fmla="*/ 6310973 h 6858054"/>
              <a:gd name="connsiteX3384" fmla="*/ 5660367 w 7631184"/>
              <a:gd name="connsiteY3384" fmla="*/ 6291434 h 6858054"/>
              <a:gd name="connsiteX3385" fmla="*/ 5650598 w 7631184"/>
              <a:gd name="connsiteY3385" fmla="*/ 6271896 h 6858054"/>
              <a:gd name="connsiteX3386" fmla="*/ 5650598 w 7631184"/>
              <a:gd name="connsiteY3386" fmla="*/ 6252357 h 6858054"/>
              <a:gd name="connsiteX3387" fmla="*/ 5640830 w 7631184"/>
              <a:gd name="connsiteY3387" fmla="*/ 6232819 h 6858054"/>
              <a:gd name="connsiteX3388" fmla="*/ 5631061 w 7631184"/>
              <a:gd name="connsiteY3388" fmla="*/ 6232819 h 6858054"/>
              <a:gd name="connsiteX3389" fmla="*/ 5631061 w 7631184"/>
              <a:gd name="connsiteY3389" fmla="*/ 6223049 h 6858054"/>
              <a:gd name="connsiteX3390" fmla="*/ 5621292 w 7631184"/>
              <a:gd name="connsiteY3390" fmla="*/ 6213280 h 6858054"/>
              <a:gd name="connsiteX3391" fmla="*/ 5621292 w 7631184"/>
              <a:gd name="connsiteY3391" fmla="*/ 6203511 h 6858054"/>
              <a:gd name="connsiteX3392" fmla="*/ 5621292 w 7631184"/>
              <a:gd name="connsiteY3392" fmla="*/ 6183972 h 6858054"/>
              <a:gd name="connsiteX3393" fmla="*/ 5611524 w 7631184"/>
              <a:gd name="connsiteY3393" fmla="*/ 6174203 h 6858054"/>
              <a:gd name="connsiteX3394" fmla="*/ 5601755 w 7631184"/>
              <a:gd name="connsiteY3394" fmla="*/ 6154664 h 6858054"/>
              <a:gd name="connsiteX3395" fmla="*/ 5572449 w 7631184"/>
              <a:gd name="connsiteY3395" fmla="*/ 6096048 h 6858054"/>
              <a:gd name="connsiteX3396" fmla="*/ 5562681 w 7631184"/>
              <a:gd name="connsiteY3396" fmla="*/ 6086279 h 6858054"/>
              <a:gd name="connsiteX3397" fmla="*/ 5562681 w 7631184"/>
              <a:gd name="connsiteY3397" fmla="*/ 6076510 h 6858054"/>
              <a:gd name="connsiteX3398" fmla="*/ 5552912 w 7631184"/>
              <a:gd name="connsiteY3398" fmla="*/ 6066740 h 6858054"/>
              <a:gd name="connsiteX3399" fmla="*/ 5552912 w 7631184"/>
              <a:gd name="connsiteY3399" fmla="*/ 6056971 h 6858054"/>
              <a:gd name="connsiteX3400" fmla="*/ 5543143 w 7631184"/>
              <a:gd name="connsiteY3400" fmla="*/ 6047202 h 6858054"/>
              <a:gd name="connsiteX3401" fmla="*/ 5513838 w 7631184"/>
              <a:gd name="connsiteY3401" fmla="*/ 5988586 h 6858054"/>
              <a:gd name="connsiteX3402" fmla="*/ 5504069 w 7631184"/>
              <a:gd name="connsiteY3402" fmla="*/ 5978817 h 6858054"/>
              <a:gd name="connsiteX3403" fmla="*/ 5504069 w 7631184"/>
              <a:gd name="connsiteY3403" fmla="*/ 5959278 h 6858054"/>
              <a:gd name="connsiteX3404" fmla="*/ 5504069 w 7631184"/>
              <a:gd name="connsiteY3404" fmla="*/ 5949509 h 6858054"/>
              <a:gd name="connsiteX3405" fmla="*/ 5494300 w 7631184"/>
              <a:gd name="connsiteY3405" fmla="*/ 5920201 h 6858054"/>
              <a:gd name="connsiteX3406" fmla="*/ 5484532 w 7631184"/>
              <a:gd name="connsiteY3406" fmla="*/ 5920201 h 6858054"/>
              <a:gd name="connsiteX3407" fmla="*/ 5455226 w 7631184"/>
              <a:gd name="connsiteY3407" fmla="*/ 5890893 h 6858054"/>
              <a:gd name="connsiteX3408" fmla="*/ 5464995 w 7631184"/>
              <a:gd name="connsiteY3408" fmla="*/ 5890893 h 6858054"/>
              <a:gd name="connsiteX3409" fmla="*/ 5464995 w 7631184"/>
              <a:gd name="connsiteY3409" fmla="*/ 5871354 h 6858054"/>
              <a:gd name="connsiteX3410" fmla="*/ 5455226 w 7631184"/>
              <a:gd name="connsiteY3410" fmla="*/ 5871354 h 6858054"/>
              <a:gd name="connsiteX3411" fmla="*/ 5445457 w 7631184"/>
              <a:gd name="connsiteY3411" fmla="*/ 5861585 h 6858054"/>
              <a:gd name="connsiteX3412" fmla="*/ 5435689 w 7631184"/>
              <a:gd name="connsiteY3412" fmla="*/ 5842046 h 6858054"/>
              <a:gd name="connsiteX3413" fmla="*/ 5435689 w 7631184"/>
              <a:gd name="connsiteY3413" fmla="*/ 5832277 h 6858054"/>
              <a:gd name="connsiteX3414" fmla="*/ 5425920 w 7631184"/>
              <a:gd name="connsiteY3414" fmla="*/ 5812738 h 6858054"/>
              <a:gd name="connsiteX3415" fmla="*/ 5425920 w 7631184"/>
              <a:gd name="connsiteY3415" fmla="*/ 5802969 h 6858054"/>
              <a:gd name="connsiteX3416" fmla="*/ 5425920 w 7631184"/>
              <a:gd name="connsiteY3416" fmla="*/ 5793200 h 6858054"/>
              <a:gd name="connsiteX3417" fmla="*/ 5416151 w 7631184"/>
              <a:gd name="connsiteY3417" fmla="*/ 5783430 h 6858054"/>
              <a:gd name="connsiteX3418" fmla="*/ 5396614 w 7631184"/>
              <a:gd name="connsiteY3418" fmla="*/ 5754122 h 6858054"/>
              <a:gd name="connsiteX3419" fmla="*/ 5367308 w 7631184"/>
              <a:gd name="connsiteY3419" fmla="*/ 5724815 h 6858054"/>
              <a:gd name="connsiteX3420" fmla="*/ 5357540 w 7631184"/>
              <a:gd name="connsiteY3420" fmla="*/ 5715045 h 6858054"/>
              <a:gd name="connsiteX3421" fmla="*/ 5338003 w 7631184"/>
              <a:gd name="connsiteY3421" fmla="*/ 5695507 h 6858054"/>
              <a:gd name="connsiteX3422" fmla="*/ 5318465 w 7631184"/>
              <a:gd name="connsiteY3422" fmla="*/ 5675968 h 6858054"/>
              <a:gd name="connsiteX3423" fmla="*/ 5318465 w 7631184"/>
              <a:gd name="connsiteY3423" fmla="*/ 5695507 h 6858054"/>
              <a:gd name="connsiteX3424" fmla="*/ 5328234 w 7631184"/>
              <a:gd name="connsiteY3424" fmla="*/ 5715045 h 6858054"/>
              <a:gd name="connsiteX3425" fmla="*/ 5338003 w 7631184"/>
              <a:gd name="connsiteY3425" fmla="*/ 5734584 h 6858054"/>
              <a:gd name="connsiteX3426" fmla="*/ 5347771 w 7631184"/>
              <a:gd name="connsiteY3426" fmla="*/ 5754122 h 6858054"/>
              <a:gd name="connsiteX3427" fmla="*/ 5357540 w 7631184"/>
              <a:gd name="connsiteY3427" fmla="*/ 5763892 h 6858054"/>
              <a:gd name="connsiteX3428" fmla="*/ 5367308 w 7631184"/>
              <a:gd name="connsiteY3428" fmla="*/ 5783430 h 6858054"/>
              <a:gd name="connsiteX3429" fmla="*/ 5377077 w 7631184"/>
              <a:gd name="connsiteY3429" fmla="*/ 5812738 h 6858054"/>
              <a:gd name="connsiteX3430" fmla="*/ 5416151 w 7631184"/>
              <a:gd name="connsiteY3430" fmla="*/ 5861585 h 6858054"/>
              <a:gd name="connsiteX3431" fmla="*/ 5416151 w 7631184"/>
              <a:gd name="connsiteY3431" fmla="*/ 5881123 h 6858054"/>
              <a:gd name="connsiteX3432" fmla="*/ 5435689 w 7631184"/>
              <a:gd name="connsiteY3432" fmla="*/ 5910431 h 6858054"/>
              <a:gd name="connsiteX3433" fmla="*/ 5445457 w 7631184"/>
              <a:gd name="connsiteY3433" fmla="*/ 5929970 h 6858054"/>
              <a:gd name="connsiteX3434" fmla="*/ 5445457 w 7631184"/>
              <a:gd name="connsiteY3434" fmla="*/ 5939739 h 6858054"/>
              <a:gd name="connsiteX3435" fmla="*/ 5455226 w 7631184"/>
              <a:gd name="connsiteY3435" fmla="*/ 5959278 h 6858054"/>
              <a:gd name="connsiteX3436" fmla="*/ 5474763 w 7631184"/>
              <a:gd name="connsiteY3436" fmla="*/ 5988586 h 6858054"/>
              <a:gd name="connsiteX3437" fmla="*/ 5494300 w 7631184"/>
              <a:gd name="connsiteY3437" fmla="*/ 6017894 h 6858054"/>
              <a:gd name="connsiteX3438" fmla="*/ 5513838 w 7631184"/>
              <a:gd name="connsiteY3438" fmla="*/ 6066740 h 6858054"/>
              <a:gd name="connsiteX3439" fmla="*/ 5533375 w 7631184"/>
              <a:gd name="connsiteY3439" fmla="*/ 6105818 h 6858054"/>
              <a:gd name="connsiteX3440" fmla="*/ 5533375 w 7631184"/>
              <a:gd name="connsiteY3440" fmla="*/ 6115587 h 6858054"/>
              <a:gd name="connsiteX3441" fmla="*/ 5562681 w 7631184"/>
              <a:gd name="connsiteY3441" fmla="*/ 6174203 h 6858054"/>
              <a:gd name="connsiteX3442" fmla="*/ 5572449 w 7631184"/>
              <a:gd name="connsiteY3442" fmla="*/ 6183972 h 6858054"/>
              <a:gd name="connsiteX3443" fmla="*/ 5582218 w 7631184"/>
              <a:gd name="connsiteY3443" fmla="*/ 6203511 h 6858054"/>
              <a:gd name="connsiteX3444" fmla="*/ 5591986 w 7631184"/>
              <a:gd name="connsiteY3444" fmla="*/ 6213280 h 6858054"/>
              <a:gd name="connsiteX3445" fmla="*/ 5601755 w 7631184"/>
              <a:gd name="connsiteY3445" fmla="*/ 6242588 h 6858054"/>
              <a:gd name="connsiteX3446" fmla="*/ 5611524 w 7631184"/>
              <a:gd name="connsiteY3446" fmla="*/ 6262126 h 6858054"/>
              <a:gd name="connsiteX3447" fmla="*/ 5621292 w 7631184"/>
              <a:gd name="connsiteY3447" fmla="*/ 6291434 h 6858054"/>
              <a:gd name="connsiteX3448" fmla="*/ 5631061 w 7631184"/>
              <a:gd name="connsiteY3448" fmla="*/ 6320742 h 6858054"/>
              <a:gd name="connsiteX3449" fmla="*/ 5640830 w 7631184"/>
              <a:gd name="connsiteY3449" fmla="*/ 6330512 h 6858054"/>
              <a:gd name="connsiteX3450" fmla="*/ 5640830 w 7631184"/>
              <a:gd name="connsiteY3450" fmla="*/ 6350050 h 6858054"/>
              <a:gd name="connsiteX3451" fmla="*/ 5660367 w 7631184"/>
              <a:gd name="connsiteY3451" fmla="*/ 6379358 h 6858054"/>
              <a:gd name="connsiteX3452" fmla="*/ 5679904 w 7631184"/>
              <a:gd name="connsiteY3452" fmla="*/ 6418435 h 6858054"/>
              <a:gd name="connsiteX3453" fmla="*/ 5679904 w 7631184"/>
              <a:gd name="connsiteY3453" fmla="*/ 6437974 h 6858054"/>
              <a:gd name="connsiteX3454" fmla="*/ 5679904 w 7631184"/>
              <a:gd name="connsiteY3454" fmla="*/ 6467282 h 6858054"/>
              <a:gd name="connsiteX3455" fmla="*/ 5689673 w 7631184"/>
              <a:gd name="connsiteY3455" fmla="*/ 6486821 h 6858054"/>
              <a:gd name="connsiteX3456" fmla="*/ 5689673 w 7631184"/>
              <a:gd name="connsiteY3456" fmla="*/ 6496590 h 6858054"/>
              <a:gd name="connsiteX3457" fmla="*/ 5709210 w 7631184"/>
              <a:gd name="connsiteY3457" fmla="*/ 6545436 h 6858054"/>
              <a:gd name="connsiteX3458" fmla="*/ 5718978 w 7631184"/>
              <a:gd name="connsiteY3458" fmla="*/ 6555206 h 6858054"/>
              <a:gd name="connsiteX3459" fmla="*/ 5738516 w 7631184"/>
              <a:gd name="connsiteY3459" fmla="*/ 6623591 h 6858054"/>
              <a:gd name="connsiteX3460" fmla="*/ 5718978 w 7631184"/>
              <a:gd name="connsiteY3460" fmla="*/ 6574744 h 6858054"/>
              <a:gd name="connsiteX3461" fmla="*/ 5709210 w 7631184"/>
              <a:gd name="connsiteY3461" fmla="*/ 6564975 h 6858054"/>
              <a:gd name="connsiteX3462" fmla="*/ 5699441 w 7631184"/>
              <a:gd name="connsiteY3462" fmla="*/ 6555206 h 6858054"/>
              <a:gd name="connsiteX3463" fmla="*/ 5689673 w 7631184"/>
              <a:gd name="connsiteY3463" fmla="*/ 6545436 h 6858054"/>
              <a:gd name="connsiteX3464" fmla="*/ 5689673 w 7631184"/>
              <a:gd name="connsiteY3464" fmla="*/ 6535667 h 6858054"/>
              <a:gd name="connsiteX3465" fmla="*/ 5679904 w 7631184"/>
              <a:gd name="connsiteY3465" fmla="*/ 6545436 h 6858054"/>
              <a:gd name="connsiteX3466" fmla="*/ 5679904 w 7631184"/>
              <a:gd name="connsiteY3466" fmla="*/ 6584514 h 6858054"/>
              <a:gd name="connsiteX3467" fmla="*/ 5679904 w 7631184"/>
              <a:gd name="connsiteY3467" fmla="*/ 6604052 h 6858054"/>
              <a:gd name="connsiteX3468" fmla="*/ 5689673 w 7631184"/>
              <a:gd name="connsiteY3468" fmla="*/ 6623591 h 6858054"/>
              <a:gd name="connsiteX3469" fmla="*/ 5699441 w 7631184"/>
              <a:gd name="connsiteY3469" fmla="*/ 6672437 h 6858054"/>
              <a:gd name="connsiteX3470" fmla="*/ 5689673 w 7631184"/>
              <a:gd name="connsiteY3470" fmla="*/ 6643129 h 6858054"/>
              <a:gd name="connsiteX3471" fmla="*/ 5689673 w 7631184"/>
              <a:gd name="connsiteY3471" fmla="*/ 6633360 h 6858054"/>
              <a:gd name="connsiteX3472" fmla="*/ 5679904 w 7631184"/>
              <a:gd name="connsiteY3472" fmla="*/ 6613822 h 6858054"/>
              <a:gd name="connsiteX3473" fmla="*/ 5670135 w 7631184"/>
              <a:gd name="connsiteY3473" fmla="*/ 6594283 h 6858054"/>
              <a:gd name="connsiteX3474" fmla="*/ 5660367 w 7631184"/>
              <a:gd name="connsiteY3474" fmla="*/ 6574744 h 6858054"/>
              <a:gd name="connsiteX3475" fmla="*/ 5640830 w 7631184"/>
              <a:gd name="connsiteY3475" fmla="*/ 6555206 h 6858054"/>
              <a:gd name="connsiteX3476" fmla="*/ 5621292 w 7631184"/>
              <a:gd name="connsiteY3476" fmla="*/ 6506359 h 6858054"/>
              <a:gd name="connsiteX3477" fmla="*/ 5611524 w 7631184"/>
              <a:gd name="connsiteY3477" fmla="*/ 6486821 h 6858054"/>
              <a:gd name="connsiteX3478" fmla="*/ 5601755 w 7631184"/>
              <a:gd name="connsiteY3478" fmla="*/ 6477051 h 6858054"/>
              <a:gd name="connsiteX3479" fmla="*/ 5601755 w 7631184"/>
              <a:gd name="connsiteY3479" fmla="*/ 6457513 h 6858054"/>
              <a:gd name="connsiteX3480" fmla="*/ 5591986 w 7631184"/>
              <a:gd name="connsiteY3480" fmla="*/ 6428205 h 6858054"/>
              <a:gd name="connsiteX3481" fmla="*/ 5572449 w 7631184"/>
              <a:gd name="connsiteY3481" fmla="*/ 6398897 h 6858054"/>
              <a:gd name="connsiteX3482" fmla="*/ 5572449 w 7631184"/>
              <a:gd name="connsiteY3482" fmla="*/ 6389127 h 6858054"/>
              <a:gd name="connsiteX3483" fmla="*/ 5562681 w 7631184"/>
              <a:gd name="connsiteY3483" fmla="*/ 6379358 h 6858054"/>
              <a:gd name="connsiteX3484" fmla="*/ 5552912 w 7631184"/>
              <a:gd name="connsiteY3484" fmla="*/ 6359820 h 6858054"/>
              <a:gd name="connsiteX3485" fmla="*/ 5533375 w 7631184"/>
              <a:gd name="connsiteY3485" fmla="*/ 6330512 h 6858054"/>
              <a:gd name="connsiteX3486" fmla="*/ 5533375 w 7631184"/>
              <a:gd name="connsiteY3486" fmla="*/ 6320742 h 6858054"/>
              <a:gd name="connsiteX3487" fmla="*/ 5494300 w 7631184"/>
              <a:gd name="connsiteY3487" fmla="*/ 6262126 h 6858054"/>
              <a:gd name="connsiteX3488" fmla="*/ 5464995 w 7631184"/>
              <a:gd name="connsiteY3488" fmla="*/ 6223049 h 6858054"/>
              <a:gd name="connsiteX3489" fmla="*/ 5455226 w 7631184"/>
              <a:gd name="connsiteY3489" fmla="*/ 6213280 h 6858054"/>
              <a:gd name="connsiteX3490" fmla="*/ 5435689 w 7631184"/>
              <a:gd name="connsiteY3490" fmla="*/ 6183972 h 6858054"/>
              <a:gd name="connsiteX3491" fmla="*/ 5435689 w 7631184"/>
              <a:gd name="connsiteY3491" fmla="*/ 6193741 h 6858054"/>
              <a:gd name="connsiteX3492" fmla="*/ 5435689 w 7631184"/>
              <a:gd name="connsiteY3492" fmla="*/ 6203511 h 6858054"/>
              <a:gd name="connsiteX3493" fmla="*/ 5435689 w 7631184"/>
              <a:gd name="connsiteY3493" fmla="*/ 6213280 h 6858054"/>
              <a:gd name="connsiteX3494" fmla="*/ 5416151 w 7631184"/>
              <a:gd name="connsiteY3494" fmla="*/ 6174203 h 6858054"/>
              <a:gd name="connsiteX3495" fmla="*/ 5396614 w 7631184"/>
              <a:gd name="connsiteY3495" fmla="*/ 6135125 h 6858054"/>
              <a:gd name="connsiteX3496" fmla="*/ 5386846 w 7631184"/>
              <a:gd name="connsiteY3496" fmla="*/ 6125356 h 6858054"/>
              <a:gd name="connsiteX3497" fmla="*/ 5386846 w 7631184"/>
              <a:gd name="connsiteY3497" fmla="*/ 6115587 h 6858054"/>
              <a:gd name="connsiteX3498" fmla="*/ 5377077 w 7631184"/>
              <a:gd name="connsiteY3498" fmla="*/ 6105818 h 6858054"/>
              <a:gd name="connsiteX3499" fmla="*/ 5367308 w 7631184"/>
              <a:gd name="connsiteY3499" fmla="*/ 6086279 h 6858054"/>
              <a:gd name="connsiteX3500" fmla="*/ 5338003 w 7631184"/>
              <a:gd name="connsiteY3500" fmla="*/ 6017894 h 6858054"/>
              <a:gd name="connsiteX3501" fmla="*/ 5318465 w 7631184"/>
              <a:gd name="connsiteY3501" fmla="*/ 5988586 h 6858054"/>
              <a:gd name="connsiteX3502" fmla="*/ 5298928 w 7631184"/>
              <a:gd name="connsiteY3502" fmla="*/ 5969047 h 6858054"/>
              <a:gd name="connsiteX3503" fmla="*/ 5289160 w 7631184"/>
              <a:gd name="connsiteY3503" fmla="*/ 5959278 h 6858054"/>
              <a:gd name="connsiteX3504" fmla="*/ 5289160 w 7631184"/>
              <a:gd name="connsiteY3504" fmla="*/ 5949509 h 6858054"/>
              <a:gd name="connsiteX3505" fmla="*/ 5289160 w 7631184"/>
              <a:gd name="connsiteY3505" fmla="*/ 5939739 h 6858054"/>
              <a:gd name="connsiteX3506" fmla="*/ 5269622 w 7631184"/>
              <a:gd name="connsiteY3506" fmla="*/ 5929970 h 6858054"/>
              <a:gd name="connsiteX3507" fmla="*/ 5259854 w 7631184"/>
              <a:gd name="connsiteY3507" fmla="*/ 5900662 h 6858054"/>
              <a:gd name="connsiteX3508" fmla="*/ 5250085 w 7631184"/>
              <a:gd name="connsiteY3508" fmla="*/ 5881123 h 6858054"/>
              <a:gd name="connsiteX3509" fmla="*/ 5259854 w 7631184"/>
              <a:gd name="connsiteY3509" fmla="*/ 5881123 h 6858054"/>
              <a:gd name="connsiteX3510" fmla="*/ 5220779 w 7631184"/>
              <a:gd name="connsiteY3510" fmla="*/ 5822508 h 6858054"/>
              <a:gd name="connsiteX3511" fmla="*/ 5211011 w 7631184"/>
              <a:gd name="connsiteY3511" fmla="*/ 5783430 h 6858054"/>
              <a:gd name="connsiteX3512" fmla="*/ 5201242 w 7631184"/>
              <a:gd name="connsiteY3512" fmla="*/ 5773661 h 6858054"/>
              <a:gd name="connsiteX3513" fmla="*/ 5181705 w 7631184"/>
              <a:gd name="connsiteY3513" fmla="*/ 5744353 h 6858054"/>
              <a:gd name="connsiteX3514" fmla="*/ 5162168 w 7631184"/>
              <a:gd name="connsiteY3514" fmla="*/ 5715045 h 6858054"/>
              <a:gd name="connsiteX3515" fmla="*/ 5152399 w 7631184"/>
              <a:gd name="connsiteY3515" fmla="*/ 5705276 h 6858054"/>
              <a:gd name="connsiteX3516" fmla="*/ 5142630 w 7631184"/>
              <a:gd name="connsiteY3516" fmla="*/ 5695507 h 6858054"/>
              <a:gd name="connsiteX3517" fmla="*/ 5142630 w 7631184"/>
              <a:gd name="connsiteY3517" fmla="*/ 5705276 h 6858054"/>
              <a:gd name="connsiteX3518" fmla="*/ 5142630 w 7631184"/>
              <a:gd name="connsiteY3518" fmla="*/ 5715045 h 6858054"/>
              <a:gd name="connsiteX3519" fmla="*/ 5152399 w 7631184"/>
              <a:gd name="connsiteY3519" fmla="*/ 5724815 h 6858054"/>
              <a:gd name="connsiteX3520" fmla="*/ 5171936 w 7631184"/>
              <a:gd name="connsiteY3520" fmla="*/ 5754122 h 6858054"/>
              <a:gd name="connsiteX3521" fmla="*/ 5191473 w 7631184"/>
              <a:gd name="connsiteY3521" fmla="*/ 5783430 h 6858054"/>
              <a:gd name="connsiteX3522" fmla="*/ 5191473 w 7631184"/>
              <a:gd name="connsiteY3522" fmla="*/ 5802969 h 6858054"/>
              <a:gd name="connsiteX3523" fmla="*/ 5201242 w 7631184"/>
              <a:gd name="connsiteY3523" fmla="*/ 5812738 h 6858054"/>
              <a:gd name="connsiteX3524" fmla="*/ 5201242 w 7631184"/>
              <a:gd name="connsiteY3524" fmla="*/ 5822508 h 6858054"/>
              <a:gd name="connsiteX3525" fmla="*/ 5259854 w 7631184"/>
              <a:gd name="connsiteY3525" fmla="*/ 5910431 h 6858054"/>
              <a:gd name="connsiteX3526" fmla="*/ 5279391 w 7631184"/>
              <a:gd name="connsiteY3526" fmla="*/ 5949509 h 6858054"/>
              <a:gd name="connsiteX3527" fmla="*/ 5289160 w 7631184"/>
              <a:gd name="connsiteY3527" fmla="*/ 5978817 h 6858054"/>
              <a:gd name="connsiteX3528" fmla="*/ 5298928 w 7631184"/>
              <a:gd name="connsiteY3528" fmla="*/ 5998355 h 6858054"/>
              <a:gd name="connsiteX3529" fmla="*/ 5308697 w 7631184"/>
              <a:gd name="connsiteY3529" fmla="*/ 6017894 h 6858054"/>
              <a:gd name="connsiteX3530" fmla="*/ 5328234 w 7631184"/>
              <a:gd name="connsiteY3530" fmla="*/ 6047202 h 6858054"/>
              <a:gd name="connsiteX3531" fmla="*/ 5338003 w 7631184"/>
              <a:gd name="connsiteY3531" fmla="*/ 6076510 h 6858054"/>
              <a:gd name="connsiteX3532" fmla="*/ 5338003 w 7631184"/>
              <a:gd name="connsiteY3532" fmla="*/ 6086279 h 6858054"/>
              <a:gd name="connsiteX3533" fmla="*/ 5347771 w 7631184"/>
              <a:gd name="connsiteY3533" fmla="*/ 6096048 h 6858054"/>
              <a:gd name="connsiteX3534" fmla="*/ 5347771 w 7631184"/>
              <a:gd name="connsiteY3534" fmla="*/ 6105818 h 6858054"/>
              <a:gd name="connsiteX3535" fmla="*/ 5357540 w 7631184"/>
              <a:gd name="connsiteY3535" fmla="*/ 6125356 h 6858054"/>
              <a:gd name="connsiteX3536" fmla="*/ 5377077 w 7631184"/>
              <a:gd name="connsiteY3536" fmla="*/ 6154664 h 6858054"/>
              <a:gd name="connsiteX3537" fmla="*/ 5396614 w 7631184"/>
              <a:gd name="connsiteY3537" fmla="*/ 6193741 h 6858054"/>
              <a:gd name="connsiteX3538" fmla="*/ 5406383 w 7631184"/>
              <a:gd name="connsiteY3538" fmla="*/ 6213280 h 6858054"/>
              <a:gd name="connsiteX3539" fmla="*/ 5416151 w 7631184"/>
              <a:gd name="connsiteY3539" fmla="*/ 6232819 h 6858054"/>
              <a:gd name="connsiteX3540" fmla="*/ 5445457 w 7631184"/>
              <a:gd name="connsiteY3540" fmla="*/ 6281665 h 6858054"/>
              <a:gd name="connsiteX3541" fmla="*/ 5474763 w 7631184"/>
              <a:gd name="connsiteY3541" fmla="*/ 6340281 h 6858054"/>
              <a:gd name="connsiteX3542" fmla="*/ 5494300 w 7631184"/>
              <a:gd name="connsiteY3542" fmla="*/ 6389127 h 6858054"/>
              <a:gd name="connsiteX3543" fmla="*/ 5523606 w 7631184"/>
              <a:gd name="connsiteY3543" fmla="*/ 6437974 h 6858054"/>
              <a:gd name="connsiteX3544" fmla="*/ 5552912 w 7631184"/>
              <a:gd name="connsiteY3544" fmla="*/ 6486821 h 6858054"/>
              <a:gd name="connsiteX3545" fmla="*/ 5562681 w 7631184"/>
              <a:gd name="connsiteY3545" fmla="*/ 6525898 h 6858054"/>
              <a:gd name="connsiteX3546" fmla="*/ 5552912 w 7631184"/>
              <a:gd name="connsiteY3546" fmla="*/ 6506359 h 6858054"/>
              <a:gd name="connsiteX3547" fmla="*/ 5523606 w 7631184"/>
              <a:gd name="connsiteY3547" fmla="*/ 6447743 h 6858054"/>
              <a:gd name="connsiteX3548" fmla="*/ 5513838 w 7631184"/>
              <a:gd name="connsiteY3548" fmla="*/ 6437974 h 6858054"/>
              <a:gd name="connsiteX3549" fmla="*/ 5484532 w 7631184"/>
              <a:gd name="connsiteY3549" fmla="*/ 6389127 h 6858054"/>
              <a:gd name="connsiteX3550" fmla="*/ 5484532 w 7631184"/>
              <a:gd name="connsiteY3550" fmla="*/ 6379358 h 6858054"/>
              <a:gd name="connsiteX3551" fmla="*/ 5474763 w 7631184"/>
              <a:gd name="connsiteY3551" fmla="*/ 6359820 h 6858054"/>
              <a:gd name="connsiteX3552" fmla="*/ 5455226 w 7631184"/>
              <a:gd name="connsiteY3552" fmla="*/ 6320742 h 6858054"/>
              <a:gd name="connsiteX3553" fmla="*/ 5445457 w 7631184"/>
              <a:gd name="connsiteY3553" fmla="*/ 6310973 h 6858054"/>
              <a:gd name="connsiteX3554" fmla="*/ 5416151 w 7631184"/>
              <a:gd name="connsiteY3554" fmla="*/ 6271896 h 6858054"/>
              <a:gd name="connsiteX3555" fmla="*/ 5410046 w 7631184"/>
              <a:gd name="connsiteY3555" fmla="*/ 6257242 h 6858054"/>
              <a:gd name="connsiteX3556" fmla="*/ 5400288 w 7631184"/>
              <a:gd name="connsiteY3556" fmla="*/ 6246596 h 6858054"/>
              <a:gd name="connsiteX3557" fmla="*/ 5396614 w 7631184"/>
              <a:gd name="connsiteY3557" fmla="*/ 6232819 h 6858054"/>
              <a:gd name="connsiteX3558" fmla="*/ 5396614 w 7631184"/>
              <a:gd name="connsiteY3558" fmla="*/ 6242588 h 6858054"/>
              <a:gd name="connsiteX3559" fmla="*/ 5400288 w 7631184"/>
              <a:gd name="connsiteY3559" fmla="*/ 6246596 h 6858054"/>
              <a:gd name="connsiteX3560" fmla="*/ 5401498 w 7631184"/>
              <a:gd name="connsiteY3560" fmla="*/ 6251136 h 6858054"/>
              <a:gd name="connsiteX3561" fmla="*/ 5406383 w 7631184"/>
              <a:gd name="connsiteY3561" fmla="*/ 6262126 h 6858054"/>
              <a:gd name="connsiteX3562" fmla="*/ 5406383 w 7631184"/>
              <a:gd name="connsiteY3562" fmla="*/ 6271896 h 6858054"/>
              <a:gd name="connsiteX3563" fmla="*/ 5416151 w 7631184"/>
              <a:gd name="connsiteY3563" fmla="*/ 6301204 h 6858054"/>
              <a:gd name="connsiteX3564" fmla="*/ 5445457 w 7631184"/>
              <a:gd name="connsiteY3564" fmla="*/ 6369589 h 6858054"/>
              <a:gd name="connsiteX3565" fmla="*/ 5464995 w 7631184"/>
              <a:gd name="connsiteY3565" fmla="*/ 6398897 h 6858054"/>
              <a:gd name="connsiteX3566" fmla="*/ 5469879 w 7631184"/>
              <a:gd name="connsiteY3566" fmla="*/ 6413551 h 6858054"/>
              <a:gd name="connsiteX3567" fmla="*/ 5466216 w 7631184"/>
              <a:gd name="connsiteY3567" fmla="*/ 6409887 h 6858054"/>
              <a:gd name="connsiteX3568" fmla="*/ 5464995 w 7631184"/>
              <a:gd name="connsiteY3568" fmla="*/ 6408666 h 6858054"/>
              <a:gd name="connsiteX3569" fmla="*/ 5474763 w 7631184"/>
              <a:gd name="connsiteY3569" fmla="*/ 6437974 h 6858054"/>
              <a:gd name="connsiteX3570" fmla="*/ 5484532 w 7631184"/>
              <a:gd name="connsiteY3570" fmla="*/ 6477051 h 6858054"/>
              <a:gd name="connsiteX3571" fmla="*/ 5494300 w 7631184"/>
              <a:gd name="connsiteY3571" fmla="*/ 6496590 h 6858054"/>
              <a:gd name="connsiteX3572" fmla="*/ 5504069 w 7631184"/>
              <a:gd name="connsiteY3572" fmla="*/ 6506359 h 6858054"/>
              <a:gd name="connsiteX3573" fmla="*/ 5504069 w 7631184"/>
              <a:gd name="connsiteY3573" fmla="*/ 6525898 h 6858054"/>
              <a:gd name="connsiteX3574" fmla="*/ 5513838 w 7631184"/>
              <a:gd name="connsiteY3574" fmla="*/ 6535667 h 6858054"/>
              <a:gd name="connsiteX3575" fmla="*/ 5533375 w 7631184"/>
              <a:gd name="connsiteY3575" fmla="*/ 6574744 h 6858054"/>
              <a:gd name="connsiteX3576" fmla="*/ 5533375 w 7631184"/>
              <a:gd name="connsiteY3576" fmla="*/ 6594283 h 6858054"/>
              <a:gd name="connsiteX3577" fmla="*/ 5562681 w 7631184"/>
              <a:gd name="connsiteY3577" fmla="*/ 6652899 h 6858054"/>
              <a:gd name="connsiteX3578" fmla="*/ 5562681 w 7631184"/>
              <a:gd name="connsiteY3578" fmla="*/ 6662668 h 6858054"/>
              <a:gd name="connsiteX3579" fmla="*/ 5572449 w 7631184"/>
              <a:gd name="connsiteY3579" fmla="*/ 6672437 h 6858054"/>
              <a:gd name="connsiteX3580" fmla="*/ 5601755 w 7631184"/>
              <a:gd name="connsiteY3580" fmla="*/ 6750592 h 6858054"/>
              <a:gd name="connsiteX3581" fmla="*/ 5631061 w 7631184"/>
              <a:gd name="connsiteY3581" fmla="*/ 6818977 h 6858054"/>
              <a:gd name="connsiteX3582" fmla="*/ 5640830 w 7631184"/>
              <a:gd name="connsiteY3582" fmla="*/ 6848285 h 6858054"/>
              <a:gd name="connsiteX3583" fmla="*/ 5640830 w 7631184"/>
              <a:gd name="connsiteY3583" fmla="*/ 6858054 h 6858054"/>
              <a:gd name="connsiteX3584" fmla="*/ 5631061 w 7631184"/>
              <a:gd name="connsiteY3584" fmla="*/ 6838516 h 6858054"/>
              <a:gd name="connsiteX3585" fmla="*/ 5611524 w 7631184"/>
              <a:gd name="connsiteY3585" fmla="*/ 6809208 h 6858054"/>
              <a:gd name="connsiteX3586" fmla="*/ 5582218 w 7631184"/>
              <a:gd name="connsiteY3586" fmla="*/ 6740823 h 6858054"/>
              <a:gd name="connsiteX3587" fmla="*/ 5572449 w 7631184"/>
              <a:gd name="connsiteY3587" fmla="*/ 6711515 h 6858054"/>
              <a:gd name="connsiteX3588" fmla="*/ 5562681 w 7631184"/>
              <a:gd name="connsiteY3588" fmla="*/ 6682207 h 6858054"/>
              <a:gd name="connsiteX3589" fmla="*/ 5552912 w 7631184"/>
              <a:gd name="connsiteY3589" fmla="*/ 6672437 h 6858054"/>
              <a:gd name="connsiteX3590" fmla="*/ 5543143 w 7631184"/>
              <a:gd name="connsiteY3590" fmla="*/ 6652899 h 6858054"/>
              <a:gd name="connsiteX3591" fmla="*/ 5543143 w 7631184"/>
              <a:gd name="connsiteY3591" fmla="*/ 6633360 h 6858054"/>
              <a:gd name="connsiteX3592" fmla="*/ 5523606 w 7631184"/>
              <a:gd name="connsiteY3592" fmla="*/ 6604052 h 6858054"/>
              <a:gd name="connsiteX3593" fmla="*/ 5513838 w 7631184"/>
              <a:gd name="connsiteY3593" fmla="*/ 6574744 h 6858054"/>
              <a:gd name="connsiteX3594" fmla="*/ 5504069 w 7631184"/>
              <a:gd name="connsiteY3594" fmla="*/ 6564975 h 6858054"/>
              <a:gd name="connsiteX3595" fmla="*/ 5504069 w 7631184"/>
              <a:gd name="connsiteY3595" fmla="*/ 6555206 h 6858054"/>
              <a:gd name="connsiteX3596" fmla="*/ 5494300 w 7631184"/>
              <a:gd name="connsiteY3596" fmla="*/ 6535667 h 6858054"/>
              <a:gd name="connsiteX3597" fmla="*/ 5484532 w 7631184"/>
              <a:gd name="connsiteY3597" fmla="*/ 6516128 h 6858054"/>
              <a:gd name="connsiteX3598" fmla="*/ 5474763 w 7631184"/>
              <a:gd name="connsiteY3598" fmla="*/ 6496590 h 6858054"/>
              <a:gd name="connsiteX3599" fmla="*/ 5455226 w 7631184"/>
              <a:gd name="connsiteY3599" fmla="*/ 6457513 h 6858054"/>
              <a:gd name="connsiteX3600" fmla="*/ 5445457 w 7631184"/>
              <a:gd name="connsiteY3600" fmla="*/ 6447743 h 6858054"/>
              <a:gd name="connsiteX3601" fmla="*/ 5435689 w 7631184"/>
              <a:gd name="connsiteY3601" fmla="*/ 6428205 h 6858054"/>
              <a:gd name="connsiteX3602" fmla="*/ 5435689 w 7631184"/>
              <a:gd name="connsiteY3602" fmla="*/ 6418435 h 6858054"/>
              <a:gd name="connsiteX3603" fmla="*/ 5425920 w 7631184"/>
              <a:gd name="connsiteY3603" fmla="*/ 6408666 h 6858054"/>
              <a:gd name="connsiteX3604" fmla="*/ 5406383 w 7631184"/>
              <a:gd name="connsiteY3604" fmla="*/ 6379358 h 6858054"/>
              <a:gd name="connsiteX3605" fmla="*/ 5386846 w 7631184"/>
              <a:gd name="connsiteY3605" fmla="*/ 6340281 h 6858054"/>
              <a:gd name="connsiteX3606" fmla="*/ 5357540 w 7631184"/>
              <a:gd name="connsiteY3606" fmla="*/ 6281665 h 6858054"/>
              <a:gd name="connsiteX3607" fmla="*/ 5328234 w 7631184"/>
              <a:gd name="connsiteY3607" fmla="*/ 6232819 h 6858054"/>
              <a:gd name="connsiteX3608" fmla="*/ 5328234 w 7631184"/>
              <a:gd name="connsiteY3608" fmla="*/ 6223049 h 6858054"/>
              <a:gd name="connsiteX3609" fmla="*/ 5318465 w 7631184"/>
              <a:gd name="connsiteY3609" fmla="*/ 6203511 h 6858054"/>
              <a:gd name="connsiteX3610" fmla="*/ 5298928 w 7631184"/>
              <a:gd name="connsiteY3610" fmla="*/ 6174203 h 6858054"/>
              <a:gd name="connsiteX3611" fmla="*/ 5259854 w 7631184"/>
              <a:gd name="connsiteY3611" fmla="*/ 6105818 h 6858054"/>
              <a:gd name="connsiteX3612" fmla="*/ 5269622 w 7631184"/>
              <a:gd name="connsiteY3612" fmla="*/ 6125356 h 6858054"/>
              <a:gd name="connsiteX3613" fmla="*/ 5250085 w 7631184"/>
              <a:gd name="connsiteY3613" fmla="*/ 6086279 h 6858054"/>
              <a:gd name="connsiteX3614" fmla="*/ 5240316 w 7631184"/>
              <a:gd name="connsiteY3614" fmla="*/ 6066740 h 6858054"/>
              <a:gd name="connsiteX3615" fmla="*/ 5230548 w 7631184"/>
              <a:gd name="connsiteY3615" fmla="*/ 6037432 h 6858054"/>
              <a:gd name="connsiteX3616" fmla="*/ 5220779 w 7631184"/>
              <a:gd name="connsiteY3616" fmla="*/ 6017894 h 6858054"/>
              <a:gd name="connsiteX3617" fmla="*/ 5211011 w 7631184"/>
              <a:gd name="connsiteY3617" fmla="*/ 6008124 h 6858054"/>
              <a:gd name="connsiteX3618" fmla="*/ 5191473 w 7631184"/>
              <a:gd name="connsiteY3618" fmla="*/ 5959278 h 6858054"/>
              <a:gd name="connsiteX3619" fmla="*/ 5171936 w 7631184"/>
              <a:gd name="connsiteY3619" fmla="*/ 5939739 h 6858054"/>
              <a:gd name="connsiteX3620" fmla="*/ 5162168 w 7631184"/>
              <a:gd name="connsiteY3620" fmla="*/ 5929970 h 6858054"/>
              <a:gd name="connsiteX3621" fmla="*/ 5152399 w 7631184"/>
              <a:gd name="connsiteY3621" fmla="*/ 5920201 h 6858054"/>
              <a:gd name="connsiteX3622" fmla="*/ 5142630 w 7631184"/>
              <a:gd name="connsiteY3622" fmla="*/ 5920201 h 6858054"/>
              <a:gd name="connsiteX3623" fmla="*/ 5132862 w 7631184"/>
              <a:gd name="connsiteY3623" fmla="*/ 5910431 h 6858054"/>
              <a:gd name="connsiteX3624" fmla="*/ 5132862 w 7631184"/>
              <a:gd name="connsiteY3624" fmla="*/ 5890893 h 6858054"/>
              <a:gd name="connsiteX3625" fmla="*/ 5113325 w 7631184"/>
              <a:gd name="connsiteY3625" fmla="*/ 5851816 h 6858054"/>
              <a:gd name="connsiteX3626" fmla="*/ 5093787 w 7631184"/>
              <a:gd name="connsiteY3626" fmla="*/ 5832277 h 6858054"/>
              <a:gd name="connsiteX3627" fmla="*/ 5084019 w 7631184"/>
              <a:gd name="connsiteY3627" fmla="*/ 5812738 h 6858054"/>
              <a:gd name="connsiteX3628" fmla="*/ 5074250 w 7631184"/>
              <a:gd name="connsiteY3628" fmla="*/ 5802969 h 6858054"/>
              <a:gd name="connsiteX3629" fmla="*/ 5064481 w 7631184"/>
              <a:gd name="connsiteY3629" fmla="*/ 5783430 h 6858054"/>
              <a:gd name="connsiteX3630" fmla="*/ 5025407 w 7631184"/>
              <a:gd name="connsiteY3630" fmla="*/ 5734584 h 6858054"/>
              <a:gd name="connsiteX3631" fmla="*/ 5015638 w 7631184"/>
              <a:gd name="connsiteY3631" fmla="*/ 5734584 h 6858054"/>
              <a:gd name="connsiteX3632" fmla="*/ 5015638 w 7631184"/>
              <a:gd name="connsiteY3632" fmla="*/ 5763892 h 6858054"/>
              <a:gd name="connsiteX3633" fmla="*/ 5025407 w 7631184"/>
              <a:gd name="connsiteY3633" fmla="*/ 5773661 h 6858054"/>
              <a:gd name="connsiteX3634" fmla="*/ 5025407 w 7631184"/>
              <a:gd name="connsiteY3634" fmla="*/ 5783430 h 6858054"/>
              <a:gd name="connsiteX3635" fmla="*/ 5035176 w 7631184"/>
              <a:gd name="connsiteY3635" fmla="*/ 5802969 h 6858054"/>
              <a:gd name="connsiteX3636" fmla="*/ 5044944 w 7631184"/>
              <a:gd name="connsiteY3636" fmla="*/ 5812738 h 6858054"/>
              <a:gd name="connsiteX3637" fmla="*/ 5054713 w 7631184"/>
              <a:gd name="connsiteY3637" fmla="*/ 5832277 h 6858054"/>
              <a:gd name="connsiteX3638" fmla="*/ 5084019 w 7631184"/>
              <a:gd name="connsiteY3638" fmla="*/ 5890893 h 6858054"/>
              <a:gd name="connsiteX3639" fmla="*/ 5093787 w 7631184"/>
              <a:gd name="connsiteY3639" fmla="*/ 5910431 h 6858054"/>
              <a:gd name="connsiteX3640" fmla="*/ 5113325 w 7631184"/>
              <a:gd name="connsiteY3640" fmla="*/ 5920201 h 6858054"/>
              <a:gd name="connsiteX3641" fmla="*/ 5113325 w 7631184"/>
              <a:gd name="connsiteY3641" fmla="*/ 5910431 h 6858054"/>
              <a:gd name="connsiteX3642" fmla="*/ 5123093 w 7631184"/>
              <a:gd name="connsiteY3642" fmla="*/ 5920201 h 6858054"/>
              <a:gd name="connsiteX3643" fmla="*/ 5162168 w 7631184"/>
              <a:gd name="connsiteY3643" fmla="*/ 5998355 h 6858054"/>
              <a:gd name="connsiteX3644" fmla="*/ 5175599 w 7631184"/>
              <a:gd name="connsiteY3644" fmla="*/ 6034990 h 6858054"/>
              <a:gd name="connsiteX3645" fmla="*/ 5180322 w 7631184"/>
              <a:gd name="connsiteY3645" fmla="*/ 6051994 h 6858054"/>
              <a:gd name="connsiteX3646" fmla="*/ 5171936 w 7631184"/>
              <a:gd name="connsiteY3646" fmla="*/ 6047202 h 6858054"/>
              <a:gd name="connsiteX3647" fmla="*/ 5162168 w 7631184"/>
              <a:gd name="connsiteY3647" fmla="*/ 6017894 h 6858054"/>
              <a:gd name="connsiteX3648" fmla="*/ 5142630 w 7631184"/>
              <a:gd name="connsiteY3648" fmla="*/ 5998355 h 6858054"/>
              <a:gd name="connsiteX3649" fmla="*/ 5142630 w 7631184"/>
              <a:gd name="connsiteY3649" fmla="*/ 5988586 h 6858054"/>
              <a:gd name="connsiteX3650" fmla="*/ 5132862 w 7631184"/>
              <a:gd name="connsiteY3650" fmla="*/ 5969047 h 6858054"/>
              <a:gd name="connsiteX3651" fmla="*/ 5113325 w 7631184"/>
              <a:gd name="connsiteY3651" fmla="*/ 5949509 h 6858054"/>
              <a:gd name="connsiteX3652" fmla="*/ 5113325 w 7631184"/>
              <a:gd name="connsiteY3652" fmla="*/ 5959278 h 6858054"/>
              <a:gd name="connsiteX3653" fmla="*/ 5123093 w 7631184"/>
              <a:gd name="connsiteY3653" fmla="*/ 5969047 h 6858054"/>
              <a:gd name="connsiteX3654" fmla="*/ 5132862 w 7631184"/>
              <a:gd name="connsiteY3654" fmla="*/ 5988586 h 6858054"/>
              <a:gd name="connsiteX3655" fmla="*/ 5142630 w 7631184"/>
              <a:gd name="connsiteY3655" fmla="*/ 6008124 h 6858054"/>
              <a:gd name="connsiteX3656" fmla="*/ 5142630 w 7631184"/>
              <a:gd name="connsiteY3656" fmla="*/ 6027663 h 6858054"/>
              <a:gd name="connsiteX3657" fmla="*/ 5152399 w 7631184"/>
              <a:gd name="connsiteY3657" fmla="*/ 6047202 h 6858054"/>
              <a:gd name="connsiteX3658" fmla="*/ 5162168 w 7631184"/>
              <a:gd name="connsiteY3658" fmla="*/ 6056971 h 6858054"/>
              <a:gd name="connsiteX3659" fmla="*/ 5171936 w 7631184"/>
              <a:gd name="connsiteY3659" fmla="*/ 6076510 h 6858054"/>
              <a:gd name="connsiteX3660" fmla="*/ 5181705 w 7631184"/>
              <a:gd name="connsiteY3660" fmla="*/ 6086279 h 6858054"/>
              <a:gd name="connsiteX3661" fmla="*/ 5220779 w 7631184"/>
              <a:gd name="connsiteY3661" fmla="*/ 6164433 h 6858054"/>
              <a:gd name="connsiteX3662" fmla="*/ 5240316 w 7631184"/>
              <a:gd name="connsiteY3662" fmla="*/ 6203511 h 6858054"/>
              <a:gd name="connsiteX3663" fmla="*/ 5240316 w 7631184"/>
              <a:gd name="connsiteY3663" fmla="*/ 6213280 h 6858054"/>
              <a:gd name="connsiteX3664" fmla="*/ 5250085 w 7631184"/>
              <a:gd name="connsiteY3664" fmla="*/ 6223049 h 6858054"/>
              <a:gd name="connsiteX3665" fmla="*/ 5259854 w 7631184"/>
              <a:gd name="connsiteY3665" fmla="*/ 6252357 h 6858054"/>
              <a:gd name="connsiteX3666" fmla="*/ 5269622 w 7631184"/>
              <a:gd name="connsiteY3666" fmla="*/ 6281665 h 6858054"/>
              <a:gd name="connsiteX3667" fmla="*/ 5269622 w 7631184"/>
              <a:gd name="connsiteY3667" fmla="*/ 6291434 h 6858054"/>
              <a:gd name="connsiteX3668" fmla="*/ 5279391 w 7631184"/>
              <a:gd name="connsiteY3668" fmla="*/ 6310973 h 6858054"/>
              <a:gd name="connsiteX3669" fmla="*/ 5289160 w 7631184"/>
              <a:gd name="connsiteY3669" fmla="*/ 6330512 h 6858054"/>
              <a:gd name="connsiteX3670" fmla="*/ 5298928 w 7631184"/>
              <a:gd name="connsiteY3670" fmla="*/ 6350050 h 6858054"/>
              <a:gd name="connsiteX3671" fmla="*/ 5308697 w 7631184"/>
              <a:gd name="connsiteY3671" fmla="*/ 6369589 h 6858054"/>
              <a:gd name="connsiteX3672" fmla="*/ 5318465 w 7631184"/>
              <a:gd name="connsiteY3672" fmla="*/ 6389127 h 6858054"/>
              <a:gd name="connsiteX3673" fmla="*/ 5338003 w 7631184"/>
              <a:gd name="connsiteY3673" fmla="*/ 6437974 h 6858054"/>
              <a:gd name="connsiteX3674" fmla="*/ 5377077 w 7631184"/>
              <a:gd name="connsiteY3674" fmla="*/ 6525898 h 6858054"/>
              <a:gd name="connsiteX3675" fmla="*/ 5386846 w 7631184"/>
              <a:gd name="connsiteY3675" fmla="*/ 6555206 h 6858054"/>
              <a:gd name="connsiteX3676" fmla="*/ 5396614 w 7631184"/>
              <a:gd name="connsiteY3676" fmla="*/ 6594283 h 6858054"/>
              <a:gd name="connsiteX3677" fmla="*/ 5405162 w 7631184"/>
              <a:gd name="connsiteY3677" fmla="*/ 6607716 h 6858054"/>
              <a:gd name="connsiteX3678" fmla="*/ 5406383 w 7631184"/>
              <a:gd name="connsiteY3678" fmla="*/ 6613821 h 6858054"/>
              <a:gd name="connsiteX3679" fmla="*/ 5396614 w 7631184"/>
              <a:gd name="connsiteY3679" fmla="*/ 6604052 h 6858054"/>
              <a:gd name="connsiteX3680" fmla="*/ 5386846 w 7631184"/>
              <a:gd name="connsiteY3680" fmla="*/ 6574744 h 6858054"/>
              <a:gd name="connsiteX3681" fmla="*/ 5377077 w 7631184"/>
              <a:gd name="connsiteY3681" fmla="*/ 6545436 h 6858054"/>
              <a:gd name="connsiteX3682" fmla="*/ 5357540 w 7631184"/>
              <a:gd name="connsiteY3682" fmla="*/ 6516128 h 6858054"/>
              <a:gd name="connsiteX3683" fmla="*/ 5347771 w 7631184"/>
              <a:gd name="connsiteY3683" fmla="*/ 6496590 h 6858054"/>
              <a:gd name="connsiteX3684" fmla="*/ 5347771 w 7631184"/>
              <a:gd name="connsiteY3684" fmla="*/ 6486821 h 6858054"/>
              <a:gd name="connsiteX3685" fmla="*/ 5338003 w 7631184"/>
              <a:gd name="connsiteY3685" fmla="*/ 6486821 h 6858054"/>
              <a:gd name="connsiteX3686" fmla="*/ 5338003 w 7631184"/>
              <a:gd name="connsiteY3686" fmla="*/ 6496590 h 6858054"/>
              <a:gd name="connsiteX3687" fmla="*/ 5328234 w 7631184"/>
              <a:gd name="connsiteY3687" fmla="*/ 6486821 h 6858054"/>
              <a:gd name="connsiteX3688" fmla="*/ 5318465 w 7631184"/>
              <a:gd name="connsiteY3688" fmla="*/ 6477051 h 6858054"/>
              <a:gd name="connsiteX3689" fmla="*/ 5250085 w 7631184"/>
              <a:gd name="connsiteY3689" fmla="*/ 6350050 h 6858054"/>
              <a:gd name="connsiteX3690" fmla="*/ 5211011 w 7631184"/>
              <a:gd name="connsiteY3690" fmla="*/ 6252357 h 6858054"/>
              <a:gd name="connsiteX3691" fmla="*/ 5191473 w 7631184"/>
              <a:gd name="connsiteY3691" fmla="*/ 6213280 h 6858054"/>
              <a:gd name="connsiteX3692" fmla="*/ 5181705 w 7631184"/>
              <a:gd name="connsiteY3692" fmla="*/ 6223049 h 6858054"/>
              <a:gd name="connsiteX3693" fmla="*/ 5171936 w 7631184"/>
              <a:gd name="connsiteY3693" fmla="*/ 6223049 h 6858054"/>
              <a:gd name="connsiteX3694" fmla="*/ 5162168 w 7631184"/>
              <a:gd name="connsiteY3694" fmla="*/ 6213280 h 6858054"/>
              <a:gd name="connsiteX3695" fmla="*/ 5171936 w 7631184"/>
              <a:gd name="connsiteY3695" fmla="*/ 6193741 h 6858054"/>
              <a:gd name="connsiteX3696" fmla="*/ 5152399 w 7631184"/>
              <a:gd name="connsiteY3696" fmla="*/ 6135125 h 6858054"/>
              <a:gd name="connsiteX3697" fmla="*/ 5142630 w 7631184"/>
              <a:gd name="connsiteY3697" fmla="*/ 6125356 h 6858054"/>
              <a:gd name="connsiteX3698" fmla="*/ 5123093 w 7631184"/>
              <a:gd name="connsiteY3698" fmla="*/ 6096048 h 6858054"/>
              <a:gd name="connsiteX3699" fmla="*/ 5123093 w 7631184"/>
              <a:gd name="connsiteY3699" fmla="*/ 6076510 h 6858054"/>
              <a:gd name="connsiteX3700" fmla="*/ 5123093 w 7631184"/>
              <a:gd name="connsiteY3700" fmla="*/ 6066740 h 6858054"/>
              <a:gd name="connsiteX3701" fmla="*/ 5113325 w 7631184"/>
              <a:gd name="connsiteY3701" fmla="*/ 6047202 h 6858054"/>
              <a:gd name="connsiteX3702" fmla="*/ 5103556 w 7631184"/>
              <a:gd name="connsiteY3702" fmla="*/ 6037432 h 6858054"/>
              <a:gd name="connsiteX3703" fmla="*/ 5093787 w 7631184"/>
              <a:gd name="connsiteY3703" fmla="*/ 5998355 h 6858054"/>
              <a:gd name="connsiteX3704" fmla="*/ 5074250 w 7631184"/>
              <a:gd name="connsiteY3704" fmla="*/ 5978817 h 6858054"/>
              <a:gd name="connsiteX3705" fmla="*/ 5064481 w 7631184"/>
              <a:gd name="connsiteY3705" fmla="*/ 5969047 h 6858054"/>
              <a:gd name="connsiteX3706" fmla="*/ 5074250 w 7631184"/>
              <a:gd name="connsiteY3706" fmla="*/ 5969047 h 6858054"/>
              <a:gd name="connsiteX3707" fmla="*/ 5074250 w 7631184"/>
              <a:gd name="connsiteY3707" fmla="*/ 5959278 h 6858054"/>
              <a:gd name="connsiteX3708" fmla="*/ 5084019 w 7631184"/>
              <a:gd name="connsiteY3708" fmla="*/ 5978817 h 6858054"/>
              <a:gd name="connsiteX3709" fmla="*/ 5093787 w 7631184"/>
              <a:gd name="connsiteY3709" fmla="*/ 5988586 h 6858054"/>
              <a:gd name="connsiteX3710" fmla="*/ 5113325 w 7631184"/>
              <a:gd name="connsiteY3710" fmla="*/ 6027663 h 6858054"/>
              <a:gd name="connsiteX3711" fmla="*/ 5123093 w 7631184"/>
              <a:gd name="connsiteY3711" fmla="*/ 6047202 h 6858054"/>
              <a:gd name="connsiteX3712" fmla="*/ 5132862 w 7631184"/>
              <a:gd name="connsiteY3712" fmla="*/ 6056971 h 6858054"/>
              <a:gd name="connsiteX3713" fmla="*/ 5132862 w 7631184"/>
              <a:gd name="connsiteY3713" fmla="*/ 6037432 h 6858054"/>
              <a:gd name="connsiteX3714" fmla="*/ 5123093 w 7631184"/>
              <a:gd name="connsiteY3714" fmla="*/ 6017894 h 6858054"/>
              <a:gd name="connsiteX3715" fmla="*/ 5113325 w 7631184"/>
              <a:gd name="connsiteY3715" fmla="*/ 5998355 h 6858054"/>
              <a:gd name="connsiteX3716" fmla="*/ 5113325 w 7631184"/>
              <a:gd name="connsiteY3716" fmla="*/ 5988586 h 6858054"/>
              <a:gd name="connsiteX3717" fmla="*/ 5103556 w 7631184"/>
              <a:gd name="connsiteY3717" fmla="*/ 5949509 h 6858054"/>
              <a:gd name="connsiteX3718" fmla="*/ 5093787 w 7631184"/>
              <a:gd name="connsiteY3718" fmla="*/ 5929970 h 6858054"/>
              <a:gd name="connsiteX3719" fmla="*/ 5074250 w 7631184"/>
              <a:gd name="connsiteY3719" fmla="*/ 5910431 h 6858054"/>
              <a:gd name="connsiteX3720" fmla="*/ 5064481 w 7631184"/>
              <a:gd name="connsiteY3720" fmla="*/ 5890893 h 6858054"/>
              <a:gd name="connsiteX3721" fmla="*/ 5044944 w 7631184"/>
              <a:gd name="connsiteY3721" fmla="*/ 5890893 h 6858054"/>
              <a:gd name="connsiteX3722" fmla="*/ 5035176 w 7631184"/>
              <a:gd name="connsiteY3722" fmla="*/ 5881123 h 6858054"/>
              <a:gd name="connsiteX3723" fmla="*/ 5025407 w 7631184"/>
              <a:gd name="connsiteY3723" fmla="*/ 5871354 h 6858054"/>
              <a:gd name="connsiteX3724" fmla="*/ 4996101 w 7631184"/>
              <a:gd name="connsiteY3724" fmla="*/ 5842046 h 6858054"/>
              <a:gd name="connsiteX3725" fmla="*/ 4986333 w 7631184"/>
              <a:gd name="connsiteY3725" fmla="*/ 5822508 h 6858054"/>
              <a:gd name="connsiteX3726" fmla="*/ 4986333 w 7631184"/>
              <a:gd name="connsiteY3726" fmla="*/ 5832277 h 6858054"/>
              <a:gd name="connsiteX3727" fmla="*/ 4966795 w 7631184"/>
              <a:gd name="connsiteY3727" fmla="*/ 5851816 h 6858054"/>
              <a:gd name="connsiteX3728" fmla="*/ 4947258 w 7631184"/>
              <a:gd name="connsiteY3728" fmla="*/ 5822508 h 6858054"/>
              <a:gd name="connsiteX3729" fmla="*/ 4957027 w 7631184"/>
              <a:gd name="connsiteY3729" fmla="*/ 5842046 h 6858054"/>
              <a:gd name="connsiteX3730" fmla="*/ 4976564 w 7631184"/>
              <a:gd name="connsiteY3730" fmla="*/ 5890893 h 6858054"/>
              <a:gd name="connsiteX3731" fmla="*/ 4996101 w 7631184"/>
              <a:gd name="connsiteY3731" fmla="*/ 5920201 h 6858054"/>
              <a:gd name="connsiteX3732" fmla="*/ 5015638 w 7631184"/>
              <a:gd name="connsiteY3732" fmla="*/ 5959278 h 6858054"/>
              <a:gd name="connsiteX3733" fmla="*/ 5025407 w 7631184"/>
              <a:gd name="connsiteY3733" fmla="*/ 5978817 h 6858054"/>
              <a:gd name="connsiteX3734" fmla="*/ 5035176 w 7631184"/>
              <a:gd name="connsiteY3734" fmla="*/ 6008124 h 6858054"/>
              <a:gd name="connsiteX3735" fmla="*/ 5044944 w 7631184"/>
              <a:gd name="connsiteY3735" fmla="*/ 6037432 h 6858054"/>
              <a:gd name="connsiteX3736" fmla="*/ 5064481 w 7631184"/>
              <a:gd name="connsiteY3736" fmla="*/ 6076510 h 6858054"/>
              <a:gd name="connsiteX3737" fmla="*/ 5035176 w 7631184"/>
              <a:gd name="connsiteY3737" fmla="*/ 6017894 h 6858054"/>
              <a:gd name="connsiteX3738" fmla="*/ 5025407 w 7631184"/>
              <a:gd name="connsiteY3738" fmla="*/ 6008124 h 6858054"/>
              <a:gd name="connsiteX3739" fmla="*/ 5025407 w 7631184"/>
              <a:gd name="connsiteY3739" fmla="*/ 5998355 h 6858054"/>
              <a:gd name="connsiteX3740" fmla="*/ 5015638 w 7631184"/>
              <a:gd name="connsiteY3740" fmla="*/ 5988586 h 6858054"/>
              <a:gd name="connsiteX3741" fmla="*/ 4996101 w 7631184"/>
              <a:gd name="connsiteY3741" fmla="*/ 5949509 h 6858054"/>
              <a:gd name="connsiteX3742" fmla="*/ 4976564 w 7631184"/>
              <a:gd name="connsiteY3742" fmla="*/ 5910431 h 6858054"/>
              <a:gd name="connsiteX3743" fmla="*/ 4966795 w 7631184"/>
              <a:gd name="connsiteY3743" fmla="*/ 5881123 h 6858054"/>
              <a:gd name="connsiteX3744" fmla="*/ 4927721 w 7631184"/>
              <a:gd name="connsiteY3744" fmla="*/ 5832277 h 6858054"/>
              <a:gd name="connsiteX3745" fmla="*/ 4908184 w 7631184"/>
              <a:gd name="connsiteY3745" fmla="*/ 5832277 h 6858054"/>
              <a:gd name="connsiteX3746" fmla="*/ 4966795 w 7631184"/>
              <a:gd name="connsiteY3746" fmla="*/ 5929970 h 6858054"/>
              <a:gd name="connsiteX3747" fmla="*/ 4976564 w 7631184"/>
              <a:gd name="connsiteY3747" fmla="*/ 5949509 h 6858054"/>
              <a:gd name="connsiteX3748" fmla="*/ 4947258 w 7631184"/>
              <a:gd name="connsiteY3748" fmla="*/ 5910431 h 6858054"/>
              <a:gd name="connsiteX3749" fmla="*/ 4917952 w 7631184"/>
              <a:gd name="connsiteY3749" fmla="*/ 5871354 h 6858054"/>
              <a:gd name="connsiteX3750" fmla="*/ 4898415 w 7631184"/>
              <a:gd name="connsiteY3750" fmla="*/ 5842046 h 6858054"/>
              <a:gd name="connsiteX3751" fmla="*/ 4898415 w 7631184"/>
              <a:gd name="connsiteY3751" fmla="*/ 5832277 h 6858054"/>
              <a:gd name="connsiteX3752" fmla="*/ 4878878 w 7631184"/>
              <a:gd name="connsiteY3752" fmla="*/ 5812738 h 6858054"/>
              <a:gd name="connsiteX3753" fmla="*/ 4859341 w 7631184"/>
              <a:gd name="connsiteY3753" fmla="*/ 5773661 h 6858054"/>
              <a:gd name="connsiteX3754" fmla="*/ 4849572 w 7631184"/>
              <a:gd name="connsiteY3754" fmla="*/ 5744353 h 6858054"/>
              <a:gd name="connsiteX3755" fmla="*/ 4830035 w 7631184"/>
              <a:gd name="connsiteY3755" fmla="*/ 5724815 h 6858054"/>
              <a:gd name="connsiteX3756" fmla="*/ 4820266 w 7631184"/>
              <a:gd name="connsiteY3756" fmla="*/ 5705276 h 6858054"/>
              <a:gd name="connsiteX3757" fmla="*/ 4790960 w 7631184"/>
              <a:gd name="connsiteY3757" fmla="*/ 5695507 h 6858054"/>
              <a:gd name="connsiteX3758" fmla="*/ 4839803 w 7631184"/>
              <a:gd name="connsiteY3758" fmla="*/ 5802969 h 6858054"/>
              <a:gd name="connsiteX3759" fmla="*/ 4859341 w 7631184"/>
              <a:gd name="connsiteY3759" fmla="*/ 5832277 h 6858054"/>
              <a:gd name="connsiteX3760" fmla="*/ 4849572 w 7631184"/>
              <a:gd name="connsiteY3760" fmla="*/ 5832277 h 6858054"/>
              <a:gd name="connsiteX3761" fmla="*/ 4849572 w 7631184"/>
              <a:gd name="connsiteY3761" fmla="*/ 5842046 h 6858054"/>
              <a:gd name="connsiteX3762" fmla="*/ 4859341 w 7631184"/>
              <a:gd name="connsiteY3762" fmla="*/ 5861585 h 6858054"/>
              <a:gd name="connsiteX3763" fmla="*/ 4869109 w 7631184"/>
              <a:gd name="connsiteY3763" fmla="*/ 5881123 h 6858054"/>
              <a:gd name="connsiteX3764" fmla="*/ 4878878 w 7631184"/>
              <a:gd name="connsiteY3764" fmla="*/ 5900662 h 6858054"/>
              <a:gd name="connsiteX3765" fmla="*/ 4888646 w 7631184"/>
              <a:gd name="connsiteY3765" fmla="*/ 5920201 h 6858054"/>
              <a:gd name="connsiteX3766" fmla="*/ 4898415 w 7631184"/>
              <a:gd name="connsiteY3766" fmla="*/ 5949509 h 6858054"/>
              <a:gd name="connsiteX3767" fmla="*/ 4878878 w 7631184"/>
              <a:gd name="connsiteY3767" fmla="*/ 5920201 h 6858054"/>
              <a:gd name="connsiteX3768" fmla="*/ 4859341 w 7631184"/>
              <a:gd name="connsiteY3768" fmla="*/ 5890893 h 6858054"/>
              <a:gd name="connsiteX3769" fmla="*/ 4849572 w 7631184"/>
              <a:gd name="connsiteY3769" fmla="*/ 5871354 h 6858054"/>
              <a:gd name="connsiteX3770" fmla="*/ 4839803 w 7631184"/>
              <a:gd name="connsiteY3770" fmla="*/ 5851816 h 6858054"/>
              <a:gd name="connsiteX3771" fmla="*/ 4830035 w 7631184"/>
              <a:gd name="connsiteY3771" fmla="*/ 5842046 h 6858054"/>
              <a:gd name="connsiteX3772" fmla="*/ 4800729 w 7631184"/>
              <a:gd name="connsiteY3772" fmla="*/ 5822508 h 6858054"/>
              <a:gd name="connsiteX3773" fmla="*/ 4781192 w 7631184"/>
              <a:gd name="connsiteY3773" fmla="*/ 5783430 h 6858054"/>
              <a:gd name="connsiteX3774" fmla="*/ 4732349 w 7631184"/>
              <a:gd name="connsiteY3774" fmla="*/ 5715045 h 6858054"/>
              <a:gd name="connsiteX3775" fmla="*/ 4722580 w 7631184"/>
              <a:gd name="connsiteY3775" fmla="*/ 5705276 h 6858054"/>
              <a:gd name="connsiteX3776" fmla="*/ 4722580 w 7631184"/>
              <a:gd name="connsiteY3776" fmla="*/ 5724815 h 6858054"/>
              <a:gd name="connsiteX3777" fmla="*/ 4722580 w 7631184"/>
              <a:gd name="connsiteY3777" fmla="*/ 5744353 h 6858054"/>
              <a:gd name="connsiteX3778" fmla="*/ 4712811 w 7631184"/>
              <a:gd name="connsiteY3778" fmla="*/ 5724815 h 6858054"/>
              <a:gd name="connsiteX3779" fmla="*/ 4703043 w 7631184"/>
              <a:gd name="connsiteY3779" fmla="*/ 5724815 h 6858054"/>
              <a:gd name="connsiteX3780" fmla="*/ 4703043 w 7631184"/>
              <a:gd name="connsiteY3780" fmla="*/ 5734584 h 6858054"/>
              <a:gd name="connsiteX3781" fmla="*/ 4722580 w 7631184"/>
              <a:gd name="connsiteY3781" fmla="*/ 5754122 h 6858054"/>
              <a:gd name="connsiteX3782" fmla="*/ 4732349 w 7631184"/>
              <a:gd name="connsiteY3782" fmla="*/ 5763892 h 6858054"/>
              <a:gd name="connsiteX3783" fmla="*/ 4722580 w 7631184"/>
              <a:gd name="connsiteY3783" fmla="*/ 5763892 h 6858054"/>
              <a:gd name="connsiteX3784" fmla="*/ 4722580 w 7631184"/>
              <a:gd name="connsiteY3784" fmla="*/ 5783430 h 6858054"/>
              <a:gd name="connsiteX3785" fmla="*/ 4732349 w 7631184"/>
              <a:gd name="connsiteY3785" fmla="*/ 5802969 h 6858054"/>
              <a:gd name="connsiteX3786" fmla="*/ 4751886 w 7631184"/>
              <a:gd name="connsiteY3786" fmla="*/ 5842046 h 6858054"/>
              <a:gd name="connsiteX3787" fmla="*/ 4761655 w 7631184"/>
              <a:gd name="connsiteY3787" fmla="*/ 5861585 h 6858054"/>
              <a:gd name="connsiteX3788" fmla="*/ 4771423 w 7631184"/>
              <a:gd name="connsiteY3788" fmla="*/ 5871354 h 6858054"/>
              <a:gd name="connsiteX3789" fmla="*/ 4781192 w 7631184"/>
              <a:gd name="connsiteY3789" fmla="*/ 5890893 h 6858054"/>
              <a:gd name="connsiteX3790" fmla="*/ 4781192 w 7631184"/>
              <a:gd name="connsiteY3790" fmla="*/ 5900662 h 6858054"/>
              <a:gd name="connsiteX3791" fmla="*/ 4781192 w 7631184"/>
              <a:gd name="connsiteY3791" fmla="*/ 5910431 h 6858054"/>
              <a:gd name="connsiteX3792" fmla="*/ 4771423 w 7631184"/>
              <a:gd name="connsiteY3792" fmla="*/ 5920201 h 6858054"/>
              <a:gd name="connsiteX3793" fmla="*/ 4761655 w 7631184"/>
              <a:gd name="connsiteY3793" fmla="*/ 5929970 h 6858054"/>
              <a:gd name="connsiteX3794" fmla="*/ 4742117 w 7631184"/>
              <a:gd name="connsiteY3794" fmla="*/ 5890893 h 6858054"/>
              <a:gd name="connsiteX3795" fmla="*/ 4722580 w 7631184"/>
              <a:gd name="connsiteY3795" fmla="*/ 5842046 h 6858054"/>
              <a:gd name="connsiteX3796" fmla="*/ 4703043 w 7631184"/>
              <a:gd name="connsiteY3796" fmla="*/ 5793200 h 6858054"/>
              <a:gd name="connsiteX3797" fmla="*/ 4683506 w 7631184"/>
              <a:gd name="connsiteY3797" fmla="*/ 5773661 h 6858054"/>
              <a:gd name="connsiteX3798" fmla="*/ 4663968 w 7631184"/>
              <a:gd name="connsiteY3798" fmla="*/ 5744353 h 6858054"/>
              <a:gd name="connsiteX3799" fmla="*/ 4644431 w 7631184"/>
              <a:gd name="connsiteY3799" fmla="*/ 5715045 h 6858054"/>
              <a:gd name="connsiteX3800" fmla="*/ 4624894 w 7631184"/>
              <a:gd name="connsiteY3800" fmla="*/ 5695507 h 6858054"/>
              <a:gd name="connsiteX3801" fmla="*/ 4576051 w 7631184"/>
              <a:gd name="connsiteY3801" fmla="*/ 5636891 h 6858054"/>
              <a:gd name="connsiteX3802" fmla="*/ 4556514 w 7631184"/>
              <a:gd name="connsiteY3802" fmla="*/ 5607583 h 6858054"/>
              <a:gd name="connsiteX3803" fmla="*/ 4546745 w 7631184"/>
              <a:gd name="connsiteY3803" fmla="*/ 5588044 h 6858054"/>
              <a:gd name="connsiteX3804" fmla="*/ 4527208 w 7631184"/>
              <a:gd name="connsiteY3804" fmla="*/ 5568506 h 6858054"/>
              <a:gd name="connsiteX3805" fmla="*/ 4507671 w 7631184"/>
              <a:gd name="connsiteY3805" fmla="*/ 5539198 h 6858054"/>
              <a:gd name="connsiteX3806" fmla="*/ 4497902 w 7631184"/>
              <a:gd name="connsiteY3806" fmla="*/ 5519659 h 6858054"/>
              <a:gd name="connsiteX3807" fmla="*/ 4488133 w 7631184"/>
              <a:gd name="connsiteY3807" fmla="*/ 5500120 h 6858054"/>
              <a:gd name="connsiteX3808" fmla="*/ 4478365 w 7631184"/>
              <a:gd name="connsiteY3808" fmla="*/ 5490351 h 6858054"/>
              <a:gd name="connsiteX3809" fmla="*/ 4458828 w 7631184"/>
              <a:gd name="connsiteY3809" fmla="*/ 5451274 h 6858054"/>
              <a:gd name="connsiteX3810" fmla="*/ 4419753 w 7631184"/>
              <a:gd name="connsiteY3810" fmla="*/ 5402427 h 6858054"/>
              <a:gd name="connsiteX3811" fmla="*/ 4409985 w 7631184"/>
              <a:gd name="connsiteY3811" fmla="*/ 5382889 h 6858054"/>
              <a:gd name="connsiteX3812" fmla="*/ 4419753 w 7631184"/>
              <a:gd name="connsiteY3812" fmla="*/ 5382889 h 6858054"/>
              <a:gd name="connsiteX3813" fmla="*/ 4429522 w 7631184"/>
              <a:gd name="connsiteY3813" fmla="*/ 5392658 h 6858054"/>
              <a:gd name="connsiteX3814" fmla="*/ 4451501 w 7631184"/>
              <a:gd name="connsiteY3814" fmla="*/ 5415860 h 6858054"/>
              <a:gd name="connsiteX3815" fmla="*/ 4457930 w 7631184"/>
              <a:gd name="connsiteY3815" fmla="*/ 5424551 h 6858054"/>
              <a:gd name="connsiteX3816" fmla="*/ 4458828 w 7631184"/>
              <a:gd name="connsiteY3816" fmla="*/ 5431735 h 6858054"/>
              <a:gd name="connsiteX3817" fmla="*/ 4459743 w 7631184"/>
              <a:gd name="connsiteY3817" fmla="*/ 5427003 h 6858054"/>
              <a:gd name="connsiteX3818" fmla="*/ 4457930 w 7631184"/>
              <a:gd name="connsiteY3818" fmla="*/ 5424551 h 6858054"/>
              <a:gd name="connsiteX3819" fmla="*/ 4457606 w 7631184"/>
              <a:gd name="connsiteY3819" fmla="*/ 5421966 h 6858054"/>
              <a:gd name="connsiteX3820" fmla="*/ 4449059 w 7631184"/>
              <a:gd name="connsiteY3820" fmla="*/ 5412197 h 6858054"/>
              <a:gd name="connsiteX3821" fmla="*/ 4429522 w 7631184"/>
              <a:gd name="connsiteY3821" fmla="*/ 5363350 h 6858054"/>
              <a:gd name="connsiteX3822" fmla="*/ 4419753 w 7631184"/>
              <a:gd name="connsiteY3822" fmla="*/ 5353581 h 6858054"/>
              <a:gd name="connsiteX3823" fmla="*/ 4409985 w 7631184"/>
              <a:gd name="connsiteY3823" fmla="*/ 5343812 h 6858054"/>
              <a:gd name="connsiteX3824" fmla="*/ 4380679 w 7631184"/>
              <a:gd name="connsiteY3824" fmla="*/ 5304734 h 6858054"/>
              <a:gd name="connsiteX3825" fmla="*/ 4361141 w 7631184"/>
              <a:gd name="connsiteY3825" fmla="*/ 5275426 h 6858054"/>
              <a:gd name="connsiteX3826" fmla="*/ 4351373 w 7631184"/>
              <a:gd name="connsiteY3826" fmla="*/ 5275426 h 6858054"/>
              <a:gd name="connsiteX3827" fmla="*/ 4331836 w 7631184"/>
              <a:gd name="connsiteY3827" fmla="*/ 5285196 h 6858054"/>
              <a:gd name="connsiteX3828" fmla="*/ 4312298 w 7631184"/>
              <a:gd name="connsiteY3828" fmla="*/ 5294965 h 6858054"/>
              <a:gd name="connsiteX3829" fmla="*/ 4312298 w 7631184"/>
              <a:gd name="connsiteY3829" fmla="*/ 5285196 h 6858054"/>
              <a:gd name="connsiteX3830" fmla="*/ 4292761 w 7631184"/>
              <a:gd name="connsiteY3830" fmla="*/ 5246118 h 6858054"/>
              <a:gd name="connsiteX3831" fmla="*/ 4273224 w 7631184"/>
              <a:gd name="connsiteY3831" fmla="*/ 5236349 h 6858054"/>
              <a:gd name="connsiteX3832" fmla="*/ 4273224 w 7631184"/>
              <a:gd name="connsiteY3832" fmla="*/ 5246118 h 6858054"/>
              <a:gd name="connsiteX3833" fmla="*/ 4273224 w 7631184"/>
              <a:gd name="connsiteY3833" fmla="*/ 5265657 h 6858054"/>
              <a:gd name="connsiteX3834" fmla="*/ 4273224 w 7631184"/>
              <a:gd name="connsiteY3834" fmla="*/ 5255888 h 6858054"/>
              <a:gd name="connsiteX3835" fmla="*/ 4263455 w 7631184"/>
              <a:gd name="connsiteY3835" fmla="*/ 5255888 h 6858054"/>
              <a:gd name="connsiteX3836" fmla="*/ 4253687 w 7631184"/>
              <a:gd name="connsiteY3836" fmla="*/ 5265657 h 6858054"/>
              <a:gd name="connsiteX3837" fmla="*/ 4243918 w 7631184"/>
              <a:gd name="connsiteY3837" fmla="*/ 5265657 h 6858054"/>
              <a:gd name="connsiteX3838" fmla="*/ 4253687 w 7631184"/>
              <a:gd name="connsiteY3838" fmla="*/ 5236349 h 6858054"/>
              <a:gd name="connsiteX3839" fmla="*/ 4263455 w 7631184"/>
              <a:gd name="connsiteY3839" fmla="*/ 5207041 h 6858054"/>
              <a:gd name="connsiteX3840" fmla="*/ 4253687 w 7631184"/>
              <a:gd name="connsiteY3840" fmla="*/ 5187503 h 6858054"/>
              <a:gd name="connsiteX3841" fmla="*/ 4195075 w 7631184"/>
              <a:gd name="connsiteY3841" fmla="*/ 5119117 h 6858054"/>
              <a:gd name="connsiteX3842" fmla="*/ 4156001 w 7631184"/>
              <a:gd name="connsiteY3842" fmla="*/ 5070271 h 6858054"/>
              <a:gd name="connsiteX3843" fmla="*/ 4126695 w 7631184"/>
              <a:gd name="connsiteY3843" fmla="*/ 5040963 h 6858054"/>
              <a:gd name="connsiteX3844" fmla="*/ 4126695 w 7631184"/>
              <a:gd name="connsiteY3844" fmla="*/ 5050732 h 6858054"/>
              <a:gd name="connsiteX3845" fmla="*/ 4116926 w 7631184"/>
              <a:gd name="connsiteY3845" fmla="*/ 5060502 h 6858054"/>
              <a:gd name="connsiteX3846" fmla="*/ 4116926 w 7631184"/>
              <a:gd name="connsiteY3846" fmla="*/ 5070271 h 6858054"/>
              <a:gd name="connsiteX3847" fmla="*/ 4136463 w 7631184"/>
              <a:gd name="connsiteY3847" fmla="*/ 5099579 h 6858054"/>
              <a:gd name="connsiteX3848" fmla="*/ 4156001 w 7631184"/>
              <a:gd name="connsiteY3848" fmla="*/ 5119117 h 6858054"/>
              <a:gd name="connsiteX3849" fmla="*/ 4156001 w 7631184"/>
              <a:gd name="connsiteY3849" fmla="*/ 5128887 h 6858054"/>
              <a:gd name="connsiteX3850" fmla="*/ 4136463 w 7631184"/>
              <a:gd name="connsiteY3850" fmla="*/ 5119117 h 6858054"/>
              <a:gd name="connsiteX3851" fmla="*/ 4126695 w 7631184"/>
              <a:gd name="connsiteY3851" fmla="*/ 5119117 h 6858054"/>
              <a:gd name="connsiteX3852" fmla="*/ 4116926 w 7631184"/>
              <a:gd name="connsiteY3852" fmla="*/ 5099579 h 6858054"/>
              <a:gd name="connsiteX3853" fmla="*/ 4087620 w 7631184"/>
              <a:gd name="connsiteY3853" fmla="*/ 5070271 h 6858054"/>
              <a:gd name="connsiteX3854" fmla="*/ 4068083 w 7631184"/>
              <a:gd name="connsiteY3854" fmla="*/ 5040963 h 6858054"/>
              <a:gd name="connsiteX3855" fmla="*/ 4058314 w 7631184"/>
              <a:gd name="connsiteY3855" fmla="*/ 5021424 h 6858054"/>
              <a:gd name="connsiteX3856" fmla="*/ 4038777 w 7631184"/>
              <a:gd name="connsiteY3856" fmla="*/ 5001886 h 6858054"/>
              <a:gd name="connsiteX3857" fmla="*/ 3980166 w 7631184"/>
              <a:gd name="connsiteY3857" fmla="*/ 4943270 h 6858054"/>
              <a:gd name="connsiteX3858" fmla="*/ 3999703 w 7631184"/>
              <a:gd name="connsiteY3858" fmla="*/ 4962809 h 6858054"/>
              <a:gd name="connsiteX3859" fmla="*/ 4019240 w 7631184"/>
              <a:gd name="connsiteY3859" fmla="*/ 5001886 h 6858054"/>
              <a:gd name="connsiteX3860" fmla="*/ 4058314 w 7631184"/>
              <a:gd name="connsiteY3860" fmla="*/ 5050732 h 6858054"/>
              <a:gd name="connsiteX3861" fmla="*/ 4087620 w 7631184"/>
              <a:gd name="connsiteY3861" fmla="*/ 5089810 h 6858054"/>
              <a:gd name="connsiteX3862" fmla="*/ 4107157 w 7631184"/>
              <a:gd name="connsiteY3862" fmla="*/ 5109348 h 6858054"/>
              <a:gd name="connsiteX3863" fmla="*/ 4156001 w 7631184"/>
              <a:gd name="connsiteY3863" fmla="*/ 5177733 h 6858054"/>
              <a:gd name="connsiteX3864" fmla="*/ 4175538 w 7631184"/>
              <a:gd name="connsiteY3864" fmla="*/ 5197272 h 6858054"/>
              <a:gd name="connsiteX3865" fmla="*/ 4175538 w 7631184"/>
              <a:gd name="connsiteY3865" fmla="*/ 5207041 h 6858054"/>
              <a:gd name="connsiteX3866" fmla="*/ 4185306 w 7631184"/>
              <a:gd name="connsiteY3866" fmla="*/ 5216811 h 6858054"/>
              <a:gd name="connsiteX3867" fmla="*/ 4195075 w 7631184"/>
              <a:gd name="connsiteY3867" fmla="*/ 5226580 h 6858054"/>
              <a:gd name="connsiteX3868" fmla="*/ 4204844 w 7631184"/>
              <a:gd name="connsiteY3868" fmla="*/ 5236349 h 6858054"/>
              <a:gd name="connsiteX3869" fmla="*/ 4195075 w 7631184"/>
              <a:gd name="connsiteY3869" fmla="*/ 5236349 h 6858054"/>
              <a:gd name="connsiteX3870" fmla="*/ 4195075 w 7631184"/>
              <a:gd name="connsiteY3870" fmla="*/ 5246118 h 6858054"/>
              <a:gd name="connsiteX3871" fmla="*/ 4204844 w 7631184"/>
              <a:gd name="connsiteY3871" fmla="*/ 5265657 h 6858054"/>
              <a:gd name="connsiteX3872" fmla="*/ 4224381 w 7631184"/>
              <a:gd name="connsiteY3872" fmla="*/ 5285196 h 6858054"/>
              <a:gd name="connsiteX3873" fmla="*/ 4224381 w 7631184"/>
              <a:gd name="connsiteY3873" fmla="*/ 5304734 h 6858054"/>
              <a:gd name="connsiteX3874" fmla="*/ 4243918 w 7631184"/>
              <a:gd name="connsiteY3874" fmla="*/ 5324273 h 6858054"/>
              <a:gd name="connsiteX3875" fmla="*/ 4253687 w 7631184"/>
              <a:gd name="connsiteY3875" fmla="*/ 5343812 h 6858054"/>
              <a:gd name="connsiteX3876" fmla="*/ 4273224 w 7631184"/>
              <a:gd name="connsiteY3876" fmla="*/ 5373119 h 6858054"/>
              <a:gd name="connsiteX3877" fmla="*/ 4312298 w 7631184"/>
              <a:gd name="connsiteY3877" fmla="*/ 5441505 h 6858054"/>
              <a:gd name="connsiteX3878" fmla="*/ 4302530 w 7631184"/>
              <a:gd name="connsiteY3878" fmla="*/ 5441505 h 6858054"/>
              <a:gd name="connsiteX3879" fmla="*/ 4292761 w 7631184"/>
              <a:gd name="connsiteY3879" fmla="*/ 5412197 h 6858054"/>
              <a:gd name="connsiteX3880" fmla="*/ 4273224 w 7631184"/>
              <a:gd name="connsiteY3880" fmla="*/ 5382889 h 6858054"/>
              <a:gd name="connsiteX3881" fmla="*/ 4253687 w 7631184"/>
              <a:gd name="connsiteY3881" fmla="*/ 5353581 h 6858054"/>
              <a:gd name="connsiteX3882" fmla="*/ 4243918 w 7631184"/>
              <a:gd name="connsiteY3882" fmla="*/ 5353581 h 6858054"/>
              <a:gd name="connsiteX3883" fmla="*/ 4234150 w 7631184"/>
              <a:gd name="connsiteY3883" fmla="*/ 5363350 h 6858054"/>
              <a:gd name="connsiteX3884" fmla="*/ 4214612 w 7631184"/>
              <a:gd name="connsiteY3884" fmla="*/ 5363350 h 6858054"/>
              <a:gd name="connsiteX3885" fmla="*/ 4185306 w 7631184"/>
              <a:gd name="connsiteY3885" fmla="*/ 5324273 h 6858054"/>
              <a:gd name="connsiteX3886" fmla="*/ 4195075 w 7631184"/>
              <a:gd name="connsiteY3886" fmla="*/ 5324273 h 6858054"/>
              <a:gd name="connsiteX3887" fmla="*/ 4204844 w 7631184"/>
              <a:gd name="connsiteY3887" fmla="*/ 5314504 h 6858054"/>
              <a:gd name="connsiteX3888" fmla="*/ 4185306 w 7631184"/>
              <a:gd name="connsiteY3888" fmla="*/ 5285196 h 6858054"/>
              <a:gd name="connsiteX3889" fmla="*/ 4185306 w 7631184"/>
              <a:gd name="connsiteY3889" fmla="*/ 5304734 h 6858054"/>
              <a:gd name="connsiteX3890" fmla="*/ 4185306 w 7631184"/>
              <a:gd name="connsiteY3890" fmla="*/ 5314504 h 6858054"/>
              <a:gd name="connsiteX3891" fmla="*/ 4175538 w 7631184"/>
              <a:gd name="connsiteY3891" fmla="*/ 5304734 h 6858054"/>
              <a:gd name="connsiteX3892" fmla="*/ 4146232 w 7631184"/>
              <a:gd name="connsiteY3892" fmla="*/ 5255888 h 6858054"/>
              <a:gd name="connsiteX3893" fmla="*/ 4126695 w 7631184"/>
              <a:gd name="connsiteY3893" fmla="*/ 5246118 h 6858054"/>
              <a:gd name="connsiteX3894" fmla="*/ 4116926 w 7631184"/>
              <a:gd name="connsiteY3894" fmla="*/ 5226580 h 6858054"/>
              <a:gd name="connsiteX3895" fmla="*/ 4058314 w 7631184"/>
              <a:gd name="connsiteY3895" fmla="*/ 5167964 h 6858054"/>
              <a:gd name="connsiteX3896" fmla="*/ 4058314 w 7631184"/>
              <a:gd name="connsiteY3896" fmla="*/ 5158195 h 6858054"/>
              <a:gd name="connsiteX3897" fmla="*/ 4068083 w 7631184"/>
              <a:gd name="connsiteY3897" fmla="*/ 5187503 h 6858054"/>
              <a:gd name="connsiteX3898" fmla="*/ 4058314 w 7631184"/>
              <a:gd name="connsiteY3898" fmla="*/ 5177733 h 6858054"/>
              <a:gd name="connsiteX3899" fmla="*/ 4009471 w 7631184"/>
              <a:gd name="connsiteY3899" fmla="*/ 5128887 h 6858054"/>
              <a:gd name="connsiteX3900" fmla="*/ 4009471 w 7631184"/>
              <a:gd name="connsiteY3900" fmla="*/ 5119117 h 6858054"/>
              <a:gd name="connsiteX3901" fmla="*/ 3980166 w 7631184"/>
              <a:gd name="connsiteY3901" fmla="*/ 5089810 h 6858054"/>
              <a:gd name="connsiteX3902" fmla="*/ 4019240 w 7631184"/>
              <a:gd name="connsiteY3902" fmla="*/ 5119117 h 6858054"/>
              <a:gd name="connsiteX3903" fmla="*/ 4019240 w 7631184"/>
              <a:gd name="connsiteY3903" fmla="*/ 5109348 h 6858054"/>
              <a:gd name="connsiteX3904" fmla="*/ 3999703 w 7631184"/>
              <a:gd name="connsiteY3904" fmla="*/ 5089810 h 6858054"/>
              <a:gd name="connsiteX3905" fmla="*/ 3999703 w 7631184"/>
              <a:gd name="connsiteY3905" fmla="*/ 5080040 h 6858054"/>
              <a:gd name="connsiteX3906" fmla="*/ 4019240 w 7631184"/>
              <a:gd name="connsiteY3906" fmla="*/ 5099579 h 6858054"/>
              <a:gd name="connsiteX3907" fmla="*/ 4058314 w 7631184"/>
              <a:gd name="connsiteY3907" fmla="*/ 5138656 h 6858054"/>
              <a:gd name="connsiteX3908" fmla="*/ 4087620 w 7631184"/>
              <a:gd name="connsiteY3908" fmla="*/ 5167964 h 6858054"/>
              <a:gd name="connsiteX3909" fmla="*/ 4136463 w 7631184"/>
              <a:gd name="connsiteY3909" fmla="*/ 5216811 h 6858054"/>
              <a:gd name="connsiteX3910" fmla="*/ 4175538 w 7631184"/>
              <a:gd name="connsiteY3910" fmla="*/ 5255888 h 6858054"/>
              <a:gd name="connsiteX3911" fmla="*/ 4175538 w 7631184"/>
              <a:gd name="connsiteY3911" fmla="*/ 5236349 h 6858054"/>
              <a:gd name="connsiteX3912" fmla="*/ 4165769 w 7631184"/>
              <a:gd name="connsiteY3912" fmla="*/ 5226580 h 6858054"/>
              <a:gd name="connsiteX3913" fmla="*/ 4165769 w 7631184"/>
              <a:gd name="connsiteY3913" fmla="*/ 5216811 h 6858054"/>
              <a:gd name="connsiteX3914" fmla="*/ 4156001 w 7631184"/>
              <a:gd name="connsiteY3914" fmla="*/ 5216811 h 6858054"/>
              <a:gd name="connsiteX3915" fmla="*/ 4146232 w 7631184"/>
              <a:gd name="connsiteY3915" fmla="*/ 5197272 h 6858054"/>
              <a:gd name="connsiteX3916" fmla="*/ 4126695 w 7631184"/>
              <a:gd name="connsiteY3916" fmla="*/ 5167964 h 6858054"/>
              <a:gd name="connsiteX3917" fmla="*/ 4126695 w 7631184"/>
              <a:gd name="connsiteY3917" fmla="*/ 5148425 h 6858054"/>
              <a:gd name="connsiteX3918" fmla="*/ 4116926 w 7631184"/>
              <a:gd name="connsiteY3918" fmla="*/ 5138656 h 6858054"/>
              <a:gd name="connsiteX3919" fmla="*/ 4107157 w 7631184"/>
              <a:gd name="connsiteY3919" fmla="*/ 5138656 h 6858054"/>
              <a:gd name="connsiteX3920" fmla="*/ 4087620 w 7631184"/>
              <a:gd name="connsiteY3920" fmla="*/ 5109348 h 6858054"/>
              <a:gd name="connsiteX3921" fmla="*/ 4058314 w 7631184"/>
              <a:gd name="connsiteY3921" fmla="*/ 5070271 h 6858054"/>
              <a:gd name="connsiteX3922" fmla="*/ 4029009 w 7631184"/>
              <a:gd name="connsiteY3922" fmla="*/ 5031194 h 6858054"/>
              <a:gd name="connsiteX3923" fmla="*/ 4019240 w 7631184"/>
              <a:gd name="connsiteY3923" fmla="*/ 5021424 h 6858054"/>
              <a:gd name="connsiteX3924" fmla="*/ 3989934 w 7631184"/>
              <a:gd name="connsiteY3924" fmla="*/ 4972578 h 6858054"/>
              <a:gd name="connsiteX3925" fmla="*/ 3960628 w 7631184"/>
              <a:gd name="connsiteY3925" fmla="*/ 4933501 h 6858054"/>
              <a:gd name="connsiteX3926" fmla="*/ 3941091 w 7631184"/>
              <a:gd name="connsiteY3926" fmla="*/ 4913962 h 6858054"/>
              <a:gd name="connsiteX3927" fmla="*/ 3911785 w 7631184"/>
              <a:gd name="connsiteY3927" fmla="*/ 4884654 h 6858054"/>
              <a:gd name="connsiteX3928" fmla="*/ 3862942 w 7631184"/>
              <a:gd name="connsiteY3928" fmla="*/ 4826038 h 6858054"/>
              <a:gd name="connsiteX3929" fmla="*/ 3814099 w 7631184"/>
              <a:gd name="connsiteY3929" fmla="*/ 4777192 h 6858054"/>
              <a:gd name="connsiteX3930" fmla="*/ 3765256 w 7631184"/>
              <a:gd name="connsiteY3930" fmla="*/ 4708807 h 6858054"/>
              <a:gd name="connsiteX3931" fmla="*/ 3735950 w 7631184"/>
              <a:gd name="connsiteY3931" fmla="*/ 4669729 h 6858054"/>
              <a:gd name="connsiteX3932" fmla="*/ 3706644 w 7631184"/>
              <a:gd name="connsiteY3932" fmla="*/ 4650191 h 6858054"/>
              <a:gd name="connsiteX3933" fmla="*/ 3696876 w 7631184"/>
              <a:gd name="connsiteY3933" fmla="*/ 4630652 h 6858054"/>
              <a:gd name="connsiteX3934" fmla="*/ 3579652 w 7631184"/>
              <a:gd name="connsiteY3934" fmla="*/ 4503651 h 6858054"/>
              <a:gd name="connsiteX3935" fmla="*/ 3511272 w 7631184"/>
              <a:gd name="connsiteY3935" fmla="*/ 4425497 h 6858054"/>
              <a:gd name="connsiteX3936" fmla="*/ 3433123 w 7631184"/>
              <a:gd name="connsiteY3936" fmla="*/ 4347342 h 6858054"/>
              <a:gd name="connsiteX3937" fmla="*/ 3433123 w 7631184"/>
              <a:gd name="connsiteY3937" fmla="*/ 4357111 h 6858054"/>
              <a:gd name="connsiteX3938" fmla="*/ 3433123 w 7631184"/>
              <a:gd name="connsiteY3938" fmla="*/ 4366881 h 6858054"/>
              <a:gd name="connsiteX3939" fmla="*/ 3452661 w 7631184"/>
              <a:gd name="connsiteY3939" fmla="*/ 4386419 h 6858054"/>
              <a:gd name="connsiteX3940" fmla="*/ 3491735 w 7631184"/>
              <a:gd name="connsiteY3940" fmla="*/ 4435266 h 6858054"/>
              <a:gd name="connsiteX3941" fmla="*/ 3530809 w 7631184"/>
              <a:gd name="connsiteY3941" fmla="*/ 4484112 h 6858054"/>
              <a:gd name="connsiteX3942" fmla="*/ 3550347 w 7631184"/>
              <a:gd name="connsiteY3942" fmla="*/ 4513420 h 6858054"/>
              <a:gd name="connsiteX3943" fmla="*/ 3579652 w 7631184"/>
              <a:gd name="connsiteY3943" fmla="*/ 4532959 h 6858054"/>
              <a:gd name="connsiteX3944" fmla="*/ 3599190 w 7631184"/>
              <a:gd name="connsiteY3944" fmla="*/ 4572036 h 6858054"/>
              <a:gd name="connsiteX3945" fmla="*/ 3452661 w 7631184"/>
              <a:gd name="connsiteY3945" fmla="*/ 4425497 h 6858054"/>
              <a:gd name="connsiteX3946" fmla="*/ 3394049 w 7631184"/>
              <a:gd name="connsiteY3946" fmla="*/ 4357111 h 6858054"/>
              <a:gd name="connsiteX3947" fmla="*/ 3276826 w 7631184"/>
              <a:gd name="connsiteY3947" fmla="*/ 4230110 h 6858054"/>
              <a:gd name="connsiteX3948" fmla="*/ 3188908 w 7631184"/>
              <a:gd name="connsiteY3948" fmla="*/ 4132417 h 6858054"/>
              <a:gd name="connsiteX3949" fmla="*/ 3149834 w 7631184"/>
              <a:gd name="connsiteY3949" fmla="*/ 4083571 h 6858054"/>
              <a:gd name="connsiteX3950" fmla="*/ 3120528 w 7631184"/>
              <a:gd name="connsiteY3950" fmla="*/ 4064032 h 6858054"/>
              <a:gd name="connsiteX3951" fmla="*/ 3140065 w 7631184"/>
              <a:gd name="connsiteY3951" fmla="*/ 4093340 h 6858054"/>
              <a:gd name="connsiteX3952" fmla="*/ 3159602 w 7631184"/>
              <a:gd name="connsiteY3952" fmla="*/ 4122648 h 6858054"/>
              <a:gd name="connsiteX3953" fmla="*/ 3149834 w 7631184"/>
              <a:gd name="connsiteY3953" fmla="*/ 4112879 h 6858054"/>
              <a:gd name="connsiteX3954" fmla="*/ 3100991 w 7631184"/>
              <a:gd name="connsiteY3954" fmla="*/ 4073801 h 6858054"/>
              <a:gd name="connsiteX3955" fmla="*/ 3091222 w 7631184"/>
              <a:gd name="connsiteY3955" fmla="*/ 4064032 h 6858054"/>
              <a:gd name="connsiteX3956" fmla="*/ 3071685 w 7631184"/>
              <a:gd name="connsiteY3956" fmla="*/ 4044494 h 6858054"/>
              <a:gd name="connsiteX3957" fmla="*/ 3013073 w 7631184"/>
              <a:gd name="connsiteY3957" fmla="*/ 3985878 h 6858054"/>
              <a:gd name="connsiteX3958" fmla="*/ 2944693 w 7631184"/>
              <a:gd name="connsiteY3958" fmla="*/ 3917493 h 6858054"/>
              <a:gd name="connsiteX3959" fmla="*/ 2778626 w 7631184"/>
              <a:gd name="connsiteY3959" fmla="*/ 3761184 h 6858054"/>
              <a:gd name="connsiteX3960" fmla="*/ 2759089 w 7631184"/>
              <a:gd name="connsiteY3960" fmla="*/ 3731876 h 6858054"/>
              <a:gd name="connsiteX3961" fmla="*/ 2729783 w 7631184"/>
              <a:gd name="connsiteY3961" fmla="*/ 3702568 h 6858054"/>
              <a:gd name="connsiteX3962" fmla="*/ 2710246 w 7631184"/>
              <a:gd name="connsiteY3962" fmla="*/ 3683029 h 6858054"/>
              <a:gd name="connsiteX3963" fmla="*/ 2700477 w 7631184"/>
              <a:gd name="connsiteY3963" fmla="*/ 3673260 h 6858054"/>
              <a:gd name="connsiteX3964" fmla="*/ 2671172 w 7631184"/>
              <a:gd name="connsiteY3964" fmla="*/ 3653721 h 6858054"/>
              <a:gd name="connsiteX3965" fmla="*/ 2641866 w 7631184"/>
              <a:gd name="connsiteY3965" fmla="*/ 3624413 h 6858054"/>
              <a:gd name="connsiteX3966" fmla="*/ 2593023 w 7631184"/>
              <a:gd name="connsiteY3966" fmla="*/ 3585336 h 6858054"/>
              <a:gd name="connsiteX3967" fmla="*/ 2563717 w 7631184"/>
              <a:gd name="connsiteY3967" fmla="*/ 3546259 h 6858054"/>
              <a:gd name="connsiteX3968" fmla="*/ 2475799 w 7631184"/>
              <a:gd name="connsiteY3968" fmla="*/ 3458335 h 6858054"/>
              <a:gd name="connsiteX3969" fmla="*/ 2466031 w 7631184"/>
              <a:gd name="connsiteY3969" fmla="*/ 3448566 h 6858054"/>
              <a:gd name="connsiteX3970" fmla="*/ 2446494 w 7631184"/>
              <a:gd name="connsiteY3970" fmla="*/ 3438796 h 6858054"/>
              <a:gd name="connsiteX3971" fmla="*/ 2446494 w 7631184"/>
              <a:gd name="connsiteY3971" fmla="*/ 3429027 h 6858054"/>
              <a:gd name="connsiteX3972" fmla="*/ 2426956 w 7631184"/>
              <a:gd name="connsiteY3972" fmla="*/ 3419258 h 6858054"/>
              <a:gd name="connsiteX3973" fmla="*/ 2407419 w 7631184"/>
              <a:gd name="connsiteY3973" fmla="*/ 3389950 h 6858054"/>
              <a:gd name="connsiteX3974" fmla="*/ 2378113 w 7631184"/>
              <a:gd name="connsiteY3974" fmla="*/ 3370411 h 6858054"/>
              <a:gd name="connsiteX3975" fmla="*/ 2319502 w 7631184"/>
              <a:gd name="connsiteY3975" fmla="*/ 3321565 h 6858054"/>
              <a:gd name="connsiteX3976" fmla="*/ 2299964 w 7631184"/>
              <a:gd name="connsiteY3976" fmla="*/ 3302026 h 6858054"/>
              <a:gd name="connsiteX3977" fmla="*/ 2212047 w 7631184"/>
              <a:gd name="connsiteY3977" fmla="*/ 3223872 h 6858054"/>
              <a:gd name="connsiteX3978" fmla="*/ 2182741 w 7631184"/>
              <a:gd name="connsiteY3978" fmla="*/ 3204333 h 6858054"/>
              <a:gd name="connsiteX3979" fmla="*/ 2104592 w 7631184"/>
              <a:gd name="connsiteY3979" fmla="*/ 3145717 h 6858054"/>
              <a:gd name="connsiteX3980" fmla="*/ 2065518 w 7631184"/>
              <a:gd name="connsiteY3980" fmla="*/ 3116409 h 6858054"/>
              <a:gd name="connsiteX3981" fmla="*/ 2026443 w 7631184"/>
              <a:gd name="connsiteY3981" fmla="*/ 3087101 h 6858054"/>
              <a:gd name="connsiteX3982" fmla="*/ 1987369 w 7631184"/>
              <a:gd name="connsiteY3982" fmla="*/ 3057793 h 6858054"/>
              <a:gd name="connsiteX3983" fmla="*/ 1958063 w 7631184"/>
              <a:gd name="connsiteY3983" fmla="*/ 3028486 h 6858054"/>
              <a:gd name="connsiteX3984" fmla="*/ 1918988 w 7631184"/>
              <a:gd name="connsiteY3984" fmla="*/ 3008947 h 6858054"/>
              <a:gd name="connsiteX3985" fmla="*/ 1899451 w 7631184"/>
              <a:gd name="connsiteY3985" fmla="*/ 2999178 h 6858054"/>
              <a:gd name="connsiteX3986" fmla="*/ 1889683 w 7631184"/>
              <a:gd name="connsiteY3986" fmla="*/ 2989408 h 6858054"/>
              <a:gd name="connsiteX3987" fmla="*/ 1870145 w 7631184"/>
              <a:gd name="connsiteY3987" fmla="*/ 2979639 h 6858054"/>
              <a:gd name="connsiteX3988" fmla="*/ 1840840 w 7631184"/>
              <a:gd name="connsiteY3988" fmla="*/ 2960100 h 6858054"/>
              <a:gd name="connsiteX3989" fmla="*/ 1821302 w 7631184"/>
              <a:gd name="connsiteY3989" fmla="*/ 2950331 h 6858054"/>
              <a:gd name="connsiteX3990" fmla="*/ 1801765 w 7631184"/>
              <a:gd name="connsiteY3990" fmla="*/ 2940562 h 6858054"/>
              <a:gd name="connsiteX3991" fmla="*/ 1752922 w 7631184"/>
              <a:gd name="connsiteY3991" fmla="*/ 2911254 h 6858054"/>
              <a:gd name="connsiteX3992" fmla="*/ 1723616 w 7631184"/>
              <a:gd name="connsiteY3992" fmla="*/ 2891715 h 6858054"/>
              <a:gd name="connsiteX3993" fmla="*/ 1694310 w 7631184"/>
              <a:gd name="connsiteY3993" fmla="*/ 2872177 h 6858054"/>
              <a:gd name="connsiteX3994" fmla="*/ 1684542 w 7631184"/>
              <a:gd name="connsiteY3994" fmla="*/ 2862407 h 6858054"/>
              <a:gd name="connsiteX3995" fmla="*/ 1665005 w 7631184"/>
              <a:gd name="connsiteY3995" fmla="*/ 2852638 h 6858054"/>
              <a:gd name="connsiteX3996" fmla="*/ 1655236 w 7631184"/>
              <a:gd name="connsiteY3996" fmla="*/ 2842869 h 6858054"/>
              <a:gd name="connsiteX3997" fmla="*/ 1645467 w 7631184"/>
              <a:gd name="connsiteY3997" fmla="*/ 2833099 h 6858054"/>
              <a:gd name="connsiteX3998" fmla="*/ 1635699 w 7631184"/>
              <a:gd name="connsiteY3998" fmla="*/ 2833099 h 6858054"/>
              <a:gd name="connsiteX3999" fmla="*/ 1625930 w 7631184"/>
              <a:gd name="connsiteY3999" fmla="*/ 2823330 h 6858054"/>
              <a:gd name="connsiteX4000" fmla="*/ 1616162 w 7631184"/>
              <a:gd name="connsiteY4000" fmla="*/ 2823330 h 6858054"/>
              <a:gd name="connsiteX4001" fmla="*/ 1596624 w 7631184"/>
              <a:gd name="connsiteY4001" fmla="*/ 2813561 h 6858054"/>
              <a:gd name="connsiteX4002" fmla="*/ 1586856 w 7631184"/>
              <a:gd name="connsiteY4002" fmla="*/ 2803791 h 6858054"/>
              <a:gd name="connsiteX4003" fmla="*/ 1577087 w 7631184"/>
              <a:gd name="connsiteY4003" fmla="*/ 2794022 h 6858054"/>
              <a:gd name="connsiteX4004" fmla="*/ 1567319 w 7631184"/>
              <a:gd name="connsiteY4004" fmla="*/ 2794022 h 6858054"/>
              <a:gd name="connsiteX4005" fmla="*/ 1557550 w 7631184"/>
              <a:gd name="connsiteY4005" fmla="*/ 2794022 h 6858054"/>
              <a:gd name="connsiteX4006" fmla="*/ 1547781 w 7631184"/>
              <a:gd name="connsiteY4006" fmla="*/ 2784253 h 6858054"/>
              <a:gd name="connsiteX4007" fmla="*/ 1489170 w 7631184"/>
              <a:gd name="connsiteY4007" fmla="*/ 2745176 h 6858054"/>
              <a:gd name="connsiteX4008" fmla="*/ 1459864 w 7631184"/>
              <a:gd name="connsiteY4008" fmla="*/ 2735406 h 6858054"/>
              <a:gd name="connsiteX4009" fmla="*/ 1440327 w 7631184"/>
              <a:gd name="connsiteY4009" fmla="*/ 2725637 h 6858054"/>
              <a:gd name="connsiteX4010" fmla="*/ 1411021 w 7631184"/>
              <a:gd name="connsiteY4010" fmla="*/ 2706099 h 6858054"/>
              <a:gd name="connsiteX4011" fmla="*/ 1401252 w 7631184"/>
              <a:gd name="connsiteY4011" fmla="*/ 2706099 h 6858054"/>
              <a:gd name="connsiteX4012" fmla="*/ 1391483 w 7631184"/>
              <a:gd name="connsiteY4012" fmla="*/ 2706099 h 6858054"/>
              <a:gd name="connsiteX4013" fmla="*/ 1391483 w 7631184"/>
              <a:gd name="connsiteY4013" fmla="*/ 2696329 h 6858054"/>
              <a:gd name="connsiteX4014" fmla="*/ 1352409 w 7631184"/>
              <a:gd name="connsiteY4014" fmla="*/ 2676790 h 6858054"/>
              <a:gd name="connsiteX4015" fmla="*/ 1332872 w 7631184"/>
              <a:gd name="connsiteY4015" fmla="*/ 2667021 h 6858054"/>
              <a:gd name="connsiteX4016" fmla="*/ 1313335 w 7631184"/>
              <a:gd name="connsiteY4016" fmla="*/ 2657252 h 6858054"/>
              <a:gd name="connsiteX4017" fmla="*/ 1303566 w 7631184"/>
              <a:gd name="connsiteY4017" fmla="*/ 2657252 h 6858054"/>
              <a:gd name="connsiteX4018" fmla="*/ 1293797 w 7631184"/>
              <a:gd name="connsiteY4018" fmla="*/ 2647483 h 6858054"/>
              <a:gd name="connsiteX4019" fmla="*/ 1284029 w 7631184"/>
              <a:gd name="connsiteY4019" fmla="*/ 2647483 h 6858054"/>
              <a:gd name="connsiteX4020" fmla="*/ 1254723 w 7631184"/>
              <a:gd name="connsiteY4020" fmla="*/ 2637713 h 6858054"/>
              <a:gd name="connsiteX4021" fmla="*/ 1225417 w 7631184"/>
              <a:gd name="connsiteY4021" fmla="*/ 2627944 h 6858054"/>
              <a:gd name="connsiteX4022" fmla="*/ 1235186 w 7631184"/>
              <a:gd name="connsiteY4022" fmla="*/ 2627944 h 6858054"/>
              <a:gd name="connsiteX4023" fmla="*/ 1244954 w 7631184"/>
              <a:gd name="connsiteY4023" fmla="*/ 2627944 h 6858054"/>
              <a:gd name="connsiteX4024" fmla="*/ 1235186 w 7631184"/>
              <a:gd name="connsiteY4024" fmla="*/ 2618175 h 6858054"/>
              <a:gd name="connsiteX4025" fmla="*/ 1215648 w 7631184"/>
              <a:gd name="connsiteY4025" fmla="*/ 2608406 h 6858054"/>
              <a:gd name="connsiteX4026" fmla="*/ 1205880 w 7631184"/>
              <a:gd name="connsiteY4026" fmla="*/ 2618175 h 6858054"/>
              <a:gd name="connsiteX4027" fmla="*/ 1225417 w 7631184"/>
              <a:gd name="connsiteY4027" fmla="*/ 2627944 h 6858054"/>
              <a:gd name="connsiteX4028" fmla="*/ 1303566 w 7631184"/>
              <a:gd name="connsiteY4028" fmla="*/ 2676790 h 6858054"/>
              <a:gd name="connsiteX4029" fmla="*/ 1342640 w 7631184"/>
              <a:gd name="connsiteY4029" fmla="*/ 2706099 h 6858054"/>
              <a:gd name="connsiteX4030" fmla="*/ 1362178 w 7631184"/>
              <a:gd name="connsiteY4030" fmla="*/ 2715868 h 6858054"/>
              <a:gd name="connsiteX4031" fmla="*/ 1391483 w 7631184"/>
              <a:gd name="connsiteY4031" fmla="*/ 2735406 h 6858054"/>
              <a:gd name="connsiteX4032" fmla="*/ 1352409 w 7631184"/>
              <a:gd name="connsiteY4032" fmla="*/ 2715868 h 6858054"/>
              <a:gd name="connsiteX4033" fmla="*/ 1332872 w 7631184"/>
              <a:gd name="connsiteY4033" fmla="*/ 2706099 h 6858054"/>
              <a:gd name="connsiteX4034" fmla="*/ 1323103 w 7631184"/>
              <a:gd name="connsiteY4034" fmla="*/ 2696329 h 6858054"/>
              <a:gd name="connsiteX4035" fmla="*/ 1303566 w 7631184"/>
              <a:gd name="connsiteY4035" fmla="*/ 2686560 h 6858054"/>
              <a:gd name="connsiteX4036" fmla="*/ 1264492 w 7631184"/>
              <a:gd name="connsiteY4036" fmla="*/ 2667021 h 6858054"/>
              <a:gd name="connsiteX4037" fmla="*/ 1235186 w 7631184"/>
              <a:gd name="connsiteY4037" fmla="*/ 2647483 h 6858054"/>
              <a:gd name="connsiteX4038" fmla="*/ 1205880 w 7631184"/>
              <a:gd name="connsiteY4038" fmla="*/ 2627944 h 6858054"/>
              <a:gd name="connsiteX4039" fmla="*/ 1186343 w 7631184"/>
              <a:gd name="connsiteY4039" fmla="*/ 2608406 h 6858054"/>
              <a:gd name="connsiteX4040" fmla="*/ 1176574 w 7631184"/>
              <a:gd name="connsiteY4040" fmla="*/ 2608406 h 6858054"/>
              <a:gd name="connsiteX4041" fmla="*/ 1166805 w 7631184"/>
              <a:gd name="connsiteY4041" fmla="*/ 2598636 h 6858054"/>
              <a:gd name="connsiteX4042" fmla="*/ 1137500 w 7631184"/>
              <a:gd name="connsiteY4042" fmla="*/ 2588867 h 6858054"/>
              <a:gd name="connsiteX4043" fmla="*/ 1098425 w 7631184"/>
              <a:gd name="connsiteY4043" fmla="*/ 2569328 h 6858054"/>
              <a:gd name="connsiteX4044" fmla="*/ 1078888 w 7631184"/>
              <a:gd name="connsiteY4044" fmla="*/ 2559559 h 6858054"/>
              <a:gd name="connsiteX4045" fmla="*/ 1059351 w 7631184"/>
              <a:gd name="connsiteY4045" fmla="*/ 2540020 h 6858054"/>
              <a:gd name="connsiteX4046" fmla="*/ 1108194 w 7631184"/>
              <a:gd name="connsiteY4046" fmla="*/ 2559559 h 6858054"/>
              <a:gd name="connsiteX4047" fmla="*/ 1157037 w 7631184"/>
              <a:gd name="connsiteY4047" fmla="*/ 2588867 h 6858054"/>
              <a:gd name="connsiteX4048" fmla="*/ 1157037 w 7631184"/>
              <a:gd name="connsiteY4048" fmla="*/ 2559559 h 6858054"/>
              <a:gd name="connsiteX4049" fmla="*/ 1137500 w 7631184"/>
              <a:gd name="connsiteY4049" fmla="*/ 2540020 h 6858054"/>
              <a:gd name="connsiteX4050" fmla="*/ 1117962 w 7631184"/>
              <a:gd name="connsiteY4050" fmla="*/ 2530251 h 6858054"/>
              <a:gd name="connsiteX4051" fmla="*/ 1108194 w 7631184"/>
              <a:gd name="connsiteY4051" fmla="*/ 2530251 h 6858054"/>
              <a:gd name="connsiteX4052" fmla="*/ 1098425 w 7631184"/>
              <a:gd name="connsiteY4052" fmla="*/ 2520482 h 6858054"/>
              <a:gd name="connsiteX4053" fmla="*/ 1039813 w 7631184"/>
              <a:gd name="connsiteY4053" fmla="*/ 2520482 h 6858054"/>
              <a:gd name="connsiteX4054" fmla="*/ 961665 w 7631184"/>
              <a:gd name="connsiteY4054" fmla="*/ 2510712 h 6858054"/>
              <a:gd name="connsiteX4055" fmla="*/ 922590 w 7631184"/>
              <a:gd name="connsiteY4055" fmla="*/ 2500943 h 6858054"/>
              <a:gd name="connsiteX4056" fmla="*/ 903053 w 7631184"/>
              <a:gd name="connsiteY4056" fmla="*/ 2491174 h 6858054"/>
              <a:gd name="connsiteX4057" fmla="*/ 893284 w 7631184"/>
              <a:gd name="connsiteY4057" fmla="*/ 2491174 h 6858054"/>
              <a:gd name="connsiteX4058" fmla="*/ 893284 w 7631184"/>
              <a:gd name="connsiteY4058" fmla="*/ 2481404 h 6858054"/>
              <a:gd name="connsiteX4059" fmla="*/ 903053 w 7631184"/>
              <a:gd name="connsiteY4059" fmla="*/ 2481404 h 6858054"/>
              <a:gd name="connsiteX4060" fmla="*/ 922590 w 7631184"/>
              <a:gd name="connsiteY4060" fmla="*/ 2491174 h 6858054"/>
              <a:gd name="connsiteX4061" fmla="*/ 961665 w 7631184"/>
              <a:gd name="connsiteY4061" fmla="*/ 2491174 h 6858054"/>
              <a:gd name="connsiteX4062" fmla="*/ 1000739 w 7631184"/>
              <a:gd name="connsiteY4062" fmla="*/ 2491174 h 6858054"/>
              <a:gd name="connsiteX4063" fmla="*/ 1020276 w 7631184"/>
              <a:gd name="connsiteY4063" fmla="*/ 2491174 h 6858054"/>
              <a:gd name="connsiteX4064" fmla="*/ 1039813 w 7631184"/>
              <a:gd name="connsiteY4064" fmla="*/ 2500943 h 6858054"/>
              <a:gd name="connsiteX4065" fmla="*/ 1078888 w 7631184"/>
              <a:gd name="connsiteY4065" fmla="*/ 2500943 h 6858054"/>
              <a:gd name="connsiteX4066" fmla="*/ 1059351 w 7631184"/>
              <a:gd name="connsiteY4066" fmla="*/ 2491174 h 6858054"/>
              <a:gd name="connsiteX4067" fmla="*/ 1039813 w 7631184"/>
              <a:gd name="connsiteY4067" fmla="*/ 2471635 h 6858054"/>
              <a:gd name="connsiteX4068" fmla="*/ 1059351 w 7631184"/>
              <a:gd name="connsiteY4068" fmla="*/ 2481404 h 6858054"/>
              <a:gd name="connsiteX4069" fmla="*/ 1088657 w 7631184"/>
              <a:gd name="connsiteY4069" fmla="*/ 2491174 h 6858054"/>
              <a:gd name="connsiteX4070" fmla="*/ 1108194 w 7631184"/>
              <a:gd name="connsiteY4070" fmla="*/ 2500943 h 6858054"/>
              <a:gd name="connsiteX4071" fmla="*/ 1147268 w 7631184"/>
              <a:gd name="connsiteY4071" fmla="*/ 2510712 h 6858054"/>
              <a:gd name="connsiteX4072" fmla="*/ 1157037 w 7631184"/>
              <a:gd name="connsiteY4072" fmla="*/ 2510712 h 6858054"/>
              <a:gd name="connsiteX4073" fmla="*/ 1176574 w 7631184"/>
              <a:gd name="connsiteY4073" fmla="*/ 2510712 h 6858054"/>
              <a:gd name="connsiteX4074" fmla="*/ 1157037 w 7631184"/>
              <a:gd name="connsiteY4074" fmla="*/ 2500943 h 6858054"/>
              <a:gd name="connsiteX4075" fmla="*/ 1137500 w 7631184"/>
              <a:gd name="connsiteY4075" fmla="*/ 2481404 h 6858054"/>
              <a:gd name="connsiteX4076" fmla="*/ 1108194 w 7631184"/>
              <a:gd name="connsiteY4076" fmla="*/ 2471635 h 6858054"/>
              <a:gd name="connsiteX4077" fmla="*/ 1088657 w 7631184"/>
              <a:gd name="connsiteY4077" fmla="*/ 2461866 h 6858054"/>
              <a:gd name="connsiteX4078" fmla="*/ 1010508 w 7631184"/>
              <a:gd name="connsiteY4078" fmla="*/ 2452096 h 6858054"/>
              <a:gd name="connsiteX4079" fmla="*/ 971433 w 7631184"/>
              <a:gd name="connsiteY4079" fmla="*/ 2452096 h 6858054"/>
              <a:gd name="connsiteX4080" fmla="*/ 942127 w 7631184"/>
              <a:gd name="connsiteY4080" fmla="*/ 2452096 h 6858054"/>
              <a:gd name="connsiteX4081" fmla="*/ 922590 w 7631184"/>
              <a:gd name="connsiteY4081" fmla="*/ 2442327 h 6858054"/>
              <a:gd name="connsiteX4082" fmla="*/ 863978 w 7631184"/>
              <a:gd name="connsiteY4082" fmla="*/ 2442327 h 6858054"/>
              <a:gd name="connsiteX4083" fmla="*/ 844441 w 7631184"/>
              <a:gd name="connsiteY4083" fmla="*/ 2442327 h 6858054"/>
              <a:gd name="connsiteX4084" fmla="*/ 815135 w 7631184"/>
              <a:gd name="connsiteY4084" fmla="*/ 2432558 h 6858054"/>
              <a:gd name="connsiteX4085" fmla="*/ 785829 w 7631184"/>
              <a:gd name="connsiteY4085" fmla="*/ 2432558 h 6858054"/>
              <a:gd name="connsiteX4086" fmla="*/ 766292 w 7631184"/>
              <a:gd name="connsiteY4086" fmla="*/ 2432558 h 6858054"/>
              <a:gd name="connsiteX4087" fmla="*/ 756524 w 7631184"/>
              <a:gd name="connsiteY4087" fmla="*/ 2422788 h 6858054"/>
              <a:gd name="connsiteX4088" fmla="*/ 746755 w 7631184"/>
              <a:gd name="connsiteY4088" fmla="*/ 2422788 h 6858054"/>
              <a:gd name="connsiteX4089" fmla="*/ 736987 w 7631184"/>
              <a:gd name="connsiteY4089" fmla="*/ 2422788 h 6858054"/>
              <a:gd name="connsiteX4090" fmla="*/ 727218 w 7631184"/>
              <a:gd name="connsiteY4090" fmla="*/ 2422788 h 6858054"/>
              <a:gd name="connsiteX4091" fmla="*/ 717449 w 7631184"/>
              <a:gd name="connsiteY4091" fmla="*/ 2422788 h 6858054"/>
              <a:gd name="connsiteX4092" fmla="*/ 697912 w 7631184"/>
              <a:gd name="connsiteY4092" fmla="*/ 2413019 h 6858054"/>
              <a:gd name="connsiteX4093" fmla="*/ 718060 w 7631184"/>
              <a:gd name="connsiteY4093" fmla="*/ 2413019 h 6858054"/>
              <a:gd name="connsiteX4094" fmla="*/ 756524 w 7631184"/>
              <a:gd name="connsiteY4094" fmla="*/ 2413019 h 6858054"/>
              <a:gd name="connsiteX4095" fmla="*/ 795598 w 7631184"/>
              <a:gd name="connsiteY4095" fmla="*/ 2422788 h 6858054"/>
              <a:gd name="connsiteX4096" fmla="*/ 834673 w 7631184"/>
              <a:gd name="connsiteY4096" fmla="*/ 2422788 h 6858054"/>
              <a:gd name="connsiteX4097" fmla="*/ 863978 w 7631184"/>
              <a:gd name="connsiteY4097" fmla="*/ 2422788 h 6858054"/>
              <a:gd name="connsiteX4098" fmla="*/ 873747 w 7631184"/>
              <a:gd name="connsiteY4098" fmla="*/ 2422788 h 6858054"/>
              <a:gd name="connsiteX4099" fmla="*/ 912821 w 7631184"/>
              <a:gd name="connsiteY4099" fmla="*/ 2432558 h 6858054"/>
              <a:gd name="connsiteX4100" fmla="*/ 961665 w 7631184"/>
              <a:gd name="connsiteY4100" fmla="*/ 2432558 h 6858054"/>
              <a:gd name="connsiteX4101" fmla="*/ 990970 w 7631184"/>
              <a:gd name="connsiteY4101" fmla="*/ 2432558 h 6858054"/>
              <a:gd name="connsiteX4102" fmla="*/ 1059351 w 7631184"/>
              <a:gd name="connsiteY4102" fmla="*/ 2442327 h 6858054"/>
              <a:gd name="connsiteX4103" fmla="*/ 1069119 w 7631184"/>
              <a:gd name="connsiteY4103" fmla="*/ 2442327 h 6858054"/>
              <a:gd name="connsiteX4104" fmla="*/ 1069119 w 7631184"/>
              <a:gd name="connsiteY4104" fmla="*/ 2432558 h 6858054"/>
              <a:gd name="connsiteX4105" fmla="*/ 1078888 w 7631184"/>
              <a:gd name="connsiteY4105" fmla="*/ 2442327 h 6858054"/>
              <a:gd name="connsiteX4106" fmla="*/ 1088657 w 7631184"/>
              <a:gd name="connsiteY4106" fmla="*/ 2442327 h 6858054"/>
              <a:gd name="connsiteX4107" fmla="*/ 1117962 w 7631184"/>
              <a:gd name="connsiteY4107" fmla="*/ 2442327 h 6858054"/>
              <a:gd name="connsiteX4108" fmla="*/ 1147268 w 7631184"/>
              <a:gd name="connsiteY4108" fmla="*/ 2452096 h 6858054"/>
              <a:gd name="connsiteX4109" fmla="*/ 1147268 w 7631184"/>
              <a:gd name="connsiteY4109" fmla="*/ 2442327 h 6858054"/>
              <a:gd name="connsiteX4110" fmla="*/ 1147268 w 7631184"/>
              <a:gd name="connsiteY4110" fmla="*/ 2432558 h 6858054"/>
              <a:gd name="connsiteX4111" fmla="*/ 1137500 w 7631184"/>
              <a:gd name="connsiteY4111" fmla="*/ 2413019 h 6858054"/>
              <a:gd name="connsiteX4112" fmla="*/ 1117962 w 7631184"/>
              <a:gd name="connsiteY4112" fmla="*/ 2413019 h 6858054"/>
              <a:gd name="connsiteX4113" fmla="*/ 1088657 w 7631184"/>
              <a:gd name="connsiteY4113" fmla="*/ 2413019 h 6858054"/>
              <a:gd name="connsiteX4114" fmla="*/ 1069119 w 7631184"/>
              <a:gd name="connsiteY4114" fmla="*/ 2403250 h 6858054"/>
              <a:gd name="connsiteX4115" fmla="*/ 1069119 w 7631184"/>
              <a:gd name="connsiteY4115" fmla="*/ 2393481 h 6858054"/>
              <a:gd name="connsiteX4116" fmla="*/ 1078888 w 7631184"/>
              <a:gd name="connsiteY4116" fmla="*/ 2393481 h 6858054"/>
              <a:gd name="connsiteX4117" fmla="*/ 1078888 w 7631184"/>
              <a:gd name="connsiteY4117" fmla="*/ 2403250 h 6858054"/>
              <a:gd name="connsiteX4118" fmla="*/ 1098425 w 7631184"/>
              <a:gd name="connsiteY4118" fmla="*/ 2403250 h 6858054"/>
              <a:gd name="connsiteX4119" fmla="*/ 1108194 w 7631184"/>
              <a:gd name="connsiteY4119" fmla="*/ 2403250 h 6858054"/>
              <a:gd name="connsiteX4120" fmla="*/ 1098425 w 7631184"/>
              <a:gd name="connsiteY4120" fmla="*/ 2393481 h 6858054"/>
              <a:gd name="connsiteX4121" fmla="*/ 1078888 w 7631184"/>
              <a:gd name="connsiteY4121" fmla="*/ 2383711 h 6858054"/>
              <a:gd name="connsiteX4122" fmla="*/ 1069119 w 7631184"/>
              <a:gd name="connsiteY4122" fmla="*/ 2383711 h 6858054"/>
              <a:gd name="connsiteX4123" fmla="*/ 1049582 w 7631184"/>
              <a:gd name="connsiteY4123" fmla="*/ 2383711 h 6858054"/>
              <a:gd name="connsiteX4124" fmla="*/ 1039813 w 7631184"/>
              <a:gd name="connsiteY4124" fmla="*/ 2383711 h 6858054"/>
              <a:gd name="connsiteX4125" fmla="*/ 1010508 w 7631184"/>
              <a:gd name="connsiteY4125" fmla="*/ 2383711 h 6858054"/>
              <a:gd name="connsiteX4126" fmla="*/ 942127 w 7631184"/>
              <a:gd name="connsiteY4126" fmla="*/ 2373942 h 6858054"/>
              <a:gd name="connsiteX4127" fmla="*/ 912821 w 7631184"/>
              <a:gd name="connsiteY4127" fmla="*/ 2364173 h 6858054"/>
              <a:gd name="connsiteX4128" fmla="*/ 893284 w 7631184"/>
              <a:gd name="connsiteY4128" fmla="*/ 2364173 h 6858054"/>
              <a:gd name="connsiteX4129" fmla="*/ 883516 w 7631184"/>
              <a:gd name="connsiteY4129" fmla="*/ 2364173 h 6858054"/>
              <a:gd name="connsiteX4130" fmla="*/ 873747 w 7631184"/>
              <a:gd name="connsiteY4130" fmla="*/ 2354403 h 6858054"/>
              <a:gd name="connsiteX4131" fmla="*/ 942127 w 7631184"/>
              <a:gd name="connsiteY4131" fmla="*/ 2354403 h 6858054"/>
              <a:gd name="connsiteX4132" fmla="*/ 951896 w 7631184"/>
              <a:gd name="connsiteY4132" fmla="*/ 2354403 h 6858054"/>
              <a:gd name="connsiteX4133" fmla="*/ 1000739 w 7631184"/>
              <a:gd name="connsiteY4133" fmla="*/ 2354403 h 6858054"/>
              <a:gd name="connsiteX4134" fmla="*/ 1010508 w 7631184"/>
              <a:gd name="connsiteY4134" fmla="*/ 2354403 h 6858054"/>
              <a:gd name="connsiteX4135" fmla="*/ 990970 w 7631184"/>
              <a:gd name="connsiteY4135" fmla="*/ 2344634 h 6858054"/>
              <a:gd name="connsiteX4136" fmla="*/ 1000739 w 7631184"/>
              <a:gd name="connsiteY4136" fmla="*/ 2344634 h 6858054"/>
              <a:gd name="connsiteX4137" fmla="*/ 981202 w 7631184"/>
              <a:gd name="connsiteY4137" fmla="*/ 2334865 h 6858054"/>
              <a:gd name="connsiteX4138" fmla="*/ 971433 w 7631184"/>
              <a:gd name="connsiteY4138" fmla="*/ 2325095 h 6858054"/>
              <a:gd name="connsiteX4139" fmla="*/ 951896 w 7631184"/>
              <a:gd name="connsiteY4139" fmla="*/ 2315326 h 6858054"/>
              <a:gd name="connsiteX4140" fmla="*/ 961665 w 7631184"/>
              <a:gd name="connsiteY4140" fmla="*/ 2315326 h 6858054"/>
              <a:gd name="connsiteX4141" fmla="*/ 971433 w 7631184"/>
              <a:gd name="connsiteY4141" fmla="*/ 2315326 h 6858054"/>
              <a:gd name="connsiteX4142" fmla="*/ 981202 w 7631184"/>
              <a:gd name="connsiteY4142" fmla="*/ 2315326 h 6858054"/>
              <a:gd name="connsiteX4143" fmla="*/ 990970 w 7631184"/>
              <a:gd name="connsiteY4143" fmla="*/ 2315326 h 6858054"/>
              <a:gd name="connsiteX4144" fmla="*/ 1030045 w 7631184"/>
              <a:gd name="connsiteY4144" fmla="*/ 2315326 h 6858054"/>
              <a:gd name="connsiteX4145" fmla="*/ 1039813 w 7631184"/>
              <a:gd name="connsiteY4145" fmla="*/ 2315326 h 6858054"/>
              <a:gd name="connsiteX4146" fmla="*/ 1049582 w 7631184"/>
              <a:gd name="connsiteY4146" fmla="*/ 2315326 h 6858054"/>
              <a:gd name="connsiteX4147" fmla="*/ 1069119 w 7631184"/>
              <a:gd name="connsiteY4147" fmla="*/ 2325095 h 6858054"/>
              <a:gd name="connsiteX4148" fmla="*/ 1059351 w 7631184"/>
              <a:gd name="connsiteY4148" fmla="*/ 2325095 h 6858054"/>
              <a:gd name="connsiteX4149" fmla="*/ 1000739 w 7631184"/>
              <a:gd name="connsiteY4149" fmla="*/ 2325095 h 6858054"/>
              <a:gd name="connsiteX4150" fmla="*/ 990970 w 7631184"/>
              <a:gd name="connsiteY4150" fmla="*/ 2325095 h 6858054"/>
              <a:gd name="connsiteX4151" fmla="*/ 981202 w 7631184"/>
              <a:gd name="connsiteY4151" fmla="*/ 2325095 h 6858054"/>
              <a:gd name="connsiteX4152" fmla="*/ 990970 w 7631184"/>
              <a:gd name="connsiteY4152" fmla="*/ 2325095 h 6858054"/>
              <a:gd name="connsiteX4153" fmla="*/ 1049582 w 7631184"/>
              <a:gd name="connsiteY4153" fmla="*/ 2364173 h 6858054"/>
              <a:gd name="connsiteX4154" fmla="*/ 1059351 w 7631184"/>
              <a:gd name="connsiteY4154" fmla="*/ 2354403 h 6858054"/>
              <a:gd name="connsiteX4155" fmla="*/ 1078888 w 7631184"/>
              <a:gd name="connsiteY4155" fmla="*/ 2354403 h 6858054"/>
              <a:gd name="connsiteX4156" fmla="*/ 1098425 w 7631184"/>
              <a:gd name="connsiteY4156" fmla="*/ 2364173 h 6858054"/>
              <a:gd name="connsiteX4157" fmla="*/ 1117962 w 7631184"/>
              <a:gd name="connsiteY4157" fmla="*/ 2364173 h 6858054"/>
              <a:gd name="connsiteX4158" fmla="*/ 1108194 w 7631184"/>
              <a:gd name="connsiteY4158" fmla="*/ 2344634 h 6858054"/>
              <a:gd name="connsiteX4159" fmla="*/ 1137500 w 7631184"/>
              <a:gd name="connsiteY4159" fmla="*/ 2344634 h 6858054"/>
              <a:gd name="connsiteX4160" fmla="*/ 1147268 w 7631184"/>
              <a:gd name="connsiteY4160" fmla="*/ 2354403 h 6858054"/>
              <a:gd name="connsiteX4161" fmla="*/ 1166805 w 7631184"/>
              <a:gd name="connsiteY4161" fmla="*/ 2354403 h 6858054"/>
              <a:gd name="connsiteX4162" fmla="*/ 1176574 w 7631184"/>
              <a:gd name="connsiteY4162" fmla="*/ 2354403 h 6858054"/>
              <a:gd name="connsiteX4163" fmla="*/ 1205880 w 7631184"/>
              <a:gd name="connsiteY4163" fmla="*/ 2364173 h 6858054"/>
              <a:gd name="connsiteX4164" fmla="*/ 1215648 w 7631184"/>
              <a:gd name="connsiteY4164" fmla="*/ 2364173 h 6858054"/>
              <a:gd name="connsiteX4165" fmla="*/ 1244954 w 7631184"/>
              <a:gd name="connsiteY4165" fmla="*/ 2364173 h 6858054"/>
              <a:gd name="connsiteX4166" fmla="*/ 1244954 w 7631184"/>
              <a:gd name="connsiteY4166" fmla="*/ 2354403 h 6858054"/>
              <a:gd name="connsiteX4167" fmla="*/ 1235186 w 7631184"/>
              <a:gd name="connsiteY4167" fmla="*/ 2344634 h 6858054"/>
              <a:gd name="connsiteX4168" fmla="*/ 1215648 w 7631184"/>
              <a:gd name="connsiteY4168" fmla="*/ 2334865 h 6858054"/>
              <a:gd name="connsiteX4169" fmla="*/ 1186343 w 7631184"/>
              <a:gd name="connsiteY4169" fmla="*/ 2334865 h 6858054"/>
              <a:gd name="connsiteX4170" fmla="*/ 1166805 w 7631184"/>
              <a:gd name="connsiteY4170" fmla="*/ 2334865 h 6858054"/>
              <a:gd name="connsiteX4171" fmla="*/ 1147268 w 7631184"/>
              <a:gd name="connsiteY4171" fmla="*/ 2334865 h 6858054"/>
              <a:gd name="connsiteX4172" fmla="*/ 1098425 w 7631184"/>
              <a:gd name="connsiteY4172" fmla="*/ 2325095 h 6858054"/>
              <a:gd name="connsiteX4173" fmla="*/ 1108194 w 7631184"/>
              <a:gd name="connsiteY4173" fmla="*/ 2325095 h 6858054"/>
              <a:gd name="connsiteX4174" fmla="*/ 1098425 w 7631184"/>
              <a:gd name="connsiteY4174" fmla="*/ 2315326 h 6858054"/>
              <a:gd name="connsiteX4175" fmla="*/ 1088657 w 7631184"/>
              <a:gd name="connsiteY4175" fmla="*/ 2315326 h 6858054"/>
              <a:gd name="connsiteX4176" fmla="*/ 1078888 w 7631184"/>
              <a:gd name="connsiteY4176" fmla="*/ 2315326 h 6858054"/>
              <a:gd name="connsiteX4177" fmla="*/ 1088657 w 7631184"/>
              <a:gd name="connsiteY4177" fmla="*/ 2325095 h 6858054"/>
              <a:gd name="connsiteX4178" fmla="*/ 1059351 w 7631184"/>
              <a:gd name="connsiteY4178" fmla="*/ 2315326 h 6858054"/>
              <a:gd name="connsiteX4179" fmla="*/ 1039813 w 7631184"/>
              <a:gd name="connsiteY4179" fmla="*/ 2305557 h 6858054"/>
              <a:gd name="connsiteX4180" fmla="*/ 1000739 w 7631184"/>
              <a:gd name="connsiteY4180" fmla="*/ 2305557 h 6858054"/>
              <a:gd name="connsiteX4181" fmla="*/ 971433 w 7631184"/>
              <a:gd name="connsiteY4181" fmla="*/ 2295788 h 6858054"/>
              <a:gd name="connsiteX4182" fmla="*/ 951896 w 7631184"/>
              <a:gd name="connsiteY4182" fmla="*/ 2295788 h 6858054"/>
              <a:gd name="connsiteX4183" fmla="*/ 922590 w 7631184"/>
              <a:gd name="connsiteY4183" fmla="*/ 2295788 h 6858054"/>
              <a:gd name="connsiteX4184" fmla="*/ 854210 w 7631184"/>
              <a:gd name="connsiteY4184" fmla="*/ 2286018 h 6858054"/>
              <a:gd name="connsiteX4185" fmla="*/ 834673 w 7631184"/>
              <a:gd name="connsiteY4185" fmla="*/ 2286018 h 6858054"/>
              <a:gd name="connsiteX4186" fmla="*/ 805367 w 7631184"/>
              <a:gd name="connsiteY4186" fmla="*/ 2276249 h 6858054"/>
              <a:gd name="connsiteX4187" fmla="*/ 785829 w 7631184"/>
              <a:gd name="connsiteY4187" fmla="*/ 2276249 h 6858054"/>
              <a:gd name="connsiteX4188" fmla="*/ 746755 w 7631184"/>
              <a:gd name="connsiteY4188" fmla="*/ 2276249 h 6858054"/>
              <a:gd name="connsiteX4189" fmla="*/ 736987 w 7631184"/>
              <a:gd name="connsiteY4189" fmla="*/ 2276249 h 6858054"/>
              <a:gd name="connsiteX4190" fmla="*/ 727218 w 7631184"/>
              <a:gd name="connsiteY4190" fmla="*/ 2276249 h 6858054"/>
              <a:gd name="connsiteX4191" fmla="*/ 717449 w 7631184"/>
              <a:gd name="connsiteY4191" fmla="*/ 2276249 h 6858054"/>
              <a:gd name="connsiteX4192" fmla="*/ 678375 w 7631184"/>
              <a:gd name="connsiteY4192" fmla="*/ 2266480 h 6858054"/>
              <a:gd name="connsiteX4193" fmla="*/ 639300 w 7631184"/>
              <a:gd name="connsiteY4193" fmla="*/ 2266480 h 6858054"/>
              <a:gd name="connsiteX4194" fmla="*/ 570920 w 7631184"/>
              <a:gd name="connsiteY4194" fmla="*/ 2266480 h 6858054"/>
              <a:gd name="connsiteX4195" fmla="*/ 551383 w 7631184"/>
              <a:gd name="connsiteY4195" fmla="*/ 2256710 h 6858054"/>
              <a:gd name="connsiteX4196" fmla="*/ 531846 w 7631184"/>
              <a:gd name="connsiteY4196" fmla="*/ 2256710 h 6858054"/>
              <a:gd name="connsiteX4197" fmla="*/ 473234 w 7631184"/>
              <a:gd name="connsiteY4197" fmla="*/ 2256710 h 6858054"/>
              <a:gd name="connsiteX4198" fmla="*/ 443928 w 7631184"/>
              <a:gd name="connsiteY4198" fmla="*/ 2256710 h 6858054"/>
              <a:gd name="connsiteX4199" fmla="*/ 440265 w 7631184"/>
              <a:gd name="connsiteY4199" fmla="*/ 2256710 h 6858054"/>
              <a:gd name="connsiteX4200" fmla="*/ 434160 w 7631184"/>
              <a:gd name="connsiteY4200" fmla="*/ 2256710 h 6858054"/>
              <a:gd name="connsiteX4201" fmla="*/ 424391 w 7631184"/>
              <a:gd name="connsiteY4201" fmla="*/ 2256710 h 6858054"/>
              <a:gd name="connsiteX4202" fmla="*/ 414622 w 7631184"/>
              <a:gd name="connsiteY4202" fmla="*/ 2246941 h 6858054"/>
              <a:gd name="connsiteX4203" fmla="*/ 463465 w 7631184"/>
              <a:gd name="connsiteY4203" fmla="*/ 2246941 h 6858054"/>
              <a:gd name="connsiteX4204" fmla="*/ 502540 w 7631184"/>
              <a:gd name="connsiteY4204" fmla="*/ 2246941 h 6858054"/>
              <a:gd name="connsiteX4205" fmla="*/ 512308 w 7631184"/>
              <a:gd name="connsiteY4205" fmla="*/ 2246941 h 6858054"/>
              <a:gd name="connsiteX4206" fmla="*/ 522077 w 7631184"/>
              <a:gd name="connsiteY4206" fmla="*/ 2246941 h 6858054"/>
              <a:gd name="connsiteX4207" fmla="*/ 541614 w 7631184"/>
              <a:gd name="connsiteY4207" fmla="*/ 2246941 h 6858054"/>
              <a:gd name="connsiteX4208" fmla="*/ 561152 w 7631184"/>
              <a:gd name="connsiteY4208" fmla="*/ 2237172 h 6858054"/>
              <a:gd name="connsiteX4209" fmla="*/ 541614 w 7631184"/>
              <a:gd name="connsiteY4209" fmla="*/ 2237172 h 6858054"/>
              <a:gd name="connsiteX4210" fmla="*/ 512308 w 7631184"/>
              <a:gd name="connsiteY4210" fmla="*/ 2227402 h 6858054"/>
              <a:gd name="connsiteX4211" fmla="*/ 492771 w 7631184"/>
              <a:gd name="connsiteY4211" fmla="*/ 2227402 h 6858054"/>
              <a:gd name="connsiteX4212" fmla="*/ 443928 w 7631184"/>
              <a:gd name="connsiteY4212" fmla="*/ 2227402 h 6858054"/>
              <a:gd name="connsiteX4213" fmla="*/ 404854 w 7631184"/>
              <a:gd name="connsiteY4213" fmla="*/ 2227402 h 6858054"/>
              <a:gd name="connsiteX4214" fmla="*/ 326705 w 7631184"/>
              <a:gd name="connsiteY4214" fmla="*/ 2227402 h 6858054"/>
              <a:gd name="connsiteX4215" fmla="*/ 316936 w 7631184"/>
              <a:gd name="connsiteY4215" fmla="*/ 2227402 h 6858054"/>
              <a:gd name="connsiteX4216" fmla="*/ 307168 w 7631184"/>
              <a:gd name="connsiteY4216" fmla="*/ 2227402 h 6858054"/>
              <a:gd name="connsiteX4217" fmla="*/ 297399 w 7631184"/>
              <a:gd name="connsiteY4217" fmla="*/ 2227402 h 6858054"/>
              <a:gd name="connsiteX4218" fmla="*/ 316936 w 7631184"/>
              <a:gd name="connsiteY4218" fmla="*/ 2217633 h 6858054"/>
              <a:gd name="connsiteX4219" fmla="*/ 336473 w 7631184"/>
              <a:gd name="connsiteY4219" fmla="*/ 2217633 h 6858054"/>
              <a:gd name="connsiteX4220" fmla="*/ 385317 w 7631184"/>
              <a:gd name="connsiteY4220" fmla="*/ 2217633 h 6858054"/>
              <a:gd name="connsiteX4221" fmla="*/ 414622 w 7631184"/>
              <a:gd name="connsiteY4221" fmla="*/ 2217633 h 6858054"/>
              <a:gd name="connsiteX4222" fmla="*/ 434160 w 7631184"/>
              <a:gd name="connsiteY4222" fmla="*/ 2217633 h 6858054"/>
              <a:gd name="connsiteX4223" fmla="*/ 453697 w 7631184"/>
              <a:gd name="connsiteY4223" fmla="*/ 2217633 h 6858054"/>
              <a:gd name="connsiteX4224" fmla="*/ 463465 w 7631184"/>
              <a:gd name="connsiteY4224" fmla="*/ 2217633 h 6858054"/>
              <a:gd name="connsiteX4225" fmla="*/ 473234 w 7631184"/>
              <a:gd name="connsiteY4225" fmla="*/ 2207864 h 6858054"/>
              <a:gd name="connsiteX4226" fmla="*/ 551383 w 7631184"/>
              <a:gd name="connsiteY4226" fmla="*/ 2217633 h 6858054"/>
              <a:gd name="connsiteX4227" fmla="*/ 561152 w 7631184"/>
              <a:gd name="connsiteY4227" fmla="*/ 2217633 h 6858054"/>
              <a:gd name="connsiteX4228" fmla="*/ 570920 w 7631184"/>
              <a:gd name="connsiteY4228" fmla="*/ 2217633 h 6858054"/>
              <a:gd name="connsiteX4229" fmla="*/ 580689 w 7631184"/>
              <a:gd name="connsiteY4229" fmla="*/ 2207864 h 6858054"/>
              <a:gd name="connsiteX4230" fmla="*/ 590457 w 7631184"/>
              <a:gd name="connsiteY4230" fmla="*/ 2207864 h 6858054"/>
              <a:gd name="connsiteX4231" fmla="*/ 551383 w 7631184"/>
              <a:gd name="connsiteY4231" fmla="*/ 2198095 h 6858054"/>
              <a:gd name="connsiteX4232" fmla="*/ 561152 w 7631184"/>
              <a:gd name="connsiteY4232" fmla="*/ 2198095 h 6858054"/>
              <a:gd name="connsiteX4233" fmla="*/ 580689 w 7631184"/>
              <a:gd name="connsiteY4233" fmla="*/ 2198095 h 6858054"/>
              <a:gd name="connsiteX4234" fmla="*/ 600226 w 7631184"/>
              <a:gd name="connsiteY4234" fmla="*/ 2198095 h 6858054"/>
              <a:gd name="connsiteX4235" fmla="*/ 609995 w 7631184"/>
              <a:gd name="connsiteY4235" fmla="*/ 2198095 h 6858054"/>
              <a:gd name="connsiteX4236" fmla="*/ 629532 w 7631184"/>
              <a:gd name="connsiteY4236" fmla="*/ 2198095 h 6858054"/>
              <a:gd name="connsiteX4237" fmla="*/ 658838 w 7631184"/>
              <a:gd name="connsiteY4237" fmla="*/ 2198095 h 6858054"/>
              <a:gd name="connsiteX4238" fmla="*/ 678375 w 7631184"/>
              <a:gd name="connsiteY4238" fmla="*/ 2188325 h 6858054"/>
              <a:gd name="connsiteX4239" fmla="*/ 727218 w 7631184"/>
              <a:gd name="connsiteY4239" fmla="*/ 2198095 h 6858054"/>
              <a:gd name="connsiteX4240" fmla="*/ 766292 w 7631184"/>
              <a:gd name="connsiteY4240" fmla="*/ 2198095 h 6858054"/>
              <a:gd name="connsiteX4241" fmla="*/ 776061 w 7631184"/>
              <a:gd name="connsiteY4241" fmla="*/ 2198095 h 6858054"/>
              <a:gd name="connsiteX4242" fmla="*/ 776061 w 7631184"/>
              <a:gd name="connsiteY4242" fmla="*/ 2188325 h 6858054"/>
              <a:gd name="connsiteX4243" fmla="*/ 785829 w 7631184"/>
              <a:gd name="connsiteY4243" fmla="*/ 2198095 h 6858054"/>
              <a:gd name="connsiteX4244" fmla="*/ 815135 w 7631184"/>
              <a:gd name="connsiteY4244" fmla="*/ 2198095 h 6858054"/>
              <a:gd name="connsiteX4245" fmla="*/ 824904 w 7631184"/>
              <a:gd name="connsiteY4245" fmla="*/ 2198095 h 6858054"/>
              <a:gd name="connsiteX4246" fmla="*/ 834673 w 7631184"/>
              <a:gd name="connsiteY4246" fmla="*/ 2198095 h 6858054"/>
              <a:gd name="connsiteX4247" fmla="*/ 854210 w 7631184"/>
              <a:gd name="connsiteY4247" fmla="*/ 2198095 h 6858054"/>
              <a:gd name="connsiteX4248" fmla="*/ 863978 w 7631184"/>
              <a:gd name="connsiteY4248" fmla="*/ 2198095 h 6858054"/>
              <a:gd name="connsiteX4249" fmla="*/ 903053 w 7631184"/>
              <a:gd name="connsiteY4249" fmla="*/ 2198095 h 6858054"/>
              <a:gd name="connsiteX4250" fmla="*/ 961665 w 7631184"/>
              <a:gd name="connsiteY4250" fmla="*/ 2207864 h 6858054"/>
              <a:gd name="connsiteX4251" fmla="*/ 981202 w 7631184"/>
              <a:gd name="connsiteY4251" fmla="*/ 2198095 h 6858054"/>
              <a:gd name="connsiteX4252" fmla="*/ 990970 w 7631184"/>
              <a:gd name="connsiteY4252" fmla="*/ 2198095 h 6858054"/>
              <a:gd name="connsiteX4253" fmla="*/ 1010508 w 7631184"/>
              <a:gd name="connsiteY4253" fmla="*/ 2207864 h 6858054"/>
              <a:gd name="connsiteX4254" fmla="*/ 1030045 w 7631184"/>
              <a:gd name="connsiteY4254" fmla="*/ 2207864 h 6858054"/>
              <a:gd name="connsiteX4255" fmla="*/ 1020276 w 7631184"/>
              <a:gd name="connsiteY4255" fmla="*/ 2198095 h 6858054"/>
              <a:gd name="connsiteX4256" fmla="*/ 1000739 w 7631184"/>
              <a:gd name="connsiteY4256" fmla="*/ 2188325 h 6858054"/>
              <a:gd name="connsiteX4257" fmla="*/ 971433 w 7631184"/>
              <a:gd name="connsiteY4257" fmla="*/ 2188325 h 6858054"/>
              <a:gd name="connsiteX4258" fmla="*/ 951896 w 7631184"/>
              <a:gd name="connsiteY4258" fmla="*/ 2188325 h 6858054"/>
              <a:gd name="connsiteX4259" fmla="*/ 942127 w 7631184"/>
              <a:gd name="connsiteY4259" fmla="*/ 2188325 h 6858054"/>
              <a:gd name="connsiteX4260" fmla="*/ 932359 w 7631184"/>
              <a:gd name="connsiteY4260" fmla="*/ 2178556 h 6858054"/>
              <a:gd name="connsiteX4261" fmla="*/ 922590 w 7631184"/>
              <a:gd name="connsiteY4261" fmla="*/ 2178556 h 6858054"/>
              <a:gd name="connsiteX4262" fmla="*/ 922590 w 7631184"/>
              <a:gd name="connsiteY4262" fmla="*/ 2188325 h 6858054"/>
              <a:gd name="connsiteX4263" fmla="*/ 903053 w 7631184"/>
              <a:gd name="connsiteY4263" fmla="*/ 2178556 h 6858054"/>
              <a:gd name="connsiteX4264" fmla="*/ 883516 w 7631184"/>
              <a:gd name="connsiteY4264" fmla="*/ 2178556 h 6858054"/>
              <a:gd name="connsiteX4265" fmla="*/ 854210 w 7631184"/>
              <a:gd name="connsiteY4265" fmla="*/ 2178556 h 6858054"/>
              <a:gd name="connsiteX4266" fmla="*/ 854210 w 7631184"/>
              <a:gd name="connsiteY4266" fmla="*/ 2168786 h 6858054"/>
              <a:gd name="connsiteX4267" fmla="*/ 824904 w 7631184"/>
              <a:gd name="connsiteY4267" fmla="*/ 2168786 h 6858054"/>
              <a:gd name="connsiteX4268" fmla="*/ 795598 w 7631184"/>
              <a:gd name="connsiteY4268" fmla="*/ 2168786 h 6858054"/>
              <a:gd name="connsiteX4269" fmla="*/ 766292 w 7631184"/>
              <a:gd name="connsiteY4269" fmla="*/ 2168786 h 6858054"/>
              <a:gd name="connsiteX4270" fmla="*/ 756524 w 7631184"/>
              <a:gd name="connsiteY4270" fmla="*/ 2168786 h 6858054"/>
              <a:gd name="connsiteX4271" fmla="*/ 754082 w 7631184"/>
              <a:gd name="connsiteY4271" fmla="*/ 2168786 h 6858054"/>
              <a:gd name="connsiteX4272" fmla="*/ 751639 w 7631184"/>
              <a:gd name="connsiteY4272" fmla="*/ 2168786 h 6858054"/>
              <a:gd name="connsiteX4273" fmla="*/ 746755 w 7631184"/>
              <a:gd name="connsiteY4273" fmla="*/ 2168786 h 6858054"/>
              <a:gd name="connsiteX4274" fmla="*/ 736987 w 7631184"/>
              <a:gd name="connsiteY4274" fmla="*/ 2168786 h 6858054"/>
              <a:gd name="connsiteX4275" fmla="*/ 717449 w 7631184"/>
              <a:gd name="connsiteY4275" fmla="*/ 2159017 h 6858054"/>
              <a:gd name="connsiteX4276" fmla="*/ 756524 w 7631184"/>
              <a:gd name="connsiteY4276" fmla="*/ 2159017 h 6858054"/>
              <a:gd name="connsiteX4277" fmla="*/ 776061 w 7631184"/>
              <a:gd name="connsiteY4277" fmla="*/ 2159017 h 6858054"/>
              <a:gd name="connsiteX4278" fmla="*/ 893284 w 7631184"/>
              <a:gd name="connsiteY4278" fmla="*/ 2168786 h 6858054"/>
              <a:gd name="connsiteX4279" fmla="*/ 922590 w 7631184"/>
              <a:gd name="connsiteY4279" fmla="*/ 2168786 h 6858054"/>
              <a:gd name="connsiteX4280" fmla="*/ 951896 w 7631184"/>
              <a:gd name="connsiteY4280" fmla="*/ 2168786 h 6858054"/>
              <a:gd name="connsiteX4281" fmla="*/ 971433 w 7631184"/>
              <a:gd name="connsiteY4281" fmla="*/ 2168786 h 6858054"/>
              <a:gd name="connsiteX4282" fmla="*/ 922590 w 7631184"/>
              <a:gd name="connsiteY4282" fmla="*/ 2159017 h 6858054"/>
              <a:gd name="connsiteX4283" fmla="*/ 932359 w 7631184"/>
              <a:gd name="connsiteY4283" fmla="*/ 2159017 h 6858054"/>
              <a:gd name="connsiteX4284" fmla="*/ 951896 w 7631184"/>
              <a:gd name="connsiteY4284" fmla="*/ 2159017 h 6858054"/>
              <a:gd name="connsiteX4285" fmla="*/ 912821 w 7631184"/>
              <a:gd name="connsiteY4285" fmla="*/ 2149248 h 6858054"/>
              <a:gd name="connsiteX4286" fmla="*/ 883516 w 7631184"/>
              <a:gd name="connsiteY4286" fmla="*/ 2149248 h 6858054"/>
              <a:gd name="connsiteX4287" fmla="*/ 863978 w 7631184"/>
              <a:gd name="connsiteY4287" fmla="*/ 2149248 h 6858054"/>
              <a:gd name="connsiteX4288" fmla="*/ 854210 w 7631184"/>
              <a:gd name="connsiteY4288" fmla="*/ 2159017 h 6858054"/>
              <a:gd name="connsiteX4289" fmla="*/ 844441 w 7631184"/>
              <a:gd name="connsiteY4289" fmla="*/ 2149248 h 6858054"/>
              <a:gd name="connsiteX4290" fmla="*/ 824904 w 7631184"/>
              <a:gd name="connsiteY4290" fmla="*/ 2149248 h 6858054"/>
              <a:gd name="connsiteX4291" fmla="*/ 805367 w 7631184"/>
              <a:gd name="connsiteY4291" fmla="*/ 2149248 h 6858054"/>
              <a:gd name="connsiteX4292" fmla="*/ 795598 w 7631184"/>
              <a:gd name="connsiteY4292" fmla="*/ 2149248 h 6858054"/>
              <a:gd name="connsiteX4293" fmla="*/ 776061 w 7631184"/>
              <a:gd name="connsiteY4293" fmla="*/ 2149248 h 6858054"/>
              <a:gd name="connsiteX4294" fmla="*/ 756524 w 7631184"/>
              <a:gd name="connsiteY4294" fmla="*/ 2139479 h 6858054"/>
              <a:gd name="connsiteX4295" fmla="*/ 766292 w 7631184"/>
              <a:gd name="connsiteY4295" fmla="*/ 2139479 h 6858054"/>
              <a:gd name="connsiteX4296" fmla="*/ 785829 w 7631184"/>
              <a:gd name="connsiteY4296" fmla="*/ 2139479 h 6858054"/>
              <a:gd name="connsiteX4297" fmla="*/ 795598 w 7631184"/>
              <a:gd name="connsiteY4297" fmla="*/ 2139479 h 6858054"/>
              <a:gd name="connsiteX4298" fmla="*/ 824904 w 7631184"/>
              <a:gd name="connsiteY4298" fmla="*/ 2139479 h 6858054"/>
              <a:gd name="connsiteX4299" fmla="*/ 854210 w 7631184"/>
              <a:gd name="connsiteY4299" fmla="*/ 2139479 h 6858054"/>
              <a:gd name="connsiteX4300" fmla="*/ 863978 w 7631184"/>
              <a:gd name="connsiteY4300" fmla="*/ 2139479 h 6858054"/>
              <a:gd name="connsiteX4301" fmla="*/ 873747 w 7631184"/>
              <a:gd name="connsiteY4301" fmla="*/ 2139479 h 6858054"/>
              <a:gd name="connsiteX4302" fmla="*/ 903053 w 7631184"/>
              <a:gd name="connsiteY4302" fmla="*/ 2139479 h 6858054"/>
              <a:gd name="connsiteX4303" fmla="*/ 922590 w 7631184"/>
              <a:gd name="connsiteY4303" fmla="*/ 2139479 h 6858054"/>
              <a:gd name="connsiteX4304" fmla="*/ 932359 w 7631184"/>
              <a:gd name="connsiteY4304" fmla="*/ 2139479 h 6858054"/>
              <a:gd name="connsiteX4305" fmla="*/ 942127 w 7631184"/>
              <a:gd name="connsiteY4305" fmla="*/ 2139479 h 6858054"/>
              <a:gd name="connsiteX4306" fmla="*/ 981202 w 7631184"/>
              <a:gd name="connsiteY4306" fmla="*/ 2139479 h 6858054"/>
              <a:gd name="connsiteX4307" fmla="*/ 990970 w 7631184"/>
              <a:gd name="connsiteY4307" fmla="*/ 2139479 h 6858054"/>
              <a:gd name="connsiteX4308" fmla="*/ 1010508 w 7631184"/>
              <a:gd name="connsiteY4308" fmla="*/ 2139479 h 6858054"/>
              <a:gd name="connsiteX4309" fmla="*/ 1049582 w 7631184"/>
              <a:gd name="connsiteY4309" fmla="*/ 2149248 h 6858054"/>
              <a:gd name="connsiteX4310" fmla="*/ 1078888 w 7631184"/>
              <a:gd name="connsiteY4310" fmla="*/ 2149248 h 6858054"/>
              <a:gd name="connsiteX4311" fmla="*/ 1098425 w 7631184"/>
              <a:gd name="connsiteY4311" fmla="*/ 2149248 h 6858054"/>
              <a:gd name="connsiteX4312" fmla="*/ 1117962 w 7631184"/>
              <a:gd name="connsiteY4312" fmla="*/ 2149248 h 6858054"/>
              <a:gd name="connsiteX4313" fmla="*/ 1127731 w 7631184"/>
              <a:gd name="connsiteY4313" fmla="*/ 2159017 h 6858054"/>
              <a:gd name="connsiteX4314" fmla="*/ 1137500 w 7631184"/>
              <a:gd name="connsiteY4314" fmla="*/ 2149248 h 6858054"/>
              <a:gd name="connsiteX4315" fmla="*/ 1147268 w 7631184"/>
              <a:gd name="connsiteY4315" fmla="*/ 2159017 h 6858054"/>
              <a:gd name="connsiteX4316" fmla="*/ 1176574 w 7631184"/>
              <a:gd name="connsiteY4316" fmla="*/ 2159017 h 6858054"/>
              <a:gd name="connsiteX4317" fmla="*/ 1137500 w 7631184"/>
              <a:gd name="connsiteY4317" fmla="*/ 2139479 h 6858054"/>
              <a:gd name="connsiteX4318" fmla="*/ 1117962 w 7631184"/>
              <a:gd name="connsiteY4318" fmla="*/ 2119940 h 6858054"/>
              <a:gd name="connsiteX4319" fmla="*/ 1069119 w 7631184"/>
              <a:gd name="connsiteY4319" fmla="*/ 2110170 h 6858054"/>
              <a:gd name="connsiteX4320" fmla="*/ 1059351 w 7631184"/>
              <a:gd name="connsiteY4320" fmla="*/ 2110170 h 6858054"/>
              <a:gd name="connsiteX4321" fmla="*/ 1039813 w 7631184"/>
              <a:gd name="connsiteY4321" fmla="*/ 2110170 h 6858054"/>
              <a:gd name="connsiteX4322" fmla="*/ 1030045 w 7631184"/>
              <a:gd name="connsiteY4322" fmla="*/ 2110170 h 6858054"/>
              <a:gd name="connsiteX4323" fmla="*/ 1020276 w 7631184"/>
              <a:gd name="connsiteY4323" fmla="*/ 2110170 h 6858054"/>
              <a:gd name="connsiteX4324" fmla="*/ 1010508 w 7631184"/>
              <a:gd name="connsiteY4324" fmla="*/ 2100401 h 6858054"/>
              <a:gd name="connsiteX4325" fmla="*/ 1030045 w 7631184"/>
              <a:gd name="connsiteY4325" fmla="*/ 2100401 h 6858054"/>
              <a:gd name="connsiteX4326" fmla="*/ 1049582 w 7631184"/>
              <a:gd name="connsiteY4326" fmla="*/ 2100401 h 6858054"/>
              <a:gd name="connsiteX4327" fmla="*/ 1059351 w 7631184"/>
              <a:gd name="connsiteY4327" fmla="*/ 2100401 h 6858054"/>
              <a:gd name="connsiteX4328" fmla="*/ 1088657 w 7631184"/>
              <a:gd name="connsiteY4328" fmla="*/ 2100401 h 6858054"/>
              <a:gd name="connsiteX4329" fmla="*/ 1078888 w 7631184"/>
              <a:gd name="connsiteY4329" fmla="*/ 2090632 h 6858054"/>
              <a:gd name="connsiteX4330" fmla="*/ 1088657 w 7631184"/>
              <a:gd name="connsiteY4330" fmla="*/ 2090632 h 6858054"/>
              <a:gd name="connsiteX4331" fmla="*/ 1098425 w 7631184"/>
              <a:gd name="connsiteY4331" fmla="*/ 2100401 h 6858054"/>
              <a:gd name="connsiteX4332" fmla="*/ 1108194 w 7631184"/>
              <a:gd name="connsiteY4332" fmla="*/ 2100401 h 6858054"/>
              <a:gd name="connsiteX4333" fmla="*/ 1147268 w 7631184"/>
              <a:gd name="connsiteY4333" fmla="*/ 2100401 h 6858054"/>
              <a:gd name="connsiteX4334" fmla="*/ 1127731 w 7631184"/>
              <a:gd name="connsiteY4334" fmla="*/ 2100401 h 6858054"/>
              <a:gd name="connsiteX4335" fmla="*/ 1108194 w 7631184"/>
              <a:gd name="connsiteY4335" fmla="*/ 2090632 h 6858054"/>
              <a:gd name="connsiteX4336" fmla="*/ 1137500 w 7631184"/>
              <a:gd name="connsiteY4336" fmla="*/ 2090632 h 6858054"/>
              <a:gd name="connsiteX4337" fmla="*/ 1117962 w 7631184"/>
              <a:gd name="connsiteY4337" fmla="*/ 2080862 h 6858054"/>
              <a:gd name="connsiteX4338" fmla="*/ 1098425 w 7631184"/>
              <a:gd name="connsiteY4338" fmla="*/ 2071093 h 6858054"/>
              <a:gd name="connsiteX4339" fmla="*/ 1088657 w 7631184"/>
              <a:gd name="connsiteY4339" fmla="*/ 2051554 h 6858054"/>
              <a:gd name="connsiteX4340" fmla="*/ 1069119 w 7631184"/>
              <a:gd name="connsiteY4340" fmla="*/ 2061324 h 6858054"/>
              <a:gd name="connsiteX4341" fmla="*/ 1059351 w 7631184"/>
              <a:gd name="connsiteY4341" fmla="*/ 2041785 h 6858054"/>
              <a:gd name="connsiteX4342" fmla="*/ 1049582 w 7631184"/>
              <a:gd name="connsiteY4342" fmla="*/ 2041785 h 6858054"/>
              <a:gd name="connsiteX4343" fmla="*/ 1039813 w 7631184"/>
              <a:gd name="connsiteY4343" fmla="*/ 2032016 h 6858054"/>
              <a:gd name="connsiteX4344" fmla="*/ 990970 w 7631184"/>
              <a:gd name="connsiteY4344" fmla="*/ 2022247 h 6858054"/>
              <a:gd name="connsiteX4345" fmla="*/ 951896 w 7631184"/>
              <a:gd name="connsiteY4345" fmla="*/ 2022247 h 6858054"/>
              <a:gd name="connsiteX4346" fmla="*/ 873747 w 7631184"/>
              <a:gd name="connsiteY4346" fmla="*/ 2012477 h 6858054"/>
              <a:gd name="connsiteX4347" fmla="*/ 844441 w 7631184"/>
              <a:gd name="connsiteY4347" fmla="*/ 2002708 h 6858054"/>
              <a:gd name="connsiteX4348" fmla="*/ 912821 w 7631184"/>
              <a:gd name="connsiteY4348" fmla="*/ 2012477 h 6858054"/>
              <a:gd name="connsiteX4349" fmla="*/ 951896 w 7631184"/>
              <a:gd name="connsiteY4349" fmla="*/ 2012477 h 6858054"/>
              <a:gd name="connsiteX4350" fmla="*/ 1020276 w 7631184"/>
              <a:gd name="connsiteY4350" fmla="*/ 2022247 h 6858054"/>
              <a:gd name="connsiteX4351" fmla="*/ 1010508 w 7631184"/>
              <a:gd name="connsiteY4351" fmla="*/ 2012477 h 6858054"/>
              <a:gd name="connsiteX4352" fmla="*/ 990970 w 7631184"/>
              <a:gd name="connsiteY4352" fmla="*/ 2012477 h 6858054"/>
              <a:gd name="connsiteX4353" fmla="*/ 893284 w 7631184"/>
              <a:gd name="connsiteY4353" fmla="*/ 2002708 h 6858054"/>
              <a:gd name="connsiteX4354" fmla="*/ 896947 w 7631184"/>
              <a:gd name="connsiteY4354" fmla="*/ 2002708 h 6858054"/>
              <a:gd name="connsiteX4355" fmla="*/ 903053 w 7631184"/>
              <a:gd name="connsiteY4355" fmla="*/ 2002708 h 6858054"/>
              <a:gd name="connsiteX4356" fmla="*/ 951896 w 7631184"/>
              <a:gd name="connsiteY4356" fmla="*/ 2002708 h 6858054"/>
              <a:gd name="connsiteX4357" fmla="*/ 990970 w 7631184"/>
              <a:gd name="connsiteY4357" fmla="*/ 2002708 h 6858054"/>
              <a:gd name="connsiteX4358" fmla="*/ 1000739 w 7631184"/>
              <a:gd name="connsiteY4358" fmla="*/ 2002708 h 6858054"/>
              <a:gd name="connsiteX4359" fmla="*/ 951896 w 7631184"/>
              <a:gd name="connsiteY4359" fmla="*/ 1973400 h 6858054"/>
              <a:gd name="connsiteX4360" fmla="*/ 932359 w 7631184"/>
              <a:gd name="connsiteY4360" fmla="*/ 1973400 h 6858054"/>
              <a:gd name="connsiteX4361" fmla="*/ 903053 w 7631184"/>
              <a:gd name="connsiteY4361" fmla="*/ 1973400 h 6858054"/>
              <a:gd name="connsiteX4362" fmla="*/ 873747 w 7631184"/>
              <a:gd name="connsiteY4362" fmla="*/ 1963631 h 6858054"/>
              <a:gd name="connsiteX4363" fmla="*/ 844441 w 7631184"/>
              <a:gd name="connsiteY4363" fmla="*/ 1963631 h 6858054"/>
              <a:gd name="connsiteX4364" fmla="*/ 844441 w 7631184"/>
              <a:gd name="connsiteY4364" fmla="*/ 1953861 h 6858054"/>
              <a:gd name="connsiteX4365" fmla="*/ 805367 w 7631184"/>
              <a:gd name="connsiteY4365" fmla="*/ 1944092 h 6858054"/>
              <a:gd name="connsiteX4366" fmla="*/ 805367 w 7631184"/>
              <a:gd name="connsiteY4366" fmla="*/ 1934323 h 6858054"/>
              <a:gd name="connsiteX4367" fmla="*/ 785829 w 7631184"/>
              <a:gd name="connsiteY4367" fmla="*/ 1934323 h 6858054"/>
              <a:gd name="connsiteX4368" fmla="*/ 766292 w 7631184"/>
              <a:gd name="connsiteY4368" fmla="*/ 1934323 h 6858054"/>
              <a:gd name="connsiteX4369" fmla="*/ 756524 w 7631184"/>
              <a:gd name="connsiteY4369" fmla="*/ 1934323 h 6858054"/>
              <a:gd name="connsiteX4370" fmla="*/ 785829 w 7631184"/>
              <a:gd name="connsiteY4370" fmla="*/ 1944092 h 6858054"/>
              <a:gd name="connsiteX4371" fmla="*/ 776061 w 7631184"/>
              <a:gd name="connsiteY4371" fmla="*/ 1944092 h 6858054"/>
              <a:gd name="connsiteX4372" fmla="*/ 766292 w 7631184"/>
              <a:gd name="connsiteY4372" fmla="*/ 1944092 h 6858054"/>
              <a:gd name="connsiteX4373" fmla="*/ 756524 w 7631184"/>
              <a:gd name="connsiteY4373" fmla="*/ 1944092 h 6858054"/>
              <a:gd name="connsiteX4374" fmla="*/ 746755 w 7631184"/>
              <a:gd name="connsiteY4374" fmla="*/ 1934323 h 6858054"/>
              <a:gd name="connsiteX4375" fmla="*/ 727218 w 7631184"/>
              <a:gd name="connsiteY4375" fmla="*/ 1924554 h 6858054"/>
              <a:gd name="connsiteX4376" fmla="*/ 697912 w 7631184"/>
              <a:gd name="connsiteY4376" fmla="*/ 1924554 h 6858054"/>
              <a:gd name="connsiteX4377" fmla="*/ 678375 w 7631184"/>
              <a:gd name="connsiteY4377" fmla="*/ 1924554 h 6858054"/>
              <a:gd name="connsiteX4378" fmla="*/ 649069 w 7631184"/>
              <a:gd name="connsiteY4378" fmla="*/ 1914784 h 6858054"/>
              <a:gd name="connsiteX4379" fmla="*/ 629532 w 7631184"/>
              <a:gd name="connsiteY4379" fmla="*/ 1914784 h 6858054"/>
              <a:gd name="connsiteX4380" fmla="*/ 590457 w 7631184"/>
              <a:gd name="connsiteY4380" fmla="*/ 1905015 h 6858054"/>
              <a:gd name="connsiteX4381" fmla="*/ 570920 w 7631184"/>
              <a:gd name="connsiteY4381" fmla="*/ 1905015 h 6858054"/>
              <a:gd name="connsiteX4382" fmla="*/ 561152 w 7631184"/>
              <a:gd name="connsiteY4382" fmla="*/ 1905015 h 6858054"/>
              <a:gd name="connsiteX4383" fmla="*/ 531846 w 7631184"/>
              <a:gd name="connsiteY4383" fmla="*/ 1905015 h 6858054"/>
              <a:gd name="connsiteX4384" fmla="*/ 522077 w 7631184"/>
              <a:gd name="connsiteY4384" fmla="*/ 1905015 h 6858054"/>
              <a:gd name="connsiteX4385" fmla="*/ 600226 w 7631184"/>
              <a:gd name="connsiteY4385" fmla="*/ 1905015 h 6858054"/>
              <a:gd name="connsiteX4386" fmla="*/ 629532 w 7631184"/>
              <a:gd name="connsiteY4386" fmla="*/ 1905015 h 6858054"/>
              <a:gd name="connsiteX4387" fmla="*/ 639300 w 7631184"/>
              <a:gd name="connsiteY4387" fmla="*/ 1905015 h 6858054"/>
              <a:gd name="connsiteX4388" fmla="*/ 668606 w 7631184"/>
              <a:gd name="connsiteY4388" fmla="*/ 1905015 h 6858054"/>
              <a:gd name="connsiteX4389" fmla="*/ 688143 w 7631184"/>
              <a:gd name="connsiteY4389" fmla="*/ 1905015 h 6858054"/>
              <a:gd name="connsiteX4390" fmla="*/ 746755 w 7631184"/>
              <a:gd name="connsiteY4390" fmla="*/ 1914784 h 6858054"/>
              <a:gd name="connsiteX4391" fmla="*/ 756524 w 7631184"/>
              <a:gd name="connsiteY4391" fmla="*/ 1914784 h 6858054"/>
              <a:gd name="connsiteX4392" fmla="*/ 766292 w 7631184"/>
              <a:gd name="connsiteY4392" fmla="*/ 1914784 h 6858054"/>
              <a:gd name="connsiteX4393" fmla="*/ 785829 w 7631184"/>
              <a:gd name="connsiteY4393" fmla="*/ 1914784 h 6858054"/>
              <a:gd name="connsiteX4394" fmla="*/ 805367 w 7631184"/>
              <a:gd name="connsiteY4394" fmla="*/ 1914784 h 6858054"/>
              <a:gd name="connsiteX4395" fmla="*/ 844441 w 7631184"/>
              <a:gd name="connsiteY4395" fmla="*/ 1924554 h 6858054"/>
              <a:gd name="connsiteX4396" fmla="*/ 854210 w 7631184"/>
              <a:gd name="connsiteY4396" fmla="*/ 1924554 h 6858054"/>
              <a:gd name="connsiteX4397" fmla="*/ 844441 w 7631184"/>
              <a:gd name="connsiteY4397" fmla="*/ 1905015 h 6858054"/>
              <a:gd name="connsiteX4398" fmla="*/ 873747 w 7631184"/>
              <a:gd name="connsiteY4398" fmla="*/ 1914784 h 6858054"/>
              <a:gd name="connsiteX4399" fmla="*/ 893284 w 7631184"/>
              <a:gd name="connsiteY4399" fmla="*/ 1924554 h 6858054"/>
              <a:gd name="connsiteX4400" fmla="*/ 912821 w 7631184"/>
              <a:gd name="connsiteY4400" fmla="*/ 1924554 h 6858054"/>
              <a:gd name="connsiteX4401" fmla="*/ 922590 w 7631184"/>
              <a:gd name="connsiteY4401" fmla="*/ 1924554 h 6858054"/>
              <a:gd name="connsiteX4402" fmla="*/ 942127 w 7631184"/>
              <a:gd name="connsiteY4402" fmla="*/ 1924554 h 6858054"/>
              <a:gd name="connsiteX4403" fmla="*/ 971433 w 7631184"/>
              <a:gd name="connsiteY4403" fmla="*/ 1924554 h 6858054"/>
              <a:gd name="connsiteX4404" fmla="*/ 990970 w 7631184"/>
              <a:gd name="connsiteY4404" fmla="*/ 1924554 h 6858054"/>
              <a:gd name="connsiteX4405" fmla="*/ 1020276 w 7631184"/>
              <a:gd name="connsiteY4405" fmla="*/ 1924554 h 6858054"/>
              <a:gd name="connsiteX4406" fmla="*/ 1039813 w 7631184"/>
              <a:gd name="connsiteY4406" fmla="*/ 1934323 h 6858054"/>
              <a:gd name="connsiteX4407" fmla="*/ 1010508 w 7631184"/>
              <a:gd name="connsiteY4407" fmla="*/ 1914784 h 6858054"/>
              <a:gd name="connsiteX4408" fmla="*/ 1000739 w 7631184"/>
              <a:gd name="connsiteY4408" fmla="*/ 1905015 h 6858054"/>
              <a:gd name="connsiteX4409" fmla="*/ 1000739 w 7631184"/>
              <a:gd name="connsiteY4409" fmla="*/ 1895246 h 6858054"/>
              <a:gd name="connsiteX4410" fmla="*/ 990970 w 7631184"/>
              <a:gd name="connsiteY4410" fmla="*/ 1895246 h 6858054"/>
              <a:gd name="connsiteX4411" fmla="*/ 971433 w 7631184"/>
              <a:gd name="connsiteY4411" fmla="*/ 1895246 h 6858054"/>
              <a:gd name="connsiteX4412" fmla="*/ 883516 w 7631184"/>
              <a:gd name="connsiteY4412" fmla="*/ 1885476 h 6858054"/>
              <a:gd name="connsiteX4413" fmla="*/ 844441 w 7631184"/>
              <a:gd name="connsiteY4413" fmla="*/ 1885476 h 6858054"/>
              <a:gd name="connsiteX4414" fmla="*/ 815135 w 7631184"/>
              <a:gd name="connsiteY4414" fmla="*/ 1875707 h 6858054"/>
              <a:gd name="connsiteX4415" fmla="*/ 795598 w 7631184"/>
              <a:gd name="connsiteY4415" fmla="*/ 1875707 h 6858054"/>
              <a:gd name="connsiteX4416" fmla="*/ 795598 w 7631184"/>
              <a:gd name="connsiteY4416" fmla="*/ 1885476 h 6858054"/>
              <a:gd name="connsiteX4417" fmla="*/ 785829 w 7631184"/>
              <a:gd name="connsiteY4417" fmla="*/ 1875707 h 6858054"/>
              <a:gd name="connsiteX4418" fmla="*/ 776061 w 7631184"/>
              <a:gd name="connsiteY4418" fmla="*/ 1875707 h 6858054"/>
              <a:gd name="connsiteX4419" fmla="*/ 756524 w 7631184"/>
              <a:gd name="connsiteY4419" fmla="*/ 1875707 h 6858054"/>
              <a:gd name="connsiteX4420" fmla="*/ 736987 w 7631184"/>
              <a:gd name="connsiteY4420" fmla="*/ 1875707 h 6858054"/>
              <a:gd name="connsiteX4421" fmla="*/ 717449 w 7631184"/>
              <a:gd name="connsiteY4421" fmla="*/ 1865938 h 6858054"/>
              <a:gd name="connsiteX4422" fmla="*/ 668606 w 7631184"/>
              <a:gd name="connsiteY4422" fmla="*/ 1865938 h 6858054"/>
              <a:gd name="connsiteX4423" fmla="*/ 609995 w 7631184"/>
              <a:gd name="connsiteY4423" fmla="*/ 1865938 h 6858054"/>
              <a:gd name="connsiteX4424" fmla="*/ 590457 w 7631184"/>
              <a:gd name="connsiteY4424" fmla="*/ 1856168 h 6858054"/>
              <a:gd name="connsiteX4425" fmla="*/ 570920 w 7631184"/>
              <a:gd name="connsiteY4425" fmla="*/ 1856168 h 6858054"/>
              <a:gd name="connsiteX4426" fmla="*/ 561152 w 7631184"/>
              <a:gd name="connsiteY4426" fmla="*/ 1856168 h 6858054"/>
              <a:gd name="connsiteX4427" fmla="*/ 463465 w 7631184"/>
              <a:gd name="connsiteY4427" fmla="*/ 1856168 h 6858054"/>
              <a:gd name="connsiteX4428" fmla="*/ 424391 w 7631184"/>
              <a:gd name="connsiteY4428" fmla="*/ 1846399 h 6858054"/>
              <a:gd name="connsiteX4429" fmla="*/ 434160 w 7631184"/>
              <a:gd name="connsiteY4429" fmla="*/ 1846399 h 6858054"/>
              <a:gd name="connsiteX4430" fmla="*/ 541614 w 7631184"/>
              <a:gd name="connsiteY4430" fmla="*/ 1846399 h 6858054"/>
              <a:gd name="connsiteX4431" fmla="*/ 688143 w 7631184"/>
              <a:gd name="connsiteY4431" fmla="*/ 1856168 h 6858054"/>
              <a:gd name="connsiteX4432" fmla="*/ 696691 w 7631184"/>
              <a:gd name="connsiteY4432" fmla="*/ 1856168 h 6858054"/>
              <a:gd name="connsiteX4433" fmla="*/ 697912 w 7631184"/>
              <a:gd name="connsiteY4433" fmla="*/ 1856168 h 6858054"/>
              <a:gd name="connsiteX4434" fmla="*/ 688143 w 7631184"/>
              <a:gd name="connsiteY4434" fmla="*/ 1846399 h 6858054"/>
              <a:gd name="connsiteX4435" fmla="*/ 668606 w 7631184"/>
              <a:gd name="connsiteY4435" fmla="*/ 1846399 h 6858054"/>
              <a:gd name="connsiteX4436" fmla="*/ 629532 w 7631184"/>
              <a:gd name="connsiteY4436" fmla="*/ 1836630 h 6858054"/>
              <a:gd name="connsiteX4437" fmla="*/ 609995 w 7631184"/>
              <a:gd name="connsiteY4437" fmla="*/ 1836630 h 6858054"/>
              <a:gd name="connsiteX4438" fmla="*/ 551383 w 7631184"/>
              <a:gd name="connsiteY4438" fmla="*/ 1826861 h 6858054"/>
              <a:gd name="connsiteX4439" fmla="*/ 463465 w 7631184"/>
              <a:gd name="connsiteY4439" fmla="*/ 1826861 h 6858054"/>
              <a:gd name="connsiteX4440" fmla="*/ 443928 w 7631184"/>
              <a:gd name="connsiteY4440" fmla="*/ 1826861 h 6858054"/>
              <a:gd name="connsiteX4441" fmla="*/ 414622 w 7631184"/>
              <a:gd name="connsiteY4441" fmla="*/ 1817091 h 6858054"/>
              <a:gd name="connsiteX4442" fmla="*/ 287630 w 7631184"/>
              <a:gd name="connsiteY4442" fmla="*/ 1807322 h 6858054"/>
              <a:gd name="connsiteX4443" fmla="*/ 258325 w 7631184"/>
              <a:gd name="connsiteY4443" fmla="*/ 1807322 h 6858054"/>
              <a:gd name="connsiteX4444" fmla="*/ 307168 w 7631184"/>
              <a:gd name="connsiteY4444" fmla="*/ 1797552 h 6858054"/>
              <a:gd name="connsiteX4445" fmla="*/ 404854 w 7631184"/>
              <a:gd name="connsiteY4445" fmla="*/ 1797552 h 6858054"/>
              <a:gd name="connsiteX4446" fmla="*/ 434160 w 7631184"/>
              <a:gd name="connsiteY4446" fmla="*/ 1807322 h 6858054"/>
              <a:gd name="connsiteX4447" fmla="*/ 512308 w 7631184"/>
              <a:gd name="connsiteY4447" fmla="*/ 1807322 h 6858054"/>
              <a:gd name="connsiteX4448" fmla="*/ 551383 w 7631184"/>
              <a:gd name="connsiteY4448" fmla="*/ 1807322 h 6858054"/>
              <a:gd name="connsiteX4449" fmla="*/ 590457 w 7631184"/>
              <a:gd name="connsiteY4449" fmla="*/ 1817091 h 6858054"/>
              <a:gd name="connsiteX4450" fmla="*/ 600226 w 7631184"/>
              <a:gd name="connsiteY4450" fmla="*/ 1817091 h 6858054"/>
              <a:gd name="connsiteX4451" fmla="*/ 619763 w 7631184"/>
              <a:gd name="connsiteY4451" fmla="*/ 1817091 h 6858054"/>
              <a:gd name="connsiteX4452" fmla="*/ 629532 w 7631184"/>
              <a:gd name="connsiteY4452" fmla="*/ 1817091 h 6858054"/>
              <a:gd name="connsiteX4453" fmla="*/ 639300 w 7631184"/>
              <a:gd name="connsiteY4453" fmla="*/ 1817091 h 6858054"/>
              <a:gd name="connsiteX4454" fmla="*/ 658838 w 7631184"/>
              <a:gd name="connsiteY4454" fmla="*/ 1817091 h 6858054"/>
              <a:gd name="connsiteX4455" fmla="*/ 688143 w 7631184"/>
              <a:gd name="connsiteY4455" fmla="*/ 1817091 h 6858054"/>
              <a:gd name="connsiteX4456" fmla="*/ 707681 w 7631184"/>
              <a:gd name="connsiteY4456" fmla="*/ 1817091 h 6858054"/>
              <a:gd name="connsiteX4457" fmla="*/ 727218 w 7631184"/>
              <a:gd name="connsiteY4457" fmla="*/ 1817091 h 6858054"/>
              <a:gd name="connsiteX4458" fmla="*/ 766292 w 7631184"/>
              <a:gd name="connsiteY4458" fmla="*/ 1817091 h 6858054"/>
              <a:gd name="connsiteX4459" fmla="*/ 805367 w 7631184"/>
              <a:gd name="connsiteY4459" fmla="*/ 1826861 h 6858054"/>
              <a:gd name="connsiteX4460" fmla="*/ 844441 w 7631184"/>
              <a:gd name="connsiteY4460" fmla="*/ 1826861 h 6858054"/>
              <a:gd name="connsiteX4461" fmla="*/ 893284 w 7631184"/>
              <a:gd name="connsiteY4461" fmla="*/ 1836630 h 6858054"/>
              <a:gd name="connsiteX4462" fmla="*/ 922590 w 7631184"/>
              <a:gd name="connsiteY4462" fmla="*/ 1826861 h 6858054"/>
              <a:gd name="connsiteX4463" fmla="*/ 922590 w 7631184"/>
              <a:gd name="connsiteY4463" fmla="*/ 1817091 h 6858054"/>
              <a:gd name="connsiteX4464" fmla="*/ 893284 w 7631184"/>
              <a:gd name="connsiteY4464" fmla="*/ 1817091 h 6858054"/>
              <a:gd name="connsiteX4465" fmla="*/ 883516 w 7631184"/>
              <a:gd name="connsiteY4465" fmla="*/ 1817091 h 6858054"/>
              <a:gd name="connsiteX4466" fmla="*/ 873747 w 7631184"/>
              <a:gd name="connsiteY4466" fmla="*/ 1817091 h 6858054"/>
              <a:gd name="connsiteX4467" fmla="*/ 863978 w 7631184"/>
              <a:gd name="connsiteY4467" fmla="*/ 1817091 h 6858054"/>
              <a:gd name="connsiteX4468" fmla="*/ 854210 w 7631184"/>
              <a:gd name="connsiteY4468" fmla="*/ 1817091 h 6858054"/>
              <a:gd name="connsiteX4469" fmla="*/ 834673 w 7631184"/>
              <a:gd name="connsiteY4469" fmla="*/ 1817091 h 6858054"/>
              <a:gd name="connsiteX4470" fmla="*/ 766292 w 7631184"/>
              <a:gd name="connsiteY4470" fmla="*/ 1807322 h 6858054"/>
              <a:gd name="connsiteX4471" fmla="*/ 785829 w 7631184"/>
              <a:gd name="connsiteY4471" fmla="*/ 1807322 h 6858054"/>
              <a:gd name="connsiteX4472" fmla="*/ 776061 w 7631184"/>
              <a:gd name="connsiteY4472" fmla="*/ 1797552 h 6858054"/>
              <a:gd name="connsiteX4473" fmla="*/ 746755 w 7631184"/>
              <a:gd name="connsiteY4473" fmla="*/ 1797552 h 6858054"/>
              <a:gd name="connsiteX4474" fmla="*/ 727218 w 7631184"/>
              <a:gd name="connsiteY4474" fmla="*/ 1787783 h 6858054"/>
              <a:gd name="connsiteX4475" fmla="*/ 668606 w 7631184"/>
              <a:gd name="connsiteY4475" fmla="*/ 1787783 h 6858054"/>
              <a:gd name="connsiteX4476" fmla="*/ 629532 w 7631184"/>
              <a:gd name="connsiteY4476" fmla="*/ 1778014 h 6858054"/>
              <a:gd name="connsiteX4477" fmla="*/ 609995 w 7631184"/>
              <a:gd name="connsiteY4477" fmla="*/ 1778014 h 6858054"/>
              <a:gd name="connsiteX4478" fmla="*/ 600226 w 7631184"/>
              <a:gd name="connsiteY4478" fmla="*/ 1778014 h 6858054"/>
              <a:gd name="connsiteX4479" fmla="*/ 561152 w 7631184"/>
              <a:gd name="connsiteY4479" fmla="*/ 1778014 h 6858054"/>
              <a:gd name="connsiteX4480" fmla="*/ 541614 w 7631184"/>
              <a:gd name="connsiteY4480" fmla="*/ 1778014 h 6858054"/>
              <a:gd name="connsiteX4481" fmla="*/ 512308 w 7631184"/>
              <a:gd name="connsiteY4481" fmla="*/ 1768245 h 6858054"/>
              <a:gd name="connsiteX4482" fmla="*/ 483003 w 7631184"/>
              <a:gd name="connsiteY4482" fmla="*/ 1768245 h 6858054"/>
              <a:gd name="connsiteX4483" fmla="*/ 463465 w 7631184"/>
              <a:gd name="connsiteY4483" fmla="*/ 1768245 h 6858054"/>
              <a:gd name="connsiteX4484" fmla="*/ 404854 w 7631184"/>
              <a:gd name="connsiteY4484" fmla="*/ 1758475 h 6858054"/>
              <a:gd name="connsiteX4485" fmla="*/ 385317 w 7631184"/>
              <a:gd name="connsiteY4485" fmla="*/ 1758475 h 6858054"/>
              <a:gd name="connsiteX4486" fmla="*/ 356011 w 7631184"/>
              <a:gd name="connsiteY4486" fmla="*/ 1758475 h 6858054"/>
              <a:gd name="connsiteX4487" fmla="*/ 336473 w 7631184"/>
              <a:gd name="connsiteY4487" fmla="*/ 1758475 h 6858054"/>
              <a:gd name="connsiteX4488" fmla="*/ 297399 w 7631184"/>
              <a:gd name="connsiteY4488" fmla="*/ 1748706 h 6858054"/>
              <a:gd name="connsiteX4489" fmla="*/ 277862 w 7631184"/>
              <a:gd name="connsiteY4489" fmla="*/ 1748706 h 6858054"/>
              <a:gd name="connsiteX4490" fmla="*/ 258325 w 7631184"/>
              <a:gd name="connsiteY4490" fmla="*/ 1748706 h 6858054"/>
              <a:gd name="connsiteX4491" fmla="*/ 229019 w 7631184"/>
              <a:gd name="connsiteY4491" fmla="*/ 1748706 h 6858054"/>
              <a:gd name="connsiteX4492" fmla="*/ 199713 w 7631184"/>
              <a:gd name="connsiteY4492" fmla="*/ 1738937 h 6858054"/>
              <a:gd name="connsiteX4493" fmla="*/ 170407 w 7631184"/>
              <a:gd name="connsiteY4493" fmla="*/ 1738937 h 6858054"/>
              <a:gd name="connsiteX4494" fmla="*/ 160638 w 7631184"/>
              <a:gd name="connsiteY4494" fmla="*/ 1738937 h 6858054"/>
              <a:gd name="connsiteX4495" fmla="*/ 141101 w 7631184"/>
              <a:gd name="connsiteY4495" fmla="*/ 1738937 h 6858054"/>
              <a:gd name="connsiteX4496" fmla="*/ 131332 w 7631184"/>
              <a:gd name="connsiteY4496" fmla="*/ 1738937 h 6858054"/>
              <a:gd name="connsiteX4497" fmla="*/ 111795 w 7631184"/>
              <a:gd name="connsiteY4497" fmla="*/ 1738937 h 6858054"/>
              <a:gd name="connsiteX4498" fmla="*/ 92258 w 7631184"/>
              <a:gd name="connsiteY4498" fmla="*/ 1738937 h 6858054"/>
              <a:gd name="connsiteX4499" fmla="*/ 82489 w 7631184"/>
              <a:gd name="connsiteY4499" fmla="*/ 1729168 h 6858054"/>
              <a:gd name="connsiteX4500" fmla="*/ 92258 w 7631184"/>
              <a:gd name="connsiteY4500" fmla="*/ 1729168 h 6858054"/>
              <a:gd name="connsiteX4501" fmla="*/ 102027 w 7631184"/>
              <a:gd name="connsiteY4501" fmla="*/ 1729168 h 6858054"/>
              <a:gd name="connsiteX4502" fmla="*/ 111795 w 7631184"/>
              <a:gd name="connsiteY4502" fmla="*/ 1729168 h 6858054"/>
              <a:gd name="connsiteX4503" fmla="*/ 131332 w 7631184"/>
              <a:gd name="connsiteY4503" fmla="*/ 1729168 h 6858054"/>
              <a:gd name="connsiteX4504" fmla="*/ 141101 w 7631184"/>
              <a:gd name="connsiteY4504" fmla="*/ 1729168 h 6858054"/>
              <a:gd name="connsiteX4505" fmla="*/ 160638 w 7631184"/>
              <a:gd name="connsiteY4505" fmla="*/ 1729168 h 6858054"/>
              <a:gd name="connsiteX4506" fmla="*/ 180176 w 7631184"/>
              <a:gd name="connsiteY4506" fmla="*/ 1729168 h 6858054"/>
              <a:gd name="connsiteX4507" fmla="*/ 297399 w 7631184"/>
              <a:gd name="connsiteY4507" fmla="*/ 1738937 h 6858054"/>
              <a:gd name="connsiteX4508" fmla="*/ 326705 w 7631184"/>
              <a:gd name="connsiteY4508" fmla="*/ 1738937 h 6858054"/>
              <a:gd name="connsiteX4509" fmla="*/ 346242 w 7631184"/>
              <a:gd name="connsiteY4509" fmla="*/ 1738937 h 6858054"/>
              <a:gd name="connsiteX4510" fmla="*/ 434160 w 7631184"/>
              <a:gd name="connsiteY4510" fmla="*/ 1738937 h 6858054"/>
              <a:gd name="connsiteX4511" fmla="*/ 463465 w 7631184"/>
              <a:gd name="connsiteY4511" fmla="*/ 1748706 h 6858054"/>
              <a:gd name="connsiteX4512" fmla="*/ 502540 w 7631184"/>
              <a:gd name="connsiteY4512" fmla="*/ 1738937 h 6858054"/>
              <a:gd name="connsiteX4513" fmla="*/ 473234 w 7631184"/>
              <a:gd name="connsiteY4513" fmla="*/ 1738937 h 6858054"/>
              <a:gd name="connsiteX4514" fmla="*/ 424391 w 7631184"/>
              <a:gd name="connsiteY4514" fmla="*/ 1729168 h 6858054"/>
              <a:gd name="connsiteX4515" fmla="*/ 447439 w 7631184"/>
              <a:gd name="connsiteY4515" fmla="*/ 1729168 h 6858054"/>
              <a:gd name="connsiteX4516" fmla="*/ 492771 w 7631184"/>
              <a:gd name="connsiteY4516" fmla="*/ 1729168 h 6858054"/>
              <a:gd name="connsiteX4517" fmla="*/ 522077 w 7631184"/>
              <a:gd name="connsiteY4517" fmla="*/ 1729168 h 6858054"/>
              <a:gd name="connsiteX4518" fmla="*/ 561152 w 7631184"/>
              <a:gd name="connsiteY4518" fmla="*/ 1738937 h 6858054"/>
              <a:gd name="connsiteX4519" fmla="*/ 678375 w 7631184"/>
              <a:gd name="connsiteY4519" fmla="*/ 1748706 h 6858054"/>
              <a:gd name="connsiteX4520" fmla="*/ 688143 w 7631184"/>
              <a:gd name="connsiteY4520" fmla="*/ 1748706 h 6858054"/>
              <a:gd name="connsiteX4521" fmla="*/ 697912 w 7631184"/>
              <a:gd name="connsiteY4521" fmla="*/ 1748706 h 6858054"/>
              <a:gd name="connsiteX4522" fmla="*/ 707681 w 7631184"/>
              <a:gd name="connsiteY4522" fmla="*/ 1748706 h 6858054"/>
              <a:gd name="connsiteX4523" fmla="*/ 746755 w 7631184"/>
              <a:gd name="connsiteY4523" fmla="*/ 1748706 h 6858054"/>
              <a:gd name="connsiteX4524" fmla="*/ 756524 w 7631184"/>
              <a:gd name="connsiteY4524" fmla="*/ 1758475 h 6858054"/>
              <a:gd name="connsiteX4525" fmla="*/ 766292 w 7631184"/>
              <a:gd name="connsiteY4525" fmla="*/ 1758475 h 6858054"/>
              <a:gd name="connsiteX4526" fmla="*/ 776061 w 7631184"/>
              <a:gd name="connsiteY4526" fmla="*/ 1758475 h 6858054"/>
              <a:gd name="connsiteX4527" fmla="*/ 756524 w 7631184"/>
              <a:gd name="connsiteY4527" fmla="*/ 1738937 h 6858054"/>
              <a:gd name="connsiteX4528" fmla="*/ 736987 w 7631184"/>
              <a:gd name="connsiteY4528" fmla="*/ 1738937 h 6858054"/>
              <a:gd name="connsiteX4529" fmla="*/ 717449 w 7631184"/>
              <a:gd name="connsiteY4529" fmla="*/ 1719398 h 6858054"/>
              <a:gd name="connsiteX4530" fmla="*/ 678375 w 7631184"/>
              <a:gd name="connsiteY4530" fmla="*/ 1709629 h 6858054"/>
              <a:gd name="connsiteX4531" fmla="*/ 658838 w 7631184"/>
              <a:gd name="connsiteY4531" fmla="*/ 1709629 h 6858054"/>
              <a:gd name="connsiteX4532" fmla="*/ 649069 w 7631184"/>
              <a:gd name="connsiteY4532" fmla="*/ 1709629 h 6858054"/>
              <a:gd name="connsiteX4533" fmla="*/ 609995 w 7631184"/>
              <a:gd name="connsiteY4533" fmla="*/ 1699859 h 6858054"/>
              <a:gd name="connsiteX4534" fmla="*/ 570920 w 7631184"/>
              <a:gd name="connsiteY4534" fmla="*/ 1690090 h 6858054"/>
              <a:gd name="connsiteX4535" fmla="*/ 453697 w 7631184"/>
              <a:gd name="connsiteY4535" fmla="*/ 1680321 h 6858054"/>
              <a:gd name="connsiteX4536" fmla="*/ 443928 w 7631184"/>
              <a:gd name="connsiteY4536" fmla="*/ 1680321 h 6858054"/>
              <a:gd name="connsiteX4537" fmla="*/ 434160 w 7631184"/>
              <a:gd name="connsiteY4537" fmla="*/ 1680321 h 6858054"/>
              <a:gd name="connsiteX4538" fmla="*/ 395085 w 7631184"/>
              <a:gd name="connsiteY4538" fmla="*/ 1680321 h 6858054"/>
              <a:gd name="connsiteX4539" fmla="*/ 365779 w 7631184"/>
              <a:gd name="connsiteY4539" fmla="*/ 1680321 h 6858054"/>
              <a:gd name="connsiteX4540" fmla="*/ 336473 w 7631184"/>
              <a:gd name="connsiteY4540" fmla="*/ 1670551 h 6858054"/>
              <a:gd name="connsiteX4541" fmla="*/ 316936 w 7631184"/>
              <a:gd name="connsiteY4541" fmla="*/ 1670551 h 6858054"/>
              <a:gd name="connsiteX4542" fmla="*/ 287630 w 7631184"/>
              <a:gd name="connsiteY4542" fmla="*/ 1670551 h 6858054"/>
              <a:gd name="connsiteX4543" fmla="*/ 268093 w 7631184"/>
              <a:gd name="connsiteY4543" fmla="*/ 1670551 h 6858054"/>
              <a:gd name="connsiteX4544" fmla="*/ 229019 w 7631184"/>
              <a:gd name="connsiteY4544" fmla="*/ 1670551 h 6858054"/>
              <a:gd name="connsiteX4545" fmla="*/ 141101 w 7631184"/>
              <a:gd name="connsiteY4545" fmla="*/ 1660782 h 6858054"/>
              <a:gd name="connsiteX4546" fmla="*/ 121564 w 7631184"/>
              <a:gd name="connsiteY4546" fmla="*/ 1660782 h 6858054"/>
              <a:gd name="connsiteX4547" fmla="*/ 111795 w 7631184"/>
              <a:gd name="connsiteY4547" fmla="*/ 1660782 h 6858054"/>
              <a:gd name="connsiteX4548" fmla="*/ 92258 w 7631184"/>
              <a:gd name="connsiteY4548" fmla="*/ 1660782 h 6858054"/>
              <a:gd name="connsiteX4549" fmla="*/ 82489 w 7631184"/>
              <a:gd name="connsiteY4549" fmla="*/ 1660782 h 6858054"/>
              <a:gd name="connsiteX4550" fmla="*/ 72721 w 7631184"/>
              <a:gd name="connsiteY4550" fmla="*/ 1660782 h 6858054"/>
              <a:gd name="connsiteX4551" fmla="*/ 33646 w 7631184"/>
              <a:gd name="connsiteY4551" fmla="*/ 1660782 h 6858054"/>
              <a:gd name="connsiteX4552" fmla="*/ 43415 w 7631184"/>
              <a:gd name="connsiteY4552" fmla="*/ 1651013 h 6858054"/>
              <a:gd name="connsiteX4553" fmla="*/ 62952 w 7631184"/>
              <a:gd name="connsiteY4553" fmla="*/ 1651013 h 6858054"/>
              <a:gd name="connsiteX4554" fmla="*/ 82489 w 7631184"/>
              <a:gd name="connsiteY4554" fmla="*/ 1651013 h 6858054"/>
              <a:gd name="connsiteX4555" fmla="*/ 111795 w 7631184"/>
              <a:gd name="connsiteY4555" fmla="*/ 1651013 h 6858054"/>
              <a:gd name="connsiteX4556" fmla="*/ 141101 w 7631184"/>
              <a:gd name="connsiteY4556" fmla="*/ 1651013 h 6858054"/>
              <a:gd name="connsiteX4557" fmla="*/ 150870 w 7631184"/>
              <a:gd name="connsiteY4557" fmla="*/ 1651013 h 6858054"/>
              <a:gd name="connsiteX4558" fmla="*/ 160638 w 7631184"/>
              <a:gd name="connsiteY4558" fmla="*/ 1651013 h 6858054"/>
              <a:gd name="connsiteX4559" fmla="*/ 170407 w 7631184"/>
              <a:gd name="connsiteY4559" fmla="*/ 1651013 h 6858054"/>
              <a:gd name="connsiteX4560" fmla="*/ 180176 w 7631184"/>
              <a:gd name="connsiteY4560" fmla="*/ 1651013 h 6858054"/>
              <a:gd name="connsiteX4561" fmla="*/ 229019 w 7631184"/>
              <a:gd name="connsiteY4561" fmla="*/ 1660782 h 6858054"/>
              <a:gd name="connsiteX4562" fmla="*/ 268093 w 7631184"/>
              <a:gd name="connsiteY4562" fmla="*/ 1660782 h 6858054"/>
              <a:gd name="connsiteX4563" fmla="*/ 297399 w 7631184"/>
              <a:gd name="connsiteY4563" fmla="*/ 1660782 h 6858054"/>
              <a:gd name="connsiteX4564" fmla="*/ 326705 w 7631184"/>
              <a:gd name="connsiteY4564" fmla="*/ 1660782 h 6858054"/>
              <a:gd name="connsiteX4565" fmla="*/ 404854 w 7631184"/>
              <a:gd name="connsiteY4565" fmla="*/ 1670551 h 6858054"/>
              <a:gd name="connsiteX4566" fmla="*/ 434160 w 7631184"/>
              <a:gd name="connsiteY4566" fmla="*/ 1670551 h 6858054"/>
              <a:gd name="connsiteX4567" fmla="*/ 443928 w 7631184"/>
              <a:gd name="connsiteY4567" fmla="*/ 1670551 h 6858054"/>
              <a:gd name="connsiteX4568" fmla="*/ 463465 w 7631184"/>
              <a:gd name="connsiteY4568" fmla="*/ 1670551 h 6858054"/>
              <a:gd name="connsiteX4569" fmla="*/ 492771 w 7631184"/>
              <a:gd name="connsiteY4569" fmla="*/ 1670551 h 6858054"/>
              <a:gd name="connsiteX4570" fmla="*/ 502540 w 7631184"/>
              <a:gd name="connsiteY4570" fmla="*/ 1670551 h 6858054"/>
              <a:gd name="connsiteX4571" fmla="*/ 531846 w 7631184"/>
              <a:gd name="connsiteY4571" fmla="*/ 1680321 h 6858054"/>
              <a:gd name="connsiteX4572" fmla="*/ 561152 w 7631184"/>
              <a:gd name="connsiteY4572" fmla="*/ 1680321 h 6858054"/>
              <a:gd name="connsiteX4573" fmla="*/ 619763 w 7631184"/>
              <a:gd name="connsiteY4573" fmla="*/ 1680321 h 6858054"/>
              <a:gd name="connsiteX4574" fmla="*/ 649069 w 7631184"/>
              <a:gd name="connsiteY4574" fmla="*/ 1680321 h 6858054"/>
              <a:gd name="connsiteX4575" fmla="*/ 639300 w 7631184"/>
              <a:gd name="connsiteY4575" fmla="*/ 1670551 h 6858054"/>
              <a:gd name="connsiteX4576" fmla="*/ 629532 w 7631184"/>
              <a:gd name="connsiteY4576" fmla="*/ 1660782 h 6858054"/>
              <a:gd name="connsiteX4577" fmla="*/ 688143 w 7631184"/>
              <a:gd name="connsiteY4577" fmla="*/ 1690090 h 6858054"/>
              <a:gd name="connsiteX4578" fmla="*/ 766292 w 7631184"/>
              <a:gd name="connsiteY4578" fmla="*/ 1690090 h 6858054"/>
              <a:gd name="connsiteX4579" fmla="*/ 776061 w 7631184"/>
              <a:gd name="connsiteY4579" fmla="*/ 1690090 h 6858054"/>
              <a:gd name="connsiteX4580" fmla="*/ 815135 w 7631184"/>
              <a:gd name="connsiteY4580" fmla="*/ 1699859 h 6858054"/>
              <a:gd name="connsiteX4581" fmla="*/ 824904 w 7631184"/>
              <a:gd name="connsiteY4581" fmla="*/ 1699859 h 6858054"/>
              <a:gd name="connsiteX4582" fmla="*/ 893284 w 7631184"/>
              <a:gd name="connsiteY4582" fmla="*/ 1699859 h 6858054"/>
              <a:gd name="connsiteX4583" fmla="*/ 903053 w 7631184"/>
              <a:gd name="connsiteY4583" fmla="*/ 1699859 h 6858054"/>
              <a:gd name="connsiteX4584" fmla="*/ 932359 w 7631184"/>
              <a:gd name="connsiteY4584" fmla="*/ 1709629 h 6858054"/>
              <a:gd name="connsiteX4585" fmla="*/ 922590 w 7631184"/>
              <a:gd name="connsiteY4585" fmla="*/ 1699859 h 6858054"/>
              <a:gd name="connsiteX4586" fmla="*/ 893284 w 7631184"/>
              <a:gd name="connsiteY4586" fmla="*/ 1680321 h 6858054"/>
              <a:gd name="connsiteX4587" fmla="*/ 854210 w 7631184"/>
              <a:gd name="connsiteY4587" fmla="*/ 1660782 h 6858054"/>
              <a:gd name="connsiteX4588" fmla="*/ 815135 w 7631184"/>
              <a:gd name="connsiteY4588" fmla="*/ 1641244 h 6858054"/>
              <a:gd name="connsiteX4589" fmla="*/ 805367 w 7631184"/>
              <a:gd name="connsiteY4589" fmla="*/ 1641244 h 6858054"/>
              <a:gd name="connsiteX4590" fmla="*/ 795598 w 7631184"/>
              <a:gd name="connsiteY4590" fmla="*/ 1641244 h 6858054"/>
              <a:gd name="connsiteX4591" fmla="*/ 785829 w 7631184"/>
              <a:gd name="connsiteY4591" fmla="*/ 1631475 h 6858054"/>
              <a:gd name="connsiteX4592" fmla="*/ 766292 w 7631184"/>
              <a:gd name="connsiteY4592" fmla="*/ 1631475 h 6858054"/>
              <a:gd name="connsiteX4593" fmla="*/ 746755 w 7631184"/>
              <a:gd name="connsiteY4593" fmla="*/ 1611936 h 6858054"/>
              <a:gd name="connsiteX4594" fmla="*/ 746755 w 7631184"/>
              <a:gd name="connsiteY4594" fmla="*/ 1602166 h 6858054"/>
              <a:gd name="connsiteX4595" fmla="*/ 727218 w 7631184"/>
              <a:gd name="connsiteY4595" fmla="*/ 1582628 h 6858054"/>
              <a:gd name="connsiteX4596" fmla="*/ 717449 w 7631184"/>
              <a:gd name="connsiteY4596" fmla="*/ 1572858 h 6858054"/>
              <a:gd name="connsiteX4597" fmla="*/ 727218 w 7631184"/>
              <a:gd name="connsiteY4597" fmla="*/ 1572858 h 6858054"/>
              <a:gd name="connsiteX4598" fmla="*/ 746755 w 7631184"/>
              <a:gd name="connsiteY4598" fmla="*/ 1582628 h 6858054"/>
              <a:gd name="connsiteX4599" fmla="*/ 756524 w 7631184"/>
              <a:gd name="connsiteY4599" fmla="*/ 1582628 h 6858054"/>
              <a:gd name="connsiteX4600" fmla="*/ 766292 w 7631184"/>
              <a:gd name="connsiteY4600" fmla="*/ 1592397 h 6858054"/>
              <a:gd name="connsiteX4601" fmla="*/ 785829 w 7631184"/>
              <a:gd name="connsiteY4601" fmla="*/ 1602166 h 6858054"/>
              <a:gd name="connsiteX4602" fmla="*/ 805367 w 7631184"/>
              <a:gd name="connsiteY4602" fmla="*/ 1611936 h 6858054"/>
              <a:gd name="connsiteX4603" fmla="*/ 824904 w 7631184"/>
              <a:gd name="connsiteY4603" fmla="*/ 1621705 h 6858054"/>
              <a:gd name="connsiteX4604" fmla="*/ 863978 w 7631184"/>
              <a:gd name="connsiteY4604" fmla="*/ 1641244 h 6858054"/>
              <a:gd name="connsiteX4605" fmla="*/ 883516 w 7631184"/>
              <a:gd name="connsiteY4605" fmla="*/ 1651013 h 6858054"/>
              <a:gd name="connsiteX4606" fmla="*/ 893284 w 7631184"/>
              <a:gd name="connsiteY4606" fmla="*/ 1660782 h 6858054"/>
              <a:gd name="connsiteX4607" fmla="*/ 932359 w 7631184"/>
              <a:gd name="connsiteY4607" fmla="*/ 1660782 h 6858054"/>
              <a:gd name="connsiteX4608" fmla="*/ 942127 w 7631184"/>
              <a:gd name="connsiteY4608" fmla="*/ 1660782 h 6858054"/>
              <a:gd name="connsiteX4609" fmla="*/ 951896 w 7631184"/>
              <a:gd name="connsiteY4609" fmla="*/ 1660782 h 6858054"/>
              <a:gd name="connsiteX4610" fmla="*/ 961665 w 7631184"/>
              <a:gd name="connsiteY4610" fmla="*/ 1660782 h 6858054"/>
              <a:gd name="connsiteX4611" fmla="*/ 942127 w 7631184"/>
              <a:gd name="connsiteY4611" fmla="*/ 1651013 h 6858054"/>
              <a:gd name="connsiteX4612" fmla="*/ 873747 w 7631184"/>
              <a:gd name="connsiteY4612" fmla="*/ 1611936 h 6858054"/>
              <a:gd name="connsiteX4613" fmla="*/ 854210 w 7631184"/>
              <a:gd name="connsiteY4613" fmla="*/ 1602166 h 6858054"/>
              <a:gd name="connsiteX4614" fmla="*/ 815135 w 7631184"/>
              <a:gd name="connsiteY4614" fmla="*/ 1582628 h 6858054"/>
              <a:gd name="connsiteX4615" fmla="*/ 795598 w 7631184"/>
              <a:gd name="connsiteY4615" fmla="*/ 1572858 h 6858054"/>
              <a:gd name="connsiteX4616" fmla="*/ 776061 w 7631184"/>
              <a:gd name="connsiteY4616" fmla="*/ 1572858 h 6858054"/>
              <a:gd name="connsiteX4617" fmla="*/ 766292 w 7631184"/>
              <a:gd name="connsiteY4617" fmla="*/ 1563089 h 6858054"/>
              <a:gd name="connsiteX4618" fmla="*/ 756524 w 7631184"/>
              <a:gd name="connsiteY4618" fmla="*/ 1553320 h 6858054"/>
              <a:gd name="connsiteX4619" fmla="*/ 727218 w 7631184"/>
              <a:gd name="connsiteY4619" fmla="*/ 1543550 h 6858054"/>
              <a:gd name="connsiteX4620" fmla="*/ 697912 w 7631184"/>
              <a:gd name="connsiteY4620" fmla="*/ 1533781 h 6858054"/>
              <a:gd name="connsiteX4621" fmla="*/ 678375 w 7631184"/>
              <a:gd name="connsiteY4621" fmla="*/ 1524012 h 6858054"/>
              <a:gd name="connsiteX4622" fmla="*/ 649069 w 7631184"/>
              <a:gd name="connsiteY4622" fmla="*/ 1514243 h 6858054"/>
              <a:gd name="connsiteX4623" fmla="*/ 570920 w 7631184"/>
              <a:gd name="connsiteY4623" fmla="*/ 1484935 h 6858054"/>
              <a:gd name="connsiteX4624" fmla="*/ 541614 w 7631184"/>
              <a:gd name="connsiteY4624" fmla="*/ 1475165 h 6858054"/>
              <a:gd name="connsiteX4625" fmla="*/ 541614 w 7631184"/>
              <a:gd name="connsiteY4625" fmla="*/ 1465396 h 6858054"/>
              <a:gd name="connsiteX4626" fmla="*/ 522077 w 7631184"/>
              <a:gd name="connsiteY4626" fmla="*/ 1445857 h 6858054"/>
              <a:gd name="connsiteX4627" fmla="*/ 561152 w 7631184"/>
              <a:gd name="connsiteY4627" fmla="*/ 1455627 h 6858054"/>
              <a:gd name="connsiteX4628" fmla="*/ 580689 w 7631184"/>
              <a:gd name="connsiteY4628" fmla="*/ 1445857 h 6858054"/>
              <a:gd name="connsiteX4629" fmla="*/ 590457 w 7631184"/>
              <a:gd name="connsiteY4629" fmla="*/ 1455627 h 6858054"/>
              <a:gd name="connsiteX4630" fmla="*/ 609995 w 7631184"/>
              <a:gd name="connsiteY4630" fmla="*/ 1465396 h 6858054"/>
              <a:gd name="connsiteX4631" fmla="*/ 629532 w 7631184"/>
              <a:gd name="connsiteY4631" fmla="*/ 1475165 h 6858054"/>
              <a:gd name="connsiteX4632" fmla="*/ 639300 w 7631184"/>
              <a:gd name="connsiteY4632" fmla="*/ 1475165 h 6858054"/>
              <a:gd name="connsiteX4633" fmla="*/ 649069 w 7631184"/>
              <a:gd name="connsiteY4633" fmla="*/ 1475165 h 6858054"/>
              <a:gd name="connsiteX4634" fmla="*/ 678375 w 7631184"/>
              <a:gd name="connsiteY4634" fmla="*/ 1484935 h 6858054"/>
              <a:gd name="connsiteX4635" fmla="*/ 688143 w 7631184"/>
              <a:gd name="connsiteY4635" fmla="*/ 1484935 h 6858054"/>
              <a:gd name="connsiteX4636" fmla="*/ 746755 w 7631184"/>
              <a:gd name="connsiteY4636" fmla="*/ 1524012 h 6858054"/>
              <a:gd name="connsiteX4637" fmla="*/ 756524 w 7631184"/>
              <a:gd name="connsiteY4637" fmla="*/ 1514243 h 6858054"/>
              <a:gd name="connsiteX4638" fmla="*/ 766292 w 7631184"/>
              <a:gd name="connsiteY4638" fmla="*/ 1524012 h 6858054"/>
              <a:gd name="connsiteX4639" fmla="*/ 785829 w 7631184"/>
              <a:gd name="connsiteY4639" fmla="*/ 1533781 h 6858054"/>
              <a:gd name="connsiteX4640" fmla="*/ 795598 w 7631184"/>
              <a:gd name="connsiteY4640" fmla="*/ 1524012 h 6858054"/>
              <a:gd name="connsiteX4641" fmla="*/ 795598 w 7631184"/>
              <a:gd name="connsiteY4641" fmla="*/ 1504473 h 6858054"/>
              <a:gd name="connsiteX4642" fmla="*/ 795598 w 7631184"/>
              <a:gd name="connsiteY4642" fmla="*/ 1494704 h 6858054"/>
              <a:gd name="connsiteX4643" fmla="*/ 717449 w 7631184"/>
              <a:gd name="connsiteY4643" fmla="*/ 1455627 h 6858054"/>
              <a:gd name="connsiteX4644" fmla="*/ 707681 w 7631184"/>
              <a:gd name="connsiteY4644" fmla="*/ 1445857 h 6858054"/>
              <a:gd name="connsiteX4645" fmla="*/ 697912 w 7631184"/>
              <a:gd name="connsiteY4645" fmla="*/ 1445857 h 6858054"/>
              <a:gd name="connsiteX4646" fmla="*/ 668606 w 7631184"/>
              <a:gd name="connsiteY4646" fmla="*/ 1426319 h 6858054"/>
              <a:gd name="connsiteX4647" fmla="*/ 658838 w 7631184"/>
              <a:gd name="connsiteY4647" fmla="*/ 1416550 h 6858054"/>
              <a:gd name="connsiteX4648" fmla="*/ 639300 w 7631184"/>
              <a:gd name="connsiteY4648" fmla="*/ 1416550 h 6858054"/>
              <a:gd name="connsiteX4649" fmla="*/ 600226 w 7631184"/>
              <a:gd name="connsiteY4649" fmla="*/ 1397011 h 6858054"/>
              <a:gd name="connsiteX4650" fmla="*/ 600226 w 7631184"/>
              <a:gd name="connsiteY4650" fmla="*/ 1387242 h 6858054"/>
              <a:gd name="connsiteX4651" fmla="*/ 590457 w 7631184"/>
              <a:gd name="connsiteY4651" fmla="*/ 1377472 h 6858054"/>
              <a:gd name="connsiteX4652" fmla="*/ 580689 w 7631184"/>
              <a:gd name="connsiteY4652" fmla="*/ 1357934 h 6858054"/>
              <a:gd name="connsiteX4653" fmla="*/ 590457 w 7631184"/>
              <a:gd name="connsiteY4653" fmla="*/ 1357934 h 6858054"/>
              <a:gd name="connsiteX4654" fmla="*/ 609995 w 7631184"/>
              <a:gd name="connsiteY4654" fmla="*/ 1357934 h 6858054"/>
              <a:gd name="connsiteX4655" fmla="*/ 658838 w 7631184"/>
              <a:gd name="connsiteY4655" fmla="*/ 1367703 h 6858054"/>
              <a:gd name="connsiteX4656" fmla="*/ 629532 w 7631184"/>
              <a:gd name="connsiteY4656" fmla="*/ 1348164 h 6858054"/>
              <a:gd name="connsiteX4657" fmla="*/ 668606 w 7631184"/>
              <a:gd name="connsiteY4657" fmla="*/ 1357934 h 6858054"/>
              <a:gd name="connsiteX4658" fmla="*/ 707681 w 7631184"/>
              <a:gd name="connsiteY4658" fmla="*/ 1377472 h 6858054"/>
              <a:gd name="connsiteX4659" fmla="*/ 717449 w 7631184"/>
              <a:gd name="connsiteY4659" fmla="*/ 1367703 h 6858054"/>
              <a:gd name="connsiteX4660" fmla="*/ 727218 w 7631184"/>
              <a:gd name="connsiteY4660" fmla="*/ 1367703 h 6858054"/>
              <a:gd name="connsiteX4661" fmla="*/ 766292 w 7631184"/>
              <a:gd name="connsiteY4661" fmla="*/ 1387242 h 6858054"/>
              <a:gd name="connsiteX4662" fmla="*/ 776061 w 7631184"/>
              <a:gd name="connsiteY4662" fmla="*/ 1397011 h 6858054"/>
              <a:gd name="connsiteX4663" fmla="*/ 824904 w 7631184"/>
              <a:gd name="connsiteY4663" fmla="*/ 1406780 h 6858054"/>
              <a:gd name="connsiteX4664" fmla="*/ 873747 w 7631184"/>
              <a:gd name="connsiteY4664" fmla="*/ 1436088 h 6858054"/>
              <a:gd name="connsiteX4665" fmla="*/ 971433 w 7631184"/>
              <a:gd name="connsiteY4665" fmla="*/ 1484935 h 6858054"/>
              <a:gd name="connsiteX4666" fmla="*/ 1000739 w 7631184"/>
              <a:gd name="connsiteY4666" fmla="*/ 1494704 h 6858054"/>
              <a:gd name="connsiteX4667" fmla="*/ 1030045 w 7631184"/>
              <a:gd name="connsiteY4667" fmla="*/ 1514243 h 6858054"/>
              <a:gd name="connsiteX4668" fmla="*/ 1078888 w 7631184"/>
              <a:gd name="connsiteY4668" fmla="*/ 1533781 h 6858054"/>
              <a:gd name="connsiteX4669" fmla="*/ 1088657 w 7631184"/>
              <a:gd name="connsiteY4669" fmla="*/ 1543550 h 6858054"/>
              <a:gd name="connsiteX4670" fmla="*/ 1176574 w 7631184"/>
              <a:gd name="connsiteY4670" fmla="*/ 1582628 h 6858054"/>
              <a:gd name="connsiteX4671" fmla="*/ 1215648 w 7631184"/>
              <a:gd name="connsiteY4671" fmla="*/ 1602166 h 6858054"/>
              <a:gd name="connsiteX4672" fmla="*/ 1225417 w 7631184"/>
              <a:gd name="connsiteY4672" fmla="*/ 1602166 h 6858054"/>
              <a:gd name="connsiteX4673" fmla="*/ 1225417 w 7631184"/>
              <a:gd name="connsiteY4673" fmla="*/ 1611936 h 6858054"/>
              <a:gd name="connsiteX4674" fmla="*/ 1254723 w 7631184"/>
              <a:gd name="connsiteY4674" fmla="*/ 1621705 h 6858054"/>
              <a:gd name="connsiteX4675" fmla="*/ 1284029 w 7631184"/>
              <a:gd name="connsiteY4675" fmla="*/ 1631475 h 6858054"/>
              <a:gd name="connsiteX4676" fmla="*/ 1293797 w 7631184"/>
              <a:gd name="connsiteY4676" fmla="*/ 1631475 h 6858054"/>
              <a:gd name="connsiteX4677" fmla="*/ 1274260 w 7631184"/>
              <a:gd name="connsiteY4677" fmla="*/ 1621705 h 6858054"/>
              <a:gd name="connsiteX4678" fmla="*/ 1264492 w 7631184"/>
              <a:gd name="connsiteY4678" fmla="*/ 1611936 h 6858054"/>
              <a:gd name="connsiteX4679" fmla="*/ 1254723 w 7631184"/>
              <a:gd name="connsiteY4679" fmla="*/ 1611936 h 6858054"/>
              <a:gd name="connsiteX4680" fmla="*/ 1244954 w 7631184"/>
              <a:gd name="connsiteY4680" fmla="*/ 1611936 h 6858054"/>
              <a:gd name="connsiteX4681" fmla="*/ 1235186 w 7631184"/>
              <a:gd name="connsiteY4681" fmla="*/ 1592397 h 6858054"/>
              <a:gd name="connsiteX4682" fmla="*/ 1244954 w 7631184"/>
              <a:gd name="connsiteY4682" fmla="*/ 1582628 h 6858054"/>
              <a:gd name="connsiteX4683" fmla="*/ 1215648 w 7631184"/>
              <a:gd name="connsiteY4683" fmla="*/ 1553320 h 6858054"/>
              <a:gd name="connsiteX4684" fmla="*/ 1205880 w 7631184"/>
              <a:gd name="connsiteY4684" fmla="*/ 1553320 h 6858054"/>
              <a:gd name="connsiteX4685" fmla="*/ 1186343 w 7631184"/>
              <a:gd name="connsiteY4685" fmla="*/ 1543550 h 6858054"/>
              <a:gd name="connsiteX4686" fmla="*/ 1176574 w 7631184"/>
              <a:gd name="connsiteY4686" fmla="*/ 1533781 h 6858054"/>
              <a:gd name="connsiteX4687" fmla="*/ 1166805 w 7631184"/>
              <a:gd name="connsiteY4687" fmla="*/ 1524012 h 6858054"/>
              <a:gd name="connsiteX4688" fmla="*/ 1137500 w 7631184"/>
              <a:gd name="connsiteY4688" fmla="*/ 1514243 h 6858054"/>
              <a:gd name="connsiteX4689" fmla="*/ 1117962 w 7631184"/>
              <a:gd name="connsiteY4689" fmla="*/ 1504473 h 6858054"/>
              <a:gd name="connsiteX4690" fmla="*/ 1049582 w 7631184"/>
              <a:gd name="connsiteY4690" fmla="*/ 1455627 h 6858054"/>
              <a:gd name="connsiteX4691" fmla="*/ 1049582 w 7631184"/>
              <a:gd name="connsiteY4691" fmla="*/ 1445857 h 6858054"/>
              <a:gd name="connsiteX4692" fmla="*/ 1010508 w 7631184"/>
              <a:gd name="connsiteY4692" fmla="*/ 1426319 h 6858054"/>
              <a:gd name="connsiteX4693" fmla="*/ 1030045 w 7631184"/>
              <a:gd name="connsiteY4693" fmla="*/ 1445857 h 6858054"/>
              <a:gd name="connsiteX4694" fmla="*/ 1039813 w 7631184"/>
              <a:gd name="connsiteY4694" fmla="*/ 1465396 h 6858054"/>
              <a:gd name="connsiteX4695" fmla="*/ 981202 w 7631184"/>
              <a:gd name="connsiteY4695" fmla="*/ 1436088 h 6858054"/>
              <a:gd name="connsiteX4696" fmla="*/ 932359 w 7631184"/>
              <a:gd name="connsiteY4696" fmla="*/ 1397011 h 6858054"/>
              <a:gd name="connsiteX4697" fmla="*/ 863978 w 7631184"/>
              <a:gd name="connsiteY4697" fmla="*/ 1357934 h 6858054"/>
              <a:gd name="connsiteX4698" fmla="*/ 844441 w 7631184"/>
              <a:gd name="connsiteY4698" fmla="*/ 1348164 h 6858054"/>
              <a:gd name="connsiteX4699" fmla="*/ 795598 w 7631184"/>
              <a:gd name="connsiteY4699" fmla="*/ 1338395 h 6858054"/>
              <a:gd name="connsiteX4700" fmla="*/ 785829 w 7631184"/>
              <a:gd name="connsiteY4700" fmla="*/ 1348164 h 6858054"/>
              <a:gd name="connsiteX4701" fmla="*/ 776061 w 7631184"/>
              <a:gd name="connsiteY4701" fmla="*/ 1348164 h 6858054"/>
              <a:gd name="connsiteX4702" fmla="*/ 766292 w 7631184"/>
              <a:gd name="connsiteY4702" fmla="*/ 1348164 h 6858054"/>
              <a:gd name="connsiteX4703" fmla="*/ 756524 w 7631184"/>
              <a:gd name="connsiteY4703" fmla="*/ 1348164 h 6858054"/>
              <a:gd name="connsiteX4704" fmla="*/ 756524 w 7631184"/>
              <a:gd name="connsiteY4704" fmla="*/ 1338395 h 6858054"/>
              <a:gd name="connsiteX4705" fmla="*/ 688143 w 7631184"/>
              <a:gd name="connsiteY4705" fmla="*/ 1299318 h 6858054"/>
              <a:gd name="connsiteX4706" fmla="*/ 697912 w 7631184"/>
              <a:gd name="connsiteY4706" fmla="*/ 1299318 h 6858054"/>
              <a:gd name="connsiteX4707" fmla="*/ 727218 w 7631184"/>
              <a:gd name="connsiteY4707" fmla="*/ 1309087 h 6858054"/>
              <a:gd name="connsiteX4708" fmla="*/ 746755 w 7631184"/>
              <a:gd name="connsiteY4708" fmla="*/ 1299318 h 6858054"/>
              <a:gd name="connsiteX4709" fmla="*/ 717449 w 7631184"/>
              <a:gd name="connsiteY4709" fmla="*/ 1289548 h 6858054"/>
              <a:gd name="connsiteX4710" fmla="*/ 756524 w 7631184"/>
              <a:gd name="connsiteY4710" fmla="*/ 1289548 h 6858054"/>
              <a:gd name="connsiteX4711" fmla="*/ 766292 w 7631184"/>
              <a:gd name="connsiteY4711" fmla="*/ 1289548 h 6858054"/>
              <a:gd name="connsiteX4712" fmla="*/ 785829 w 7631184"/>
              <a:gd name="connsiteY4712" fmla="*/ 1299318 h 6858054"/>
              <a:gd name="connsiteX4713" fmla="*/ 805367 w 7631184"/>
              <a:gd name="connsiteY4713" fmla="*/ 1299318 h 6858054"/>
              <a:gd name="connsiteX4714" fmla="*/ 873747 w 7631184"/>
              <a:gd name="connsiteY4714" fmla="*/ 1338395 h 6858054"/>
              <a:gd name="connsiteX4715" fmla="*/ 893284 w 7631184"/>
              <a:gd name="connsiteY4715" fmla="*/ 1348164 h 6858054"/>
              <a:gd name="connsiteX4716" fmla="*/ 922590 w 7631184"/>
              <a:gd name="connsiteY4716" fmla="*/ 1367703 h 6858054"/>
              <a:gd name="connsiteX4717" fmla="*/ 932359 w 7631184"/>
              <a:gd name="connsiteY4717" fmla="*/ 1367703 h 6858054"/>
              <a:gd name="connsiteX4718" fmla="*/ 961665 w 7631184"/>
              <a:gd name="connsiteY4718" fmla="*/ 1387242 h 6858054"/>
              <a:gd name="connsiteX4719" fmla="*/ 981202 w 7631184"/>
              <a:gd name="connsiteY4719" fmla="*/ 1397011 h 6858054"/>
              <a:gd name="connsiteX4720" fmla="*/ 1010508 w 7631184"/>
              <a:gd name="connsiteY4720" fmla="*/ 1406780 h 6858054"/>
              <a:gd name="connsiteX4721" fmla="*/ 1039813 w 7631184"/>
              <a:gd name="connsiteY4721" fmla="*/ 1426319 h 6858054"/>
              <a:gd name="connsiteX4722" fmla="*/ 1049582 w 7631184"/>
              <a:gd name="connsiteY4722" fmla="*/ 1436088 h 6858054"/>
              <a:gd name="connsiteX4723" fmla="*/ 1108194 w 7631184"/>
              <a:gd name="connsiteY4723" fmla="*/ 1465396 h 6858054"/>
              <a:gd name="connsiteX4724" fmla="*/ 1127731 w 7631184"/>
              <a:gd name="connsiteY4724" fmla="*/ 1475165 h 6858054"/>
              <a:gd name="connsiteX4725" fmla="*/ 1147268 w 7631184"/>
              <a:gd name="connsiteY4725" fmla="*/ 1484935 h 6858054"/>
              <a:gd name="connsiteX4726" fmla="*/ 1186343 w 7631184"/>
              <a:gd name="connsiteY4726" fmla="*/ 1504473 h 6858054"/>
              <a:gd name="connsiteX4727" fmla="*/ 1196111 w 7631184"/>
              <a:gd name="connsiteY4727" fmla="*/ 1514243 h 6858054"/>
              <a:gd name="connsiteX4728" fmla="*/ 1225417 w 7631184"/>
              <a:gd name="connsiteY4728" fmla="*/ 1524012 h 6858054"/>
              <a:gd name="connsiteX4729" fmla="*/ 1235186 w 7631184"/>
              <a:gd name="connsiteY4729" fmla="*/ 1524012 h 6858054"/>
              <a:gd name="connsiteX4730" fmla="*/ 1244954 w 7631184"/>
              <a:gd name="connsiteY4730" fmla="*/ 1533781 h 6858054"/>
              <a:gd name="connsiteX4731" fmla="*/ 1284029 w 7631184"/>
              <a:gd name="connsiteY4731" fmla="*/ 1553320 h 6858054"/>
              <a:gd name="connsiteX4732" fmla="*/ 1323103 w 7631184"/>
              <a:gd name="connsiteY4732" fmla="*/ 1572858 h 6858054"/>
              <a:gd name="connsiteX4733" fmla="*/ 1332872 w 7631184"/>
              <a:gd name="connsiteY4733" fmla="*/ 1582628 h 6858054"/>
              <a:gd name="connsiteX4734" fmla="*/ 1342640 w 7631184"/>
              <a:gd name="connsiteY4734" fmla="*/ 1582628 h 6858054"/>
              <a:gd name="connsiteX4735" fmla="*/ 1401252 w 7631184"/>
              <a:gd name="connsiteY4735" fmla="*/ 1611936 h 6858054"/>
              <a:gd name="connsiteX4736" fmla="*/ 1411021 w 7631184"/>
              <a:gd name="connsiteY4736" fmla="*/ 1611936 h 6858054"/>
              <a:gd name="connsiteX4737" fmla="*/ 1430558 w 7631184"/>
              <a:gd name="connsiteY4737" fmla="*/ 1621705 h 6858054"/>
              <a:gd name="connsiteX4738" fmla="*/ 1450095 w 7631184"/>
              <a:gd name="connsiteY4738" fmla="*/ 1631475 h 6858054"/>
              <a:gd name="connsiteX4739" fmla="*/ 1459864 w 7631184"/>
              <a:gd name="connsiteY4739" fmla="*/ 1631475 h 6858054"/>
              <a:gd name="connsiteX4740" fmla="*/ 1469632 w 7631184"/>
              <a:gd name="connsiteY4740" fmla="*/ 1641244 h 6858054"/>
              <a:gd name="connsiteX4741" fmla="*/ 1489170 w 7631184"/>
              <a:gd name="connsiteY4741" fmla="*/ 1641244 h 6858054"/>
              <a:gd name="connsiteX4742" fmla="*/ 1498938 w 7631184"/>
              <a:gd name="connsiteY4742" fmla="*/ 1641244 h 6858054"/>
              <a:gd name="connsiteX4743" fmla="*/ 1508707 w 7631184"/>
              <a:gd name="connsiteY4743" fmla="*/ 1641244 h 6858054"/>
              <a:gd name="connsiteX4744" fmla="*/ 1518475 w 7631184"/>
              <a:gd name="connsiteY4744" fmla="*/ 1641244 h 6858054"/>
              <a:gd name="connsiteX4745" fmla="*/ 1528244 w 7631184"/>
              <a:gd name="connsiteY4745" fmla="*/ 1641244 h 6858054"/>
              <a:gd name="connsiteX4746" fmla="*/ 1547781 w 7631184"/>
              <a:gd name="connsiteY4746" fmla="*/ 1651013 h 6858054"/>
              <a:gd name="connsiteX4747" fmla="*/ 1567319 w 7631184"/>
              <a:gd name="connsiteY4747" fmla="*/ 1651013 h 6858054"/>
              <a:gd name="connsiteX4748" fmla="*/ 1538013 w 7631184"/>
              <a:gd name="connsiteY4748" fmla="*/ 1631475 h 6858054"/>
              <a:gd name="connsiteX4749" fmla="*/ 1518475 w 7631184"/>
              <a:gd name="connsiteY4749" fmla="*/ 1621705 h 6858054"/>
              <a:gd name="connsiteX4750" fmla="*/ 1489170 w 7631184"/>
              <a:gd name="connsiteY4750" fmla="*/ 1611936 h 6858054"/>
              <a:gd name="connsiteX4751" fmla="*/ 1469632 w 7631184"/>
              <a:gd name="connsiteY4751" fmla="*/ 1592397 h 6858054"/>
              <a:gd name="connsiteX4752" fmla="*/ 1528244 w 7631184"/>
              <a:gd name="connsiteY4752" fmla="*/ 1621705 h 6858054"/>
              <a:gd name="connsiteX4753" fmla="*/ 1547781 w 7631184"/>
              <a:gd name="connsiteY4753" fmla="*/ 1631475 h 6858054"/>
              <a:gd name="connsiteX4754" fmla="*/ 1577087 w 7631184"/>
              <a:gd name="connsiteY4754" fmla="*/ 1651013 h 6858054"/>
              <a:gd name="connsiteX4755" fmla="*/ 1606393 w 7631184"/>
              <a:gd name="connsiteY4755" fmla="*/ 1651013 h 6858054"/>
              <a:gd name="connsiteX4756" fmla="*/ 1616162 w 7631184"/>
              <a:gd name="connsiteY4756" fmla="*/ 1651013 h 6858054"/>
              <a:gd name="connsiteX4757" fmla="*/ 1625930 w 7631184"/>
              <a:gd name="connsiteY4757" fmla="*/ 1660782 h 6858054"/>
              <a:gd name="connsiteX4758" fmla="*/ 1655236 w 7631184"/>
              <a:gd name="connsiteY4758" fmla="*/ 1660782 h 6858054"/>
              <a:gd name="connsiteX4759" fmla="*/ 1684542 w 7631184"/>
              <a:gd name="connsiteY4759" fmla="*/ 1670551 h 6858054"/>
              <a:gd name="connsiteX4760" fmla="*/ 1743154 w 7631184"/>
              <a:gd name="connsiteY4760" fmla="*/ 1680321 h 6858054"/>
              <a:gd name="connsiteX4761" fmla="*/ 1752922 w 7631184"/>
              <a:gd name="connsiteY4761" fmla="*/ 1680321 h 6858054"/>
              <a:gd name="connsiteX4762" fmla="*/ 1762691 w 7631184"/>
              <a:gd name="connsiteY4762" fmla="*/ 1680321 h 6858054"/>
              <a:gd name="connsiteX4763" fmla="*/ 1811534 w 7631184"/>
              <a:gd name="connsiteY4763" fmla="*/ 1690090 h 6858054"/>
              <a:gd name="connsiteX4764" fmla="*/ 1840840 w 7631184"/>
              <a:gd name="connsiteY4764" fmla="*/ 1690090 h 6858054"/>
              <a:gd name="connsiteX4765" fmla="*/ 1870145 w 7631184"/>
              <a:gd name="connsiteY4765" fmla="*/ 1690090 h 6858054"/>
              <a:gd name="connsiteX4766" fmla="*/ 1879914 w 7631184"/>
              <a:gd name="connsiteY4766" fmla="*/ 1690090 h 6858054"/>
              <a:gd name="connsiteX4767" fmla="*/ 1889683 w 7631184"/>
              <a:gd name="connsiteY4767" fmla="*/ 1680321 h 6858054"/>
              <a:gd name="connsiteX4768" fmla="*/ 1958063 w 7631184"/>
              <a:gd name="connsiteY4768" fmla="*/ 1690090 h 6858054"/>
              <a:gd name="connsiteX4769" fmla="*/ 1967832 w 7631184"/>
              <a:gd name="connsiteY4769" fmla="*/ 1690090 h 6858054"/>
              <a:gd name="connsiteX4770" fmla="*/ 1928757 w 7631184"/>
              <a:gd name="connsiteY4770" fmla="*/ 1670551 h 6858054"/>
              <a:gd name="connsiteX4771" fmla="*/ 1889683 w 7631184"/>
              <a:gd name="connsiteY4771" fmla="*/ 1660782 h 6858054"/>
              <a:gd name="connsiteX4772" fmla="*/ 1860377 w 7631184"/>
              <a:gd name="connsiteY4772" fmla="*/ 1660782 h 6858054"/>
              <a:gd name="connsiteX4773" fmla="*/ 1850608 w 7631184"/>
              <a:gd name="connsiteY4773" fmla="*/ 1651013 h 6858054"/>
              <a:gd name="connsiteX4774" fmla="*/ 1831071 w 7631184"/>
              <a:gd name="connsiteY4774" fmla="*/ 1651013 h 6858054"/>
              <a:gd name="connsiteX4775" fmla="*/ 1791997 w 7631184"/>
              <a:gd name="connsiteY4775" fmla="*/ 1641244 h 6858054"/>
              <a:gd name="connsiteX4776" fmla="*/ 1743154 w 7631184"/>
              <a:gd name="connsiteY4776" fmla="*/ 1631475 h 6858054"/>
              <a:gd name="connsiteX4777" fmla="*/ 1704079 w 7631184"/>
              <a:gd name="connsiteY4777" fmla="*/ 1621705 h 6858054"/>
              <a:gd name="connsiteX4778" fmla="*/ 1665005 w 7631184"/>
              <a:gd name="connsiteY4778" fmla="*/ 1611936 h 6858054"/>
              <a:gd name="connsiteX4779" fmla="*/ 1645467 w 7631184"/>
              <a:gd name="connsiteY4779" fmla="*/ 1611936 h 6858054"/>
              <a:gd name="connsiteX4780" fmla="*/ 1635699 w 7631184"/>
              <a:gd name="connsiteY4780" fmla="*/ 1602166 h 6858054"/>
              <a:gd name="connsiteX4781" fmla="*/ 1645467 w 7631184"/>
              <a:gd name="connsiteY4781" fmla="*/ 1602166 h 6858054"/>
              <a:gd name="connsiteX4782" fmla="*/ 1655236 w 7631184"/>
              <a:gd name="connsiteY4782" fmla="*/ 1602166 h 6858054"/>
              <a:gd name="connsiteX4783" fmla="*/ 1674773 w 7631184"/>
              <a:gd name="connsiteY4783" fmla="*/ 1611936 h 6858054"/>
              <a:gd name="connsiteX4784" fmla="*/ 1694310 w 7631184"/>
              <a:gd name="connsiteY4784" fmla="*/ 1611936 h 6858054"/>
              <a:gd name="connsiteX4785" fmla="*/ 1713848 w 7631184"/>
              <a:gd name="connsiteY4785" fmla="*/ 1621705 h 6858054"/>
              <a:gd name="connsiteX4786" fmla="*/ 1733385 w 7631184"/>
              <a:gd name="connsiteY4786" fmla="*/ 1621705 h 6858054"/>
              <a:gd name="connsiteX4787" fmla="*/ 1752922 w 7631184"/>
              <a:gd name="connsiteY4787" fmla="*/ 1621705 h 6858054"/>
              <a:gd name="connsiteX4788" fmla="*/ 1762691 w 7631184"/>
              <a:gd name="connsiteY4788" fmla="*/ 1631475 h 6858054"/>
              <a:gd name="connsiteX4789" fmla="*/ 1801765 w 7631184"/>
              <a:gd name="connsiteY4789" fmla="*/ 1631475 h 6858054"/>
              <a:gd name="connsiteX4790" fmla="*/ 1831071 w 7631184"/>
              <a:gd name="connsiteY4790" fmla="*/ 1641244 h 6858054"/>
              <a:gd name="connsiteX4791" fmla="*/ 1840840 w 7631184"/>
              <a:gd name="connsiteY4791" fmla="*/ 1641244 h 6858054"/>
              <a:gd name="connsiteX4792" fmla="*/ 1850608 w 7631184"/>
              <a:gd name="connsiteY4792" fmla="*/ 1641244 h 6858054"/>
              <a:gd name="connsiteX4793" fmla="*/ 1870145 w 7631184"/>
              <a:gd name="connsiteY4793" fmla="*/ 1641244 h 6858054"/>
              <a:gd name="connsiteX4794" fmla="*/ 1948294 w 7631184"/>
              <a:gd name="connsiteY4794" fmla="*/ 1660782 h 6858054"/>
              <a:gd name="connsiteX4795" fmla="*/ 1958063 w 7631184"/>
              <a:gd name="connsiteY4795" fmla="*/ 1660782 h 6858054"/>
              <a:gd name="connsiteX4796" fmla="*/ 1967832 w 7631184"/>
              <a:gd name="connsiteY4796" fmla="*/ 1660782 h 6858054"/>
              <a:gd name="connsiteX4797" fmla="*/ 1977600 w 7631184"/>
              <a:gd name="connsiteY4797" fmla="*/ 1660782 h 6858054"/>
              <a:gd name="connsiteX4798" fmla="*/ 1997137 w 7631184"/>
              <a:gd name="connsiteY4798" fmla="*/ 1660782 h 6858054"/>
              <a:gd name="connsiteX4799" fmla="*/ 2016675 w 7631184"/>
              <a:gd name="connsiteY4799" fmla="*/ 1670551 h 6858054"/>
              <a:gd name="connsiteX4800" fmla="*/ 2036212 w 7631184"/>
              <a:gd name="connsiteY4800" fmla="*/ 1670551 h 6858054"/>
              <a:gd name="connsiteX4801" fmla="*/ 2045980 w 7631184"/>
              <a:gd name="connsiteY4801" fmla="*/ 1680321 h 6858054"/>
              <a:gd name="connsiteX4802" fmla="*/ 2055749 w 7631184"/>
              <a:gd name="connsiteY4802" fmla="*/ 1680321 h 6858054"/>
              <a:gd name="connsiteX4803" fmla="*/ 2114361 w 7631184"/>
              <a:gd name="connsiteY4803" fmla="*/ 1690090 h 6858054"/>
              <a:gd name="connsiteX4804" fmla="*/ 2124129 w 7631184"/>
              <a:gd name="connsiteY4804" fmla="*/ 1699859 h 6858054"/>
              <a:gd name="connsiteX4805" fmla="*/ 2143667 w 7631184"/>
              <a:gd name="connsiteY4805" fmla="*/ 1699859 h 6858054"/>
              <a:gd name="connsiteX4806" fmla="*/ 2163204 w 7631184"/>
              <a:gd name="connsiteY4806" fmla="*/ 1699859 h 6858054"/>
              <a:gd name="connsiteX4807" fmla="*/ 2153435 w 7631184"/>
              <a:gd name="connsiteY4807" fmla="*/ 1690090 h 6858054"/>
              <a:gd name="connsiteX4808" fmla="*/ 2202278 w 7631184"/>
              <a:gd name="connsiteY4808" fmla="*/ 1709629 h 6858054"/>
              <a:gd name="connsiteX4809" fmla="*/ 2241353 w 7631184"/>
              <a:gd name="connsiteY4809" fmla="*/ 1719398 h 6858054"/>
              <a:gd name="connsiteX4810" fmla="*/ 2260890 w 7631184"/>
              <a:gd name="connsiteY4810" fmla="*/ 1719398 h 6858054"/>
              <a:gd name="connsiteX4811" fmla="*/ 2280427 w 7631184"/>
              <a:gd name="connsiteY4811" fmla="*/ 1719398 h 6858054"/>
              <a:gd name="connsiteX4812" fmla="*/ 2319502 w 7631184"/>
              <a:gd name="connsiteY4812" fmla="*/ 1729168 h 6858054"/>
              <a:gd name="connsiteX4813" fmla="*/ 2348807 w 7631184"/>
              <a:gd name="connsiteY4813" fmla="*/ 1729168 h 6858054"/>
              <a:gd name="connsiteX4814" fmla="*/ 2348807 w 7631184"/>
              <a:gd name="connsiteY4814" fmla="*/ 1738937 h 6858054"/>
              <a:gd name="connsiteX4815" fmla="*/ 2358576 w 7631184"/>
              <a:gd name="connsiteY4815" fmla="*/ 1738937 h 6858054"/>
              <a:gd name="connsiteX4816" fmla="*/ 2368345 w 7631184"/>
              <a:gd name="connsiteY4816" fmla="*/ 1738937 h 6858054"/>
              <a:gd name="connsiteX4817" fmla="*/ 2387882 w 7631184"/>
              <a:gd name="connsiteY4817" fmla="*/ 1738937 h 6858054"/>
              <a:gd name="connsiteX4818" fmla="*/ 2417188 w 7631184"/>
              <a:gd name="connsiteY4818" fmla="*/ 1738937 h 6858054"/>
              <a:gd name="connsiteX4819" fmla="*/ 2426956 w 7631184"/>
              <a:gd name="connsiteY4819" fmla="*/ 1748706 h 6858054"/>
              <a:gd name="connsiteX4820" fmla="*/ 2436725 w 7631184"/>
              <a:gd name="connsiteY4820" fmla="*/ 1748706 h 6858054"/>
              <a:gd name="connsiteX4821" fmla="*/ 2426956 w 7631184"/>
              <a:gd name="connsiteY4821" fmla="*/ 1738937 h 6858054"/>
              <a:gd name="connsiteX4822" fmla="*/ 2397650 w 7631184"/>
              <a:gd name="connsiteY4822" fmla="*/ 1729168 h 6858054"/>
              <a:gd name="connsiteX4823" fmla="*/ 2387882 w 7631184"/>
              <a:gd name="connsiteY4823" fmla="*/ 1729168 h 6858054"/>
              <a:gd name="connsiteX4824" fmla="*/ 2378113 w 7631184"/>
              <a:gd name="connsiteY4824" fmla="*/ 1729168 h 6858054"/>
              <a:gd name="connsiteX4825" fmla="*/ 2378113 w 7631184"/>
              <a:gd name="connsiteY4825" fmla="*/ 1719398 h 6858054"/>
              <a:gd name="connsiteX4826" fmla="*/ 2358576 w 7631184"/>
              <a:gd name="connsiteY4826" fmla="*/ 1699859 h 6858054"/>
              <a:gd name="connsiteX4827" fmla="*/ 2348807 w 7631184"/>
              <a:gd name="connsiteY4827" fmla="*/ 1690090 h 6858054"/>
              <a:gd name="connsiteX4828" fmla="*/ 2387882 w 7631184"/>
              <a:gd name="connsiteY4828" fmla="*/ 1709629 h 6858054"/>
              <a:gd name="connsiteX4829" fmla="*/ 2407419 w 7631184"/>
              <a:gd name="connsiteY4829" fmla="*/ 1719398 h 6858054"/>
              <a:gd name="connsiteX4830" fmla="*/ 2436725 w 7631184"/>
              <a:gd name="connsiteY4830" fmla="*/ 1729168 h 6858054"/>
              <a:gd name="connsiteX4831" fmla="*/ 2456262 w 7631184"/>
              <a:gd name="connsiteY4831" fmla="*/ 1738937 h 6858054"/>
              <a:gd name="connsiteX4832" fmla="*/ 2466031 w 7631184"/>
              <a:gd name="connsiteY4832" fmla="*/ 1738937 h 6858054"/>
              <a:gd name="connsiteX4833" fmla="*/ 2475799 w 7631184"/>
              <a:gd name="connsiteY4833" fmla="*/ 1748706 h 6858054"/>
              <a:gd name="connsiteX4834" fmla="*/ 2495337 w 7631184"/>
              <a:gd name="connsiteY4834" fmla="*/ 1758475 h 6858054"/>
              <a:gd name="connsiteX4835" fmla="*/ 2505105 w 7631184"/>
              <a:gd name="connsiteY4835" fmla="*/ 1758475 h 6858054"/>
              <a:gd name="connsiteX4836" fmla="*/ 2514874 w 7631184"/>
              <a:gd name="connsiteY4836" fmla="*/ 1758475 h 6858054"/>
              <a:gd name="connsiteX4837" fmla="*/ 2544180 w 7631184"/>
              <a:gd name="connsiteY4837" fmla="*/ 1768245 h 6858054"/>
              <a:gd name="connsiteX4838" fmla="*/ 2514874 w 7631184"/>
              <a:gd name="connsiteY4838" fmla="*/ 1748706 h 6858054"/>
              <a:gd name="connsiteX4839" fmla="*/ 2553948 w 7631184"/>
              <a:gd name="connsiteY4839" fmla="*/ 1748706 h 6858054"/>
              <a:gd name="connsiteX4840" fmla="*/ 2514874 w 7631184"/>
              <a:gd name="connsiteY4840" fmla="*/ 1729168 h 6858054"/>
              <a:gd name="connsiteX4841" fmla="*/ 2524642 w 7631184"/>
              <a:gd name="connsiteY4841" fmla="*/ 1729168 h 6858054"/>
              <a:gd name="connsiteX4842" fmla="*/ 2544180 w 7631184"/>
              <a:gd name="connsiteY4842" fmla="*/ 1738937 h 6858054"/>
              <a:gd name="connsiteX4843" fmla="*/ 2563717 w 7631184"/>
              <a:gd name="connsiteY4843" fmla="*/ 1738937 h 6858054"/>
              <a:gd name="connsiteX4844" fmla="*/ 2593023 w 7631184"/>
              <a:gd name="connsiteY4844" fmla="*/ 1748706 h 6858054"/>
              <a:gd name="connsiteX4845" fmla="*/ 2599128 w 7631184"/>
              <a:gd name="connsiteY4845" fmla="*/ 1748706 h 6858054"/>
              <a:gd name="connsiteX4846" fmla="*/ 2602791 w 7631184"/>
              <a:gd name="connsiteY4846" fmla="*/ 1748706 h 6858054"/>
              <a:gd name="connsiteX4847" fmla="*/ 2618665 w 7631184"/>
              <a:gd name="connsiteY4847" fmla="*/ 1753591 h 6858054"/>
              <a:gd name="connsiteX4848" fmla="*/ 2622214 w 7631184"/>
              <a:gd name="connsiteY4848" fmla="*/ 1754338 h 6858054"/>
              <a:gd name="connsiteX4849" fmla="*/ 2627213 w 7631184"/>
              <a:gd name="connsiteY4849" fmla="*/ 1757254 h 6858054"/>
              <a:gd name="connsiteX4850" fmla="*/ 2641866 w 7631184"/>
              <a:gd name="connsiteY4850" fmla="*/ 1758475 h 6858054"/>
              <a:gd name="connsiteX4851" fmla="*/ 2680940 w 7631184"/>
              <a:gd name="connsiteY4851" fmla="*/ 1768245 h 6858054"/>
              <a:gd name="connsiteX4852" fmla="*/ 2690709 w 7631184"/>
              <a:gd name="connsiteY4852" fmla="*/ 1768245 h 6858054"/>
              <a:gd name="connsiteX4853" fmla="*/ 2710246 w 7631184"/>
              <a:gd name="connsiteY4853" fmla="*/ 1768245 h 6858054"/>
              <a:gd name="connsiteX4854" fmla="*/ 2778626 w 7631184"/>
              <a:gd name="connsiteY4854" fmla="*/ 1787783 h 6858054"/>
              <a:gd name="connsiteX4855" fmla="*/ 2807932 w 7631184"/>
              <a:gd name="connsiteY4855" fmla="*/ 1787783 h 6858054"/>
              <a:gd name="connsiteX4856" fmla="*/ 2720015 w 7631184"/>
              <a:gd name="connsiteY4856" fmla="*/ 1768245 h 6858054"/>
              <a:gd name="connsiteX4857" fmla="*/ 2700477 w 7631184"/>
              <a:gd name="connsiteY4857" fmla="*/ 1758475 h 6858054"/>
              <a:gd name="connsiteX4858" fmla="*/ 2690709 w 7631184"/>
              <a:gd name="connsiteY4858" fmla="*/ 1758475 h 6858054"/>
              <a:gd name="connsiteX4859" fmla="*/ 2680940 w 7631184"/>
              <a:gd name="connsiteY4859" fmla="*/ 1748706 h 6858054"/>
              <a:gd name="connsiteX4860" fmla="*/ 2671172 w 7631184"/>
              <a:gd name="connsiteY4860" fmla="*/ 1738937 h 6858054"/>
              <a:gd name="connsiteX4861" fmla="*/ 2651634 w 7631184"/>
              <a:gd name="connsiteY4861" fmla="*/ 1738937 h 6858054"/>
              <a:gd name="connsiteX4862" fmla="*/ 2641866 w 7631184"/>
              <a:gd name="connsiteY4862" fmla="*/ 1729168 h 6858054"/>
              <a:gd name="connsiteX4863" fmla="*/ 2602791 w 7631184"/>
              <a:gd name="connsiteY4863" fmla="*/ 1719398 h 6858054"/>
              <a:gd name="connsiteX4864" fmla="*/ 2593023 w 7631184"/>
              <a:gd name="connsiteY4864" fmla="*/ 1709629 h 6858054"/>
              <a:gd name="connsiteX4865" fmla="*/ 2632097 w 7631184"/>
              <a:gd name="connsiteY4865" fmla="*/ 1719398 h 6858054"/>
              <a:gd name="connsiteX4866" fmla="*/ 2680940 w 7631184"/>
              <a:gd name="connsiteY4866" fmla="*/ 1738937 h 6858054"/>
              <a:gd name="connsiteX4867" fmla="*/ 2710246 w 7631184"/>
              <a:gd name="connsiteY4867" fmla="*/ 1748706 h 6858054"/>
              <a:gd name="connsiteX4868" fmla="*/ 2729783 w 7631184"/>
              <a:gd name="connsiteY4868" fmla="*/ 1758475 h 6858054"/>
              <a:gd name="connsiteX4869" fmla="*/ 2768858 w 7631184"/>
              <a:gd name="connsiteY4869" fmla="*/ 1768245 h 6858054"/>
              <a:gd name="connsiteX4870" fmla="*/ 2807932 w 7631184"/>
              <a:gd name="connsiteY4870" fmla="*/ 1778014 h 6858054"/>
              <a:gd name="connsiteX4871" fmla="*/ 2866544 w 7631184"/>
              <a:gd name="connsiteY4871" fmla="*/ 1797552 h 6858054"/>
              <a:gd name="connsiteX4872" fmla="*/ 2895850 w 7631184"/>
              <a:gd name="connsiteY4872" fmla="*/ 1807322 h 6858054"/>
              <a:gd name="connsiteX4873" fmla="*/ 2925156 w 7631184"/>
              <a:gd name="connsiteY4873" fmla="*/ 1807322 h 6858054"/>
              <a:gd name="connsiteX4874" fmla="*/ 2934924 w 7631184"/>
              <a:gd name="connsiteY4874" fmla="*/ 1817091 h 6858054"/>
              <a:gd name="connsiteX4875" fmla="*/ 2965451 w 7631184"/>
              <a:gd name="connsiteY4875" fmla="*/ 1821976 h 6858054"/>
              <a:gd name="connsiteX4876" fmla="*/ 2990138 w 7631184"/>
              <a:gd name="connsiteY4876" fmla="*/ 1825162 h 6858054"/>
              <a:gd name="connsiteX4877" fmla="*/ 2993536 w 7631184"/>
              <a:gd name="connsiteY4877" fmla="*/ 1826861 h 6858054"/>
              <a:gd name="connsiteX4878" fmla="*/ 3005066 w 7631184"/>
              <a:gd name="connsiteY4878" fmla="*/ 1827501 h 6858054"/>
              <a:gd name="connsiteX4879" fmla="*/ 3016736 w 7631184"/>
              <a:gd name="connsiteY4879" fmla="*/ 1831745 h 6858054"/>
              <a:gd name="connsiteX4880" fmla="*/ 3022842 w 7631184"/>
              <a:gd name="connsiteY4880" fmla="*/ 1836630 h 6858054"/>
              <a:gd name="connsiteX4881" fmla="*/ 3015515 w 7631184"/>
              <a:gd name="connsiteY4881" fmla="*/ 1828082 h 6858054"/>
              <a:gd name="connsiteX4882" fmla="*/ 3005066 w 7631184"/>
              <a:gd name="connsiteY4882" fmla="*/ 1827501 h 6858054"/>
              <a:gd name="connsiteX4883" fmla="*/ 3003304 w 7631184"/>
              <a:gd name="connsiteY4883" fmla="*/ 1826861 h 6858054"/>
              <a:gd name="connsiteX4884" fmla="*/ 2990138 w 7631184"/>
              <a:gd name="connsiteY4884" fmla="*/ 1825162 h 6858054"/>
              <a:gd name="connsiteX4885" fmla="*/ 2956903 w 7631184"/>
              <a:gd name="connsiteY4885" fmla="*/ 1808543 h 6858054"/>
              <a:gd name="connsiteX4886" fmla="*/ 2934924 w 7631184"/>
              <a:gd name="connsiteY4886" fmla="*/ 1797552 h 6858054"/>
              <a:gd name="connsiteX4887" fmla="*/ 2915387 w 7631184"/>
              <a:gd name="connsiteY4887" fmla="*/ 1797552 h 6858054"/>
              <a:gd name="connsiteX4888" fmla="*/ 2895850 w 7631184"/>
              <a:gd name="connsiteY4888" fmla="*/ 1787783 h 6858054"/>
              <a:gd name="connsiteX4889" fmla="*/ 2895850 w 7631184"/>
              <a:gd name="connsiteY4889" fmla="*/ 1778014 h 6858054"/>
              <a:gd name="connsiteX4890" fmla="*/ 2866544 w 7631184"/>
              <a:gd name="connsiteY4890" fmla="*/ 1768245 h 6858054"/>
              <a:gd name="connsiteX4891" fmla="*/ 2827469 w 7631184"/>
              <a:gd name="connsiteY4891" fmla="*/ 1758475 h 6858054"/>
              <a:gd name="connsiteX4892" fmla="*/ 2788395 w 7631184"/>
              <a:gd name="connsiteY4892" fmla="*/ 1738937 h 6858054"/>
              <a:gd name="connsiteX4893" fmla="*/ 2759089 w 7631184"/>
              <a:gd name="connsiteY4893" fmla="*/ 1729168 h 6858054"/>
              <a:gd name="connsiteX4894" fmla="*/ 2720015 w 7631184"/>
              <a:gd name="connsiteY4894" fmla="*/ 1719398 h 6858054"/>
              <a:gd name="connsiteX4895" fmla="*/ 2690709 w 7631184"/>
              <a:gd name="connsiteY4895" fmla="*/ 1709629 h 6858054"/>
              <a:gd name="connsiteX4896" fmla="*/ 2671172 w 7631184"/>
              <a:gd name="connsiteY4896" fmla="*/ 1699859 h 6858054"/>
              <a:gd name="connsiteX4897" fmla="*/ 2661403 w 7631184"/>
              <a:gd name="connsiteY4897" fmla="*/ 1699859 h 6858054"/>
              <a:gd name="connsiteX4898" fmla="*/ 2622329 w 7631184"/>
              <a:gd name="connsiteY4898" fmla="*/ 1680321 h 6858054"/>
              <a:gd name="connsiteX4899" fmla="*/ 2593023 w 7631184"/>
              <a:gd name="connsiteY4899" fmla="*/ 1670551 h 6858054"/>
              <a:gd name="connsiteX4900" fmla="*/ 2514874 w 7631184"/>
              <a:gd name="connsiteY4900" fmla="*/ 1651013 h 6858054"/>
              <a:gd name="connsiteX4901" fmla="*/ 2426956 w 7631184"/>
              <a:gd name="connsiteY4901" fmla="*/ 1631475 h 6858054"/>
              <a:gd name="connsiteX4902" fmla="*/ 2407419 w 7631184"/>
              <a:gd name="connsiteY4902" fmla="*/ 1631475 h 6858054"/>
              <a:gd name="connsiteX4903" fmla="*/ 2387882 w 7631184"/>
              <a:gd name="connsiteY4903" fmla="*/ 1621705 h 6858054"/>
              <a:gd name="connsiteX4904" fmla="*/ 2397650 w 7631184"/>
              <a:gd name="connsiteY4904" fmla="*/ 1621705 h 6858054"/>
              <a:gd name="connsiteX4905" fmla="*/ 2417188 w 7631184"/>
              <a:gd name="connsiteY4905" fmla="*/ 1621705 h 6858054"/>
              <a:gd name="connsiteX4906" fmla="*/ 2475799 w 7631184"/>
              <a:gd name="connsiteY4906" fmla="*/ 1631475 h 6858054"/>
              <a:gd name="connsiteX4907" fmla="*/ 2534411 w 7631184"/>
              <a:gd name="connsiteY4907" fmla="*/ 1651013 h 6858054"/>
              <a:gd name="connsiteX4908" fmla="*/ 2553948 w 7631184"/>
              <a:gd name="connsiteY4908" fmla="*/ 1660782 h 6858054"/>
              <a:gd name="connsiteX4909" fmla="*/ 2612560 w 7631184"/>
              <a:gd name="connsiteY4909" fmla="*/ 1670551 h 6858054"/>
              <a:gd name="connsiteX4910" fmla="*/ 2632097 w 7631184"/>
              <a:gd name="connsiteY4910" fmla="*/ 1680321 h 6858054"/>
              <a:gd name="connsiteX4911" fmla="*/ 2641866 w 7631184"/>
              <a:gd name="connsiteY4911" fmla="*/ 1670551 h 6858054"/>
              <a:gd name="connsiteX4912" fmla="*/ 2651634 w 7631184"/>
              <a:gd name="connsiteY4912" fmla="*/ 1670551 h 6858054"/>
              <a:gd name="connsiteX4913" fmla="*/ 2661403 w 7631184"/>
              <a:gd name="connsiteY4913" fmla="*/ 1680321 h 6858054"/>
              <a:gd name="connsiteX4914" fmla="*/ 2680940 w 7631184"/>
              <a:gd name="connsiteY4914" fmla="*/ 1690090 h 6858054"/>
              <a:gd name="connsiteX4915" fmla="*/ 2690709 w 7631184"/>
              <a:gd name="connsiteY4915" fmla="*/ 1690090 h 6858054"/>
              <a:gd name="connsiteX4916" fmla="*/ 2720015 w 7631184"/>
              <a:gd name="connsiteY4916" fmla="*/ 1699859 h 6858054"/>
              <a:gd name="connsiteX4917" fmla="*/ 2739552 w 7631184"/>
              <a:gd name="connsiteY4917" fmla="*/ 1709629 h 6858054"/>
              <a:gd name="connsiteX4918" fmla="*/ 2759089 w 7631184"/>
              <a:gd name="connsiteY4918" fmla="*/ 1719398 h 6858054"/>
              <a:gd name="connsiteX4919" fmla="*/ 2778626 w 7631184"/>
              <a:gd name="connsiteY4919" fmla="*/ 1729168 h 6858054"/>
              <a:gd name="connsiteX4920" fmla="*/ 2807932 w 7631184"/>
              <a:gd name="connsiteY4920" fmla="*/ 1738937 h 6858054"/>
              <a:gd name="connsiteX4921" fmla="*/ 2847007 w 7631184"/>
              <a:gd name="connsiteY4921" fmla="*/ 1748706 h 6858054"/>
              <a:gd name="connsiteX4922" fmla="*/ 2866544 w 7631184"/>
              <a:gd name="connsiteY4922" fmla="*/ 1758475 h 6858054"/>
              <a:gd name="connsiteX4923" fmla="*/ 2886081 w 7631184"/>
              <a:gd name="connsiteY4923" fmla="*/ 1768245 h 6858054"/>
              <a:gd name="connsiteX4924" fmla="*/ 2905618 w 7631184"/>
              <a:gd name="connsiteY4924" fmla="*/ 1778014 h 6858054"/>
              <a:gd name="connsiteX4925" fmla="*/ 2925156 w 7631184"/>
              <a:gd name="connsiteY4925" fmla="*/ 1778014 h 6858054"/>
              <a:gd name="connsiteX4926" fmla="*/ 2886081 w 7631184"/>
              <a:gd name="connsiteY4926" fmla="*/ 1758475 h 6858054"/>
              <a:gd name="connsiteX4927" fmla="*/ 2905618 w 7631184"/>
              <a:gd name="connsiteY4927" fmla="*/ 1768245 h 6858054"/>
              <a:gd name="connsiteX4928" fmla="*/ 2964230 w 7631184"/>
              <a:gd name="connsiteY4928" fmla="*/ 1787783 h 6858054"/>
              <a:gd name="connsiteX4929" fmla="*/ 2983767 w 7631184"/>
              <a:gd name="connsiteY4929" fmla="*/ 1797552 h 6858054"/>
              <a:gd name="connsiteX4930" fmla="*/ 3003304 w 7631184"/>
              <a:gd name="connsiteY4930" fmla="*/ 1797552 h 6858054"/>
              <a:gd name="connsiteX4931" fmla="*/ 3003304 w 7631184"/>
              <a:gd name="connsiteY4931" fmla="*/ 1807322 h 6858054"/>
              <a:gd name="connsiteX4932" fmla="*/ 3022842 w 7631184"/>
              <a:gd name="connsiteY4932" fmla="*/ 1817091 h 6858054"/>
              <a:gd name="connsiteX4933" fmla="*/ 3042379 w 7631184"/>
              <a:gd name="connsiteY4933" fmla="*/ 1817091 h 6858054"/>
              <a:gd name="connsiteX4934" fmla="*/ 3052147 w 7631184"/>
              <a:gd name="connsiteY4934" fmla="*/ 1817091 h 6858054"/>
              <a:gd name="connsiteX4935" fmla="*/ 3052147 w 7631184"/>
              <a:gd name="connsiteY4935" fmla="*/ 1807322 h 6858054"/>
              <a:gd name="connsiteX4936" fmla="*/ 3100991 w 7631184"/>
              <a:gd name="connsiteY4936" fmla="*/ 1826861 h 6858054"/>
              <a:gd name="connsiteX4937" fmla="*/ 3130296 w 7631184"/>
              <a:gd name="connsiteY4937" fmla="*/ 1836630 h 6858054"/>
              <a:gd name="connsiteX4938" fmla="*/ 3149834 w 7631184"/>
              <a:gd name="connsiteY4938" fmla="*/ 1846399 h 6858054"/>
              <a:gd name="connsiteX4939" fmla="*/ 3140065 w 7631184"/>
              <a:gd name="connsiteY4939" fmla="*/ 1846399 h 6858054"/>
              <a:gd name="connsiteX4940" fmla="*/ 3149834 w 7631184"/>
              <a:gd name="connsiteY4940" fmla="*/ 1856168 h 6858054"/>
              <a:gd name="connsiteX4941" fmla="*/ 3208445 w 7631184"/>
              <a:gd name="connsiteY4941" fmla="*/ 1885476 h 6858054"/>
              <a:gd name="connsiteX4942" fmla="*/ 3227982 w 7631184"/>
              <a:gd name="connsiteY4942" fmla="*/ 1885476 h 6858054"/>
              <a:gd name="connsiteX4943" fmla="*/ 3276826 w 7631184"/>
              <a:gd name="connsiteY4943" fmla="*/ 1905015 h 6858054"/>
              <a:gd name="connsiteX4944" fmla="*/ 3296363 w 7631184"/>
              <a:gd name="connsiteY4944" fmla="*/ 1905015 h 6858054"/>
              <a:gd name="connsiteX4945" fmla="*/ 3306131 w 7631184"/>
              <a:gd name="connsiteY4945" fmla="*/ 1914784 h 6858054"/>
              <a:gd name="connsiteX4946" fmla="*/ 3315900 w 7631184"/>
              <a:gd name="connsiteY4946" fmla="*/ 1914784 h 6858054"/>
              <a:gd name="connsiteX4947" fmla="*/ 3325669 w 7631184"/>
              <a:gd name="connsiteY4947" fmla="*/ 1914784 h 6858054"/>
              <a:gd name="connsiteX4948" fmla="*/ 3335437 w 7631184"/>
              <a:gd name="connsiteY4948" fmla="*/ 1924554 h 6858054"/>
              <a:gd name="connsiteX4949" fmla="*/ 3345206 w 7631184"/>
              <a:gd name="connsiteY4949" fmla="*/ 1924554 h 6858054"/>
              <a:gd name="connsiteX4950" fmla="*/ 3384280 w 7631184"/>
              <a:gd name="connsiteY4950" fmla="*/ 1944092 h 6858054"/>
              <a:gd name="connsiteX4951" fmla="*/ 3413586 w 7631184"/>
              <a:gd name="connsiteY4951" fmla="*/ 1953861 h 6858054"/>
              <a:gd name="connsiteX4952" fmla="*/ 3442892 w 7631184"/>
              <a:gd name="connsiteY4952" fmla="*/ 1963631 h 6858054"/>
              <a:gd name="connsiteX4953" fmla="*/ 3491735 w 7631184"/>
              <a:gd name="connsiteY4953" fmla="*/ 1983169 h 6858054"/>
              <a:gd name="connsiteX4954" fmla="*/ 3589421 w 7631184"/>
              <a:gd name="connsiteY4954" fmla="*/ 2032016 h 6858054"/>
              <a:gd name="connsiteX4955" fmla="*/ 3628496 w 7631184"/>
              <a:gd name="connsiteY4955" fmla="*/ 2051554 h 6858054"/>
              <a:gd name="connsiteX4956" fmla="*/ 3638264 w 7631184"/>
              <a:gd name="connsiteY4956" fmla="*/ 2051554 h 6858054"/>
              <a:gd name="connsiteX4957" fmla="*/ 3648033 w 7631184"/>
              <a:gd name="connsiteY4957" fmla="*/ 2051554 h 6858054"/>
              <a:gd name="connsiteX4958" fmla="*/ 3677339 w 7631184"/>
              <a:gd name="connsiteY4958" fmla="*/ 2061324 h 6858054"/>
              <a:gd name="connsiteX4959" fmla="*/ 3706644 w 7631184"/>
              <a:gd name="connsiteY4959" fmla="*/ 2071093 h 6858054"/>
              <a:gd name="connsiteX4960" fmla="*/ 3735950 w 7631184"/>
              <a:gd name="connsiteY4960" fmla="*/ 2080862 h 6858054"/>
              <a:gd name="connsiteX4961" fmla="*/ 3775025 w 7631184"/>
              <a:gd name="connsiteY4961" fmla="*/ 2090632 h 6858054"/>
              <a:gd name="connsiteX4962" fmla="*/ 3853174 w 7631184"/>
              <a:gd name="connsiteY4962" fmla="*/ 2119940 h 6858054"/>
              <a:gd name="connsiteX4963" fmla="*/ 3882479 w 7631184"/>
              <a:gd name="connsiteY4963" fmla="*/ 2129709 h 6858054"/>
              <a:gd name="connsiteX4964" fmla="*/ 3892248 w 7631184"/>
              <a:gd name="connsiteY4964" fmla="*/ 2129709 h 6858054"/>
              <a:gd name="connsiteX4965" fmla="*/ 3904459 w 7631184"/>
              <a:gd name="connsiteY4965" fmla="*/ 2134594 h 6858054"/>
              <a:gd name="connsiteX4966" fmla="*/ 3924607 w 7631184"/>
              <a:gd name="connsiteY4966" fmla="*/ 2138257 h 6858054"/>
              <a:gd name="connsiteX4967" fmla="*/ 3941091 w 7631184"/>
              <a:gd name="connsiteY4967" fmla="*/ 2149248 h 6858054"/>
              <a:gd name="connsiteX4968" fmla="*/ 3931322 w 7631184"/>
              <a:gd name="connsiteY4968" fmla="*/ 2139479 h 6858054"/>
              <a:gd name="connsiteX4969" fmla="*/ 3924607 w 7631184"/>
              <a:gd name="connsiteY4969" fmla="*/ 2138257 h 6858054"/>
              <a:gd name="connsiteX4970" fmla="*/ 3924149 w 7631184"/>
              <a:gd name="connsiteY4970" fmla="*/ 2137952 h 6858054"/>
              <a:gd name="connsiteX4971" fmla="*/ 3911785 w 7631184"/>
              <a:gd name="connsiteY4971" fmla="*/ 2129709 h 6858054"/>
              <a:gd name="connsiteX4972" fmla="*/ 3853174 w 7631184"/>
              <a:gd name="connsiteY4972" fmla="*/ 2110170 h 6858054"/>
              <a:gd name="connsiteX4973" fmla="*/ 3814099 w 7631184"/>
              <a:gd name="connsiteY4973" fmla="*/ 2090632 h 6858054"/>
              <a:gd name="connsiteX4974" fmla="*/ 3765256 w 7631184"/>
              <a:gd name="connsiteY4974" fmla="*/ 2071093 h 6858054"/>
              <a:gd name="connsiteX4975" fmla="*/ 3726182 w 7631184"/>
              <a:gd name="connsiteY4975" fmla="*/ 2051554 h 6858054"/>
              <a:gd name="connsiteX4976" fmla="*/ 3696876 w 7631184"/>
              <a:gd name="connsiteY4976" fmla="*/ 2041785 h 6858054"/>
              <a:gd name="connsiteX4977" fmla="*/ 3657801 w 7631184"/>
              <a:gd name="connsiteY4977" fmla="*/ 2032016 h 6858054"/>
              <a:gd name="connsiteX4978" fmla="*/ 3640706 w 7631184"/>
              <a:gd name="connsiteY4978" fmla="*/ 2022247 h 6858054"/>
              <a:gd name="connsiteX4979" fmla="*/ 3618250 w 7631184"/>
              <a:gd name="connsiteY4979" fmla="*/ 2015337 h 6858054"/>
              <a:gd name="connsiteX4980" fmla="*/ 3618727 w 7631184"/>
              <a:gd name="connsiteY4980" fmla="*/ 2012477 h 6858054"/>
              <a:gd name="connsiteX4981" fmla="*/ 3608958 w 7631184"/>
              <a:gd name="connsiteY4981" fmla="*/ 2012477 h 6858054"/>
              <a:gd name="connsiteX4982" fmla="*/ 3599190 w 7631184"/>
              <a:gd name="connsiteY4982" fmla="*/ 2012477 h 6858054"/>
              <a:gd name="connsiteX4983" fmla="*/ 3579652 w 7631184"/>
              <a:gd name="connsiteY4983" fmla="*/ 2002708 h 6858054"/>
              <a:gd name="connsiteX4984" fmla="*/ 3569884 w 7631184"/>
              <a:gd name="connsiteY4984" fmla="*/ 1992939 h 6858054"/>
              <a:gd name="connsiteX4985" fmla="*/ 3550347 w 7631184"/>
              <a:gd name="connsiteY4985" fmla="*/ 1983169 h 6858054"/>
              <a:gd name="connsiteX4986" fmla="*/ 3521041 w 7631184"/>
              <a:gd name="connsiteY4986" fmla="*/ 1973400 h 6858054"/>
              <a:gd name="connsiteX4987" fmla="*/ 3511272 w 7631184"/>
              <a:gd name="connsiteY4987" fmla="*/ 1983169 h 6858054"/>
              <a:gd name="connsiteX4988" fmla="*/ 3511272 w 7631184"/>
              <a:gd name="connsiteY4988" fmla="*/ 1973400 h 6858054"/>
              <a:gd name="connsiteX4989" fmla="*/ 3481966 w 7631184"/>
              <a:gd name="connsiteY4989" fmla="*/ 1963631 h 6858054"/>
              <a:gd name="connsiteX4990" fmla="*/ 3433123 w 7631184"/>
              <a:gd name="connsiteY4990" fmla="*/ 1953861 h 6858054"/>
              <a:gd name="connsiteX4991" fmla="*/ 3384280 w 7631184"/>
              <a:gd name="connsiteY4991" fmla="*/ 1934323 h 6858054"/>
              <a:gd name="connsiteX4992" fmla="*/ 3345206 w 7631184"/>
              <a:gd name="connsiteY4992" fmla="*/ 1914784 h 6858054"/>
              <a:gd name="connsiteX4993" fmla="*/ 3384280 w 7631184"/>
              <a:gd name="connsiteY4993" fmla="*/ 1924554 h 6858054"/>
              <a:gd name="connsiteX4994" fmla="*/ 3433123 w 7631184"/>
              <a:gd name="connsiteY4994" fmla="*/ 1944092 h 6858054"/>
              <a:gd name="connsiteX4995" fmla="*/ 3540578 w 7631184"/>
              <a:gd name="connsiteY4995" fmla="*/ 1973400 h 6858054"/>
              <a:gd name="connsiteX4996" fmla="*/ 3561994 w 7631184"/>
              <a:gd name="connsiteY4996" fmla="*/ 1977909 h 6858054"/>
              <a:gd name="connsiteX4997" fmla="*/ 3569884 w 7631184"/>
              <a:gd name="connsiteY4997" fmla="*/ 1983169 h 6858054"/>
              <a:gd name="connsiteX4998" fmla="*/ 3579652 w 7631184"/>
              <a:gd name="connsiteY4998" fmla="*/ 1983169 h 6858054"/>
              <a:gd name="connsiteX4999" fmla="*/ 3563779 w 7631184"/>
              <a:gd name="connsiteY4999" fmla="*/ 1978285 h 6858054"/>
              <a:gd name="connsiteX5000" fmla="*/ 3561994 w 7631184"/>
              <a:gd name="connsiteY5000" fmla="*/ 1977909 h 6858054"/>
              <a:gd name="connsiteX5001" fmla="*/ 3547905 w 7631184"/>
              <a:gd name="connsiteY5001" fmla="*/ 1968516 h 6858054"/>
              <a:gd name="connsiteX5002" fmla="*/ 3511272 w 7631184"/>
              <a:gd name="connsiteY5002" fmla="*/ 1953861 h 6858054"/>
              <a:gd name="connsiteX5003" fmla="*/ 3433123 w 7631184"/>
              <a:gd name="connsiteY5003" fmla="*/ 1924554 h 6858054"/>
              <a:gd name="connsiteX5004" fmla="*/ 3413586 w 7631184"/>
              <a:gd name="connsiteY5004" fmla="*/ 1914784 h 6858054"/>
              <a:gd name="connsiteX5005" fmla="*/ 3394049 w 7631184"/>
              <a:gd name="connsiteY5005" fmla="*/ 1914784 h 6858054"/>
              <a:gd name="connsiteX5006" fmla="*/ 3384280 w 7631184"/>
              <a:gd name="connsiteY5006" fmla="*/ 1905015 h 6858054"/>
              <a:gd name="connsiteX5007" fmla="*/ 3345206 w 7631184"/>
              <a:gd name="connsiteY5007" fmla="*/ 1895246 h 6858054"/>
              <a:gd name="connsiteX5008" fmla="*/ 3296363 w 7631184"/>
              <a:gd name="connsiteY5008" fmla="*/ 1875707 h 6858054"/>
              <a:gd name="connsiteX5009" fmla="*/ 3247520 w 7631184"/>
              <a:gd name="connsiteY5009" fmla="*/ 1846399 h 6858054"/>
              <a:gd name="connsiteX5010" fmla="*/ 3208445 w 7631184"/>
              <a:gd name="connsiteY5010" fmla="*/ 1836630 h 6858054"/>
              <a:gd name="connsiteX5011" fmla="*/ 3188908 w 7631184"/>
              <a:gd name="connsiteY5011" fmla="*/ 1826861 h 6858054"/>
              <a:gd name="connsiteX5012" fmla="*/ 3140065 w 7631184"/>
              <a:gd name="connsiteY5012" fmla="*/ 1807322 h 6858054"/>
              <a:gd name="connsiteX5013" fmla="*/ 3120528 w 7631184"/>
              <a:gd name="connsiteY5013" fmla="*/ 1797552 h 6858054"/>
              <a:gd name="connsiteX5014" fmla="*/ 3130296 w 7631184"/>
              <a:gd name="connsiteY5014" fmla="*/ 1797552 h 6858054"/>
              <a:gd name="connsiteX5015" fmla="*/ 3140065 w 7631184"/>
              <a:gd name="connsiteY5015" fmla="*/ 1797552 h 6858054"/>
              <a:gd name="connsiteX5016" fmla="*/ 3152132 w 7631184"/>
              <a:gd name="connsiteY5016" fmla="*/ 1801575 h 6858054"/>
              <a:gd name="connsiteX5017" fmla="*/ 3154718 w 7631184"/>
              <a:gd name="connsiteY5017" fmla="*/ 1806101 h 6858054"/>
              <a:gd name="connsiteX5018" fmla="*/ 3159602 w 7631184"/>
              <a:gd name="connsiteY5018" fmla="*/ 1807322 h 6858054"/>
              <a:gd name="connsiteX5019" fmla="*/ 3165708 w 7631184"/>
              <a:gd name="connsiteY5019" fmla="*/ 1807322 h 6858054"/>
              <a:gd name="connsiteX5020" fmla="*/ 3169371 w 7631184"/>
              <a:gd name="connsiteY5020" fmla="*/ 1807322 h 6858054"/>
              <a:gd name="connsiteX5021" fmla="*/ 3179139 w 7631184"/>
              <a:gd name="connsiteY5021" fmla="*/ 1807322 h 6858054"/>
              <a:gd name="connsiteX5022" fmla="*/ 3169371 w 7631184"/>
              <a:gd name="connsiteY5022" fmla="*/ 1807322 h 6858054"/>
              <a:gd name="connsiteX5023" fmla="*/ 3154718 w 7631184"/>
              <a:gd name="connsiteY5023" fmla="*/ 1802437 h 6858054"/>
              <a:gd name="connsiteX5024" fmla="*/ 3152132 w 7631184"/>
              <a:gd name="connsiteY5024" fmla="*/ 1801575 h 6858054"/>
              <a:gd name="connsiteX5025" fmla="*/ 3149834 w 7631184"/>
              <a:gd name="connsiteY5025" fmla="*/ 1797552 h 6858054"/>
              <a:gd name="connsiteX5026" fmla="*/ 3140065 w 7631184"/>
              <a:gd name="connsiteY5026" fmla="*/ 1797552 h 6858054"/>
              <a:gd name="connsiteX5027" fmla="*/ 3120528 w 7631184"/>
              <a:gd name="connsiteY5027" fmla="*/ 1787783 h 6858054"/>
              <a:gd name="connsiteX5028" fmla="*/ 3100991 w 7631184"/>
              <a:gd name="connsiteY5028" fmla="*/ 1787783 h 6858054"/>
              <a:gd name="connsiteX5029" fmla="*/ 3022842 w 7631184"/>
              <a:gd name="connsiteY5029" fmla="*/ 1758475 h 6858054"/>
              <a:gd name="connsiteX5030" fmla="*/ 3003304 w 7631184"/>
              <a:gd name="connsiteY5030" fmla="*/ 1748706 h 6858054"/>
              <a:gd name="connsiteX5031" fmla="*/ 2973999 w 7631184"/>
              <a:gd name="connsiteY5031" fmla="*/ 1738937 h 6858054"/>
              <a:gd name="connsiteX5032" fmla="*/ 2954461 w 7631184"/>
              <a:gd name="connsiteY5032" fmla="*/ 1738937 h 6858054"/>
              <a:gd name="connsiteX5033" fmla="*/ 2895850 w 7631184"/>
              <a:gd name="connsiteY5033" fmla="*/ 1719398 h 6858054"/>
              <a:gd name="connsiteX5034" fmla="*/ 2876312 w 7631184"/>
              <a:gd name="connsiteY5034" fmla="*/ 1719398 h 6858054"/>
              <a:gd name="connsiteX5035" fmla="*/ 2847007 w 7631184"/>
              <a:gd name="connsiteY5035" fmla="*/ 1709629 h 6858054"/>
              <a:gd name="connsiteX5036" fmla="*/ 2837238 w 7631184"/>
              <a:gd name="connsiteY5036" fmla="*/ 1699859 h 6858054"/>
              <a:gd name="connsiteX5037" fmla="*/ 2798164 w 7631184"/>
              <a:gd name="connsiteY5037" fmla="*/ 1690090 h 6858054"/>
              <a:gd name="connsiteX5038" fmla="*/ 2778626 w 7631184"/>
              <a:gd name="connsiteY5038" fmla="*/ 1680321 h 6858054"/>
              <a:gd name="connsiteX5039" fmla="*/ 2759089 w 7631184"/>
              <a:gd name="connsiteY5039" fmla="*/ 1680321 h 6858054"/>
              <a:gd name="connsiteX5040" fmla="*/ 2651634 w 7631184"/>
              <a:gd name="connsiteY5040" fmla="*/ 1641244 h 6858054"/>
              <a:gd name="connsiteX5041" fmla="*/ 2612560 w 7631184"/>
              <a:gd name="connsiteY5041" fmla="*/ 1631475 h 6858054"/>
              <a:gd name="connsiteX5042" fmla="*/ 2563717 w 7631184"/>
              <a:gd name="connsiteY5042" fmla="*/ 1611936 h 6858054"/>
              <a:gd name="connsiteX5043" fmla="*/ 2534411 w 7631184"/>
              <a:gd name="connsiteY5043" fmla="*/ 1602166 h 6858054"/>
              <a:gd name="connsiteX5044" fmla="*/ 2544180 w 7631184"/>
              <a:gd name="connsiteY5044" fmla="*/ 1602166 h 6858054"/>
              <a:gd name="connsiteX5045" fmla="*/ 2553948 w 7631184"/>
              <a:gd name="connsiteY5045" fmla="*/ 1602166 h 6858054"/>
              <a:gd name="connsiteX5046" fmla="*/ 2573485 w 7631184"/>
              <a:gd name="connsiteY5046" fmla="*/ 1611936 h 6858054"/>
              <a:gd name="connsiteX5047" fmla="*/ 2593023 w 7631184"/>
              <a:gd name="connsiteY5047" fmla="*/ 1611936 h 6858054"/>
              <a:gd name="connsiteX5048" fmla="*/ 2602791 w 7631184"/>
              <a:gd name="connsiteY5048" fmla="*/ 1611936 h 6858054"/>
              <a:gd name="connsiteX5049" fmla="*/ 2602791 w 7631184"/>
              <a:gd name="connsiteY5049" fmla="*/ 1621705 h 6858054"/>
              <a:gd name="connsiteX5050" fmla="*/ 2671172 w 7631184"/>
              <a:gd name="connsiteY5050" fmla="*/ 1641244 h 6858054"/>
              <a:gd name="connsiteX5051" fmla="*/ 2680940 w 7631184"/>
              <a:gd name="connsiteY5051" fmla="*/ 1631475 h 6858054"/>
              <a:gd name="connsiteX5052" fmla="*/ 2690709 w 7631184"/>
              <a:gd name="connsiteY5052" fmla="*/ 1641244 h 6858054"/>
              <a:gd name="connsiteX5053" fmla="*/ 2710246 w 7631184"/>
              <a:gd name="connsiteY5053" fmla="*/ 1651013 h 6858054"/>
              <a:gd name="connsiteX5054" fmla="*/ 2759089 w 7631184"/>
              <a:gd name="connsiteY5054" fmla="*/ 1660782 h 6858054"/>
              <a:gd name="connsiteX5055" fmla="*/ 2788395 w 7631184"/>
              <a:gd name="connsiteY5055" fmla="*/ 1680321 h 6858054"/>
              <a:gd name="connsiteX5056" fmla="*/ 2807932 w 7631184"/>
              <a:gd name="connsiteY5056" fmla="*/ 1680321 h 6858054"/>
              <a:gd name="connsiteX5057" fmla="*/ 2847007 w 7631184"/>
              <a:gd name="connsiteY5057" fmla="*/ 1690090 h 6858054"/>
              <a:gd name="connsiteX5058" fmla="*/ 2886081 w 7631184"/>
              <a:gd name="connsiteY5058" fmla="*/ 1699859 h 6858054"/>
              <a:gd name="connsiteX5059" fmla="*/ 2925156 w 7631184"/>
              <a:gd name="connsiteY5059" fmla="*/ 1709629 h 6858054"/>
              <a:gd name="connsiteX5060" fmla="*/ 3042379 w 7631184"/>
              <a:gd name="connsiteY5060" fmla="*/ 1748706 h 6858054"/>
              <a:gd name="connsiteX5061" fmla="*/ 3100991 w 7631184"/>
              <a:gd name="connsiteY5061" fmla="*/ 1768245 h 6858054"/>
              <a:gd name="connsiteX5062" fmla="*/ 3159602 w 7631184"/>
              <a:gd name="connsiteY5062" fmla="*/ 1787783 h 6858054"/>
              <a:gd name="connsiteX5063" fmla="*/ 3179139 w 7631184"/>
              <a:gd name="connsiteY5063" fmla="*/ 1797552 h 6858054"/>
              <a:gd name="connsiteX5064" fmla="*/ 3198677 w 7631184"/>
              <a:gd name="connsiteY5064" fmla="*/ 1807322 h 6858054"/>
              <a:gd name="connsiteX5065" fmla="*/ 3227982 w 7631184"/>
              <a:gd name="connsiteY5065" fmla="*/ 1817091 h 6858054"/>
              <a:gd name="connsiteX5066" fmla="*/ 3286594 w 7631184"/>
              <a:gd name="connsiteY5066" fmla="*/ 1836630 h 6858054"/>
              <a:gd name="connsiteX5067" fmla="*/ 3315900 w 7631184"/>
              <a:gd name="connsiteY5067" fmla="*/ 1856168 h 6858054"/>
              <a:gd name="connsiteX5068" fmla="*/ 3354974 w 7631184"/>
              <a:gd name="connsiteY5068" fmla="*/ 1865938 h 6858054"/>
              <a:gd name="connsiteX5069" fmla="*/ 3374512 w 7631184"/>
              <a:gd name="connsiteY5069" fmla="*/ 1875707 h 6858054"/>
              <a:gd name="connsiteX5070" fmla="*/ 3384280 w 7631184"/>
              <a:gd name="connsiteY5070" fmla="*/ 1875707 h 6858054"/>
              <a:gd name="connsiteX5071" fmla="*/ 3472198 w 7631184"/>
              <a:gd name="connsiteY5071" fmla="*/ 1914784 h 6858054"/>
              <a:gd name="connsiteX5072" fmla="*/ 3501504 w 7631184"/>
              <a:gd name="connsiteY5072" fmla="*/ 1924554 h 6858054"/>
              <a:gd name="connsiteX5073" fmla="*/ 3530809 w 7631184"/>
              <a:gd name="connsiteY5073" fmla="*/ 1944092 h 6858054"/>
              <a:gd name="connsiteX5074" fmla="*/ 3560115 w 7631184"/>
              <a:gd name="connsiteY5074" fmla="*/ 1953861 h 6858054"/>
              <a:gd name="connsiteX5075" fmla="*/ 3608958 w 7631184"/>
              <a:gd name="connsiteY5075" fmla="*/ 1973400 h 6858054"/>
              <a:gd name="connsiteX5076" fmla="*/ 3638264 w 7631184"/>
              <a:gd name="connsiteY5076" fmla="*/ 1992939 h 6858054"/>
              <a:gd name="connsiteX5077" fmla="*/ 3687107 w 7631184"/>
              <a:gd name="connsiteY5077" fmla="*/ 2012477 h 6858054"/>
              <a:gd name="connsiteX5078" fmla="*/ 3735950 w 7631184"/>
              <a:gd name="connsiteY5078" fmla="*/ 2032016 h 6858054"/>
              <a:gd name="connsiteX5079" fmla="*/ 3755487 w 7631184"/>
              <a:gd name="connsiteY5079" fmla="*/ 2041785 h 6858054"/>
              <a:gd name="connsiteX5080" fmla="*/ 3794562 w 7631184"/>
              <a:gd name="connsiteY5080" fmla="*/ 2051554 h 6858054"/>
              <a:gd name="connsiteX5081" fmla="*/ 3833636 w 7631184"/>
              <a:gd name="connsiteY5081" fmla="*/ 2061324 h 6858054"/>
              <a:gd name="connsiteX5082" fmla="*/ 3882479 w 7631184"/>
              <a:gd name="connsiteY5082" fmla="*/ 2080862 h 6858054"/>
              <a:gd name="connsiteX5083" fmla="*/ 3921554 w 7631184"/>
              <a:gd name="connsiteY5083" fmla="*/ 2090632 h 6858054"/>
              <a:gd name="connsiteX5084" fmla="*/ 3960628 w 7631184"/>
              <a:gd name="connsiteY5084" fmla="*/ 2110170 h 6858054"/>
              <a:gd name="connsiteX5085" fmla="*/ 3950860 w 7631184"/>
              <a:gd name="connsiteY5085" fmla="*/ 2100401 h 6858054"/>
              <a:gd name="connsiteX5086" fmla="*/ 3882479 w 7631184"/>
              <a:gd name="connsiteY5086" fmla="*/ 2071093 h 6858054"/>
              <a:gd name="connsiteX5087" fmla="*/ 3853174 w 7631184"/>
              <a:gd name="connsiteY5087" fmla="*/ 2061324 h 6858054"/>
              <a:gd name="connsiteX5088" fmla="*/ 3823868 w 7631184"/>
              <a:gd name="connsiteY5088" fmla="*/ 2041785 h 6858054"/>
              <a:gd name="connsiteX5089" fmla="*/ 3814099 w 7631184"/>
              <a:gd name="connsiteY5089" fmla="*/ 2041785 h 6858054"/>
              <a:gd name="connsiteX5090" fmla="*/ 3784793 w 7631184"/>
              <a:gd name="connsiteY5090" fmla="*/ 2022247 h 6858054"/>
              <a:gd name="connsiteX5091" fmla="*/ 3687107 w 7631184"/>
              <a:gd name="connsiteY5091" fmla="*/ 1983169 h 6858054"/>
              <a:gd name="connsiteX5092" fmla="*/ 3667570 w 7631184"/>
              <a:gd name="connsiteY5092" fmla="*/ 1973400 h 6858054"/>
              <a:gd name="connsiteX5093" fmla="*/ 3628496 w 7631184"/>
              <a:gd name="connsiteY5093" fmla="*/ 1953861 h 6858054"/>
              <a:gd name="connsiteX5094" fmla="*/ 3589421 w 7631184"/>
              <a:gd name="connsiteY5094" fmla="*/ 1944092 h 6858054"/>
              <a:gd name="connsiteX5095" fmla="*/ 3540578 w 7631184"/>
              <a:gd name="connsiteY5095" fmla="*/ 1924554 h 6858054"/>
              <a:gd name="connsiteX5096" fmla="*/ 3521041 w 7631184"/>
              <a:gd name="connsiteY5096" fmla="*/ 1914784 h 6858054"/>
              <a:gd name="connsiteX5097" fmla="*/ 3501504 w 7631184"/>
              <a:gd name="connsiteY5097" fmla="*/ 1905015 h 6858054"/>
              <a:gd name="connsiteX5098" fmla="*/ 3472198 w 7631184"/>
              <a:gd name="connsiteY5098" fmla="*/ 1885476 h 6858054"/>
              <a:gd name="connsiteX5099" fmla="*/ 3452661 w 7631184"/>
              <a:gd name="connsiteY5099" fmla="*/ 1885476 h 6858054"/>
              <a:gd name="connsiteX5100" fmla="*/ 3433123 w 7631184"/>
              <a:gd name="connsiteY5100" fmla="*/ 1875707 h 6858054"/>
              <a:gd name="connsiteX5101" fmla="*/ 3374512 w 7631184"/>
              <a:gd name="connsiteY5101" fmla="*/ 1856168 h 6858054"/>
              <a:gd name="connsiteX5102" fmla="*/ 3335437 w 7631184"/>
              <a:gd name="connsiteY5102" fmla="*/ 1846399 h 6858054"/>
              <a:gd name="connsiteX5103" fmla="*/ 3306131 w 7631184"/>
              <a:gd name="connsiteY5103" fmla="*/ 1826861 h 6858054"/>
              <a:gd name="connsiteX5104" fmla="*/ 3237751 w 7631184"/>
              <a:gd name="connsiteY5104" fmla="*/ 1807322 h 6858054"/>
              <a:gd name="connsiteX5105" fmla="*/ 3169371 w 7631184"/>
              <a:gd name="connsiteY5105" fmla="*/ 1778014 h 6858054"/>
              <a:gd name="connsiteX5106" fmla="*/ 3140065 w 7631184"/>
              <a:gd name="connsiteY5106" fmla="*/ 1778014 h 6858054"/>
              <a:gd name="connsiteX5107" fmla="*/ 3100991 w 7631184"/>
              <a:gd name="connsiteY5107" fmla="*/ 1758475 h 6858054"/>
              <a:gd name="connsiteX5108" fmla="*/ 3091222 w 7631184"/>
              <a:gd name="connsiteY5108" fmla="*/ 1758475 h 6858054"/>
              <a:gd name="connsiteX5109" fmla="*/ 3081453 w 7631184"/>
              <a:gd name="connsiteY5109" fmla="*/ 1748706 h 6858054"/>
              <a:gd name="connsiteX5110" fmla="*/ 3061916 w 7631184"/>
              <a:gd name="connsiteY5110" fmla="*/ 1748706 h 6858054"/>
              <a:gd name="connsiteX5111" fmla="*/ 3052147 w 7631184"/>
              <a:gd name="connsiteY5111" fmla="*/ 1738937 h 6858054"/>
              <a:gd name="connsiteX5112" fmla="*/ 3013073 w 7631184"/>
              <a:gd name="connsiteY5112" fmla="*/ 1729168 h 6858054"/>
              <a:gd name="connsiteX5113" fmla="*/ 3003304 w 7631184"/>
              <a:gd name="connsiteY5113" fmla="*/ 1729168 h 6858054"/>
              <a:gd name="connsiteX5114" fmla="*/ 2983767 w 7631184"/>
              <a:gd name="connsiteY5114" fmla="*/ 1719398 h 6858054"/>
              <a:gd name="connsiteX5115" fmla="*/ 2876312 w 7631184"/>
              <a:gd name="connsiteY5115" fmla="*/ 1680321 h 6858054"/>
              <a:gd name="connsiteX5116" fmla="*/ 2866544 w 7631184"/>
              <a:gd name="connsiteY5116" fmla="*/ 1680321 h 6858054"/>
              <a:gd name="connsiteX5117" fmla="*/ 2817701 w 7631184"/>
              <a:gd name="connsiteY5117" fmla="*/ 1660782 h 6858054"/>
              <a:gd name="connsiteX5118" fmla="*/ 2807932 w 7631184"/>
              <a:gd name="connsiteY5118" fmla="*/ 1660782 h 6858054"/>
              <a:gd name="connsiteX5119" fmla="*/ 2798164 w 7631184"/>
              <a:gd name="connsiteY5119" fmla="*/ 1660782 h 6858054"/>
              <a:gd name="connsiteX5120" fmla="*/ 2768858 w 7631184"/>
              <a:gd name="connsiteY5120" fmla="*/ 1651013 h 6858054"/>
              <a:gd name="connsiteX5121" fmla="*/ 2739552 w 7631184"/>
              <a:gd name="connsiteY5121" fmla="*/ 1641244 h 6858054"/>
              <a:gd name="connsiteX5122" fmla="*/ 2729783 w 7631184"/>
              <a:gd name="connsiteY5122" fmla="*/ 1631475 h 6858054"/>
              <a:gd name="connsiteX5123" fmla="*/ 2720015 w 7631184"/>
              <a:gd name="connsiteY5123" fmla="*/ 1621705 h 6858054"/>
              <a:gd name="connsiteX5124" fmla="*/ 2729783 w 7631184"/>
              <a:gd name="connsiteY5124" fmla="*/ 1621705 h 6858054"/>
              <a:gd name="connsiteX5125" fmla="*/ 2749320 w 7631184"/>
              <a:gd name="connsiteY5125" fmla="*/ 1621705 h 6858054"/>
              <a:gd name="connsiteX5126" fmla="*/ 2749320 w 7631184"/>
              <a:gd name="connsiteY5126" fmla="*/ 1611936 h 6858054"/>
              <a:gd name="connsiteX5127" fmla="*/ 2759089 w 7631184"/>
              <a:gd name="connsiteY5127" fmla="*/ 1602166 h 6858054"/>
              <a:gd name="connsiteX5128" fmla="*/ 2768858 w 7631184"/>
              <a:gd name="connsiteY5128" fmla="*/ 1611936 h 6858054"/>
              <a:gd name="connsiteX5129" fmla="*/ 2788395 w 7631184"/>
              <a:gd name="connsiteY5129" fmla="*/ 1611936 h 6858054"/>
              <a:gd name="connsiteX5130" fmla="*/ 2817701 w 7631184"/>
              <a:gd name="connsiteY5130" fmla="*/ 1621705 h 6858054"/>
              <a:gd name="connsiteX5131" fmla="*/ 2847007 w 7631184"/>
              <a:gd name="connsiteY5131" fmla="*/ 1631475 h 6858054"/>
              <a:gd name="connsiteX5132" fmla="*/ 2886081 w 7631184"/>
              <a:gd name="connsiteY5132" fmla="*/ 1641244 h 6858054"/>
              <a:gd name="connsiteX5133" fmla="*/ 2925156 w 7631184"/>
              <a:gd name="connsiteY5133" fmla="*/ 1651013 h 6858054"/>
              <a:gd name="connsiteX5134" fmla="*/ 2915387 w 7631184"/>
              <a:gd name="connsiteY5134" fmla="*/ 1651013 h 6858054"/>
              <a:gd name="connsiteX5135" fmla="*/ 2895850 w 7631184"/>
              <a:gd name="connsiteY5135" fmla="*/ 1641244 h 6858054"/>
              <a:gd name="connsiteX5136" fmla="*/ 2876312 w 7631184"/>
              <a:gd name="connsiteY5136" fmla="*/ 1631475 h 6858054"/>
              <a:gd name="connsiteX5137" fmla="*/ 2856775 w 7631184"/>
              <a:gd name="connsiteY5137" fmla="*/ 1631475 h 6858054"/>
              <a:gd name="connsiteX5138" fmla="*/ 2827469 w 7631184"/>
              <a:gd name="connsiteY5138" fmla="*/ 1621705 h 6858054"/>
              <a:gd name="connsiteX5139" fmla="*/ 2729783 w 7631184"/>
              <a:gd name="connsiteY5139" fmla="*/ 1592397 h 6858054"/>
              <a:gd name="connsiteX5140" fmla="*/ 2700477 w 7631184"/>
              <a:gd name="connsiteY5140" fmla="*/ 1582628 h 6858054"/>
              <a:gd name="connsiteX5141" fmla="*/ 2651634 w 7631184"/>
              <a:gd name="connsiteY5141" fmla="*/ 1563089 h 6858054"/>
              <a:gd name="connsiteX5142" fmla="*/ 2612560 w 7631184"/>
              <a:gd name="connsiteY5142" fmla="*/ 1553320 h 6858054"/>
              <a:gd name="connsiteX5143" fmla="*/ 2505105 w 7631184"/>
              <a:gd name="connsiteY5143" fmla="*/ 1504473 h 6858054"/>
              <a:gd name="connsiteX5144" fmla="*/ 2475799 w 7631184"/>
              <a:gd name="connsiteY5144" fmla="*/ 1494704 h 6858054"/>
              <a:gd name="connsiteX5145" fmla="*/ 2466031 w 7631184"/>
              <a:gd name="connsiteY5145" fmla="*/ 1494704 h 6858054"/>
              <a:gd name="connsiteX5146" fmla="*/ 2446494 w 7631184"/>
              <a:gd name="connsiteY5146" fmla="*/ 1484935 h 6858054"/>
              <a:gd name="connsiteX5147" fmla="*/ 2426956 w 7631184"/>
              <a:gd name="connsiteY5147" fmla="*/ 1484935 h 6858054"/>
              <a:gd name="connsiteX5148" fmla="*/ 2407419 w 7631184"/>
              <a:gd name="connsiteY5148" fmla="*/ 1475165 h 6858054"/>
              <a:gd name="connsiteX5149" fmla="*/ 2358576 w 7631184"/>
              <a:gd name="connsiteY5149" fmla="*/ 1465396 h 6858054"/>
              <a:gd name="connsiteX5150" fmla="*/ 2348807 w 7631184"/>
              <a:gd name="connsiteY5150" fmla="*/ 1475165 h 6858054"/>
              <a:gd name="connsiteX5151" fmla="*/ 2319502 w 7631184"/>
              <a:gd name="connsiteY5151" fmla="*/ 1465396 h 6858054"/>
              <a:gd name="connsiteX5152" fmla="*/ 2290196 w 7631184"/>
              <a:gd name="connsiteY5152" fmla="*/ 1455627 h 6858054"/>
              <a:gd name="connsiteX5153" fmla="*/ 2251121 w 7631184"/>
              <a:gd name="connsiteY5153" fmla="*/ 1445857 h 6858054"/>
              <a:gd name="connsiteX5154" fmla="*/ 2260890 w 7631184"/>
              <a:gd name="connsiteY5154" fmla="*/ 1455627 h 6858054"/>
              <a:gd name="connsiteX5155" fmla="*/ 2241353 w 7631184"/>
              <a:gd name="connsiteY5155" fmla="*/ 1445857 h 6858054"/>
              <a:gd name="connsiteX5156" fmla="*/ 2221815 w 7631184"/>
              <a:gd name="connsiteY5156" fmla="*/ 1445857 h 6858054"/>
              <a:gd name="connsiteX5157" fmla="*/ 2192510 w 7631184"/>
              <a:gd name="connsiteY5157" fmla="*/ 1445857 h 6858054"/>
              <a:gd name="connsiteX5158" fmla="*/ 2182741 w 7631184"/>
              <a:gd name="connsiteY5158" fmla="*/ 1436088 h 6858054"/>
              <a:gd name="connsiteX5159" fmla="*/ 2153435 w 7631184"/>
              <a:gd name="connsiteY5159" fmla="*/ 1436088 h 6858054"/>
              <a:gd name="connsiteX5160" fmla="*/ 2094824 w 7631184"/>
              <a:gd name="connsiteY5160" fmla="*/ 1416550 h 6858054"/>
              <a:gd name="connsiteX5161" fmla="*/ 2075286 w 7631184"/>
              <a:gd name="connsiteY5161" fmla="*/ 1406780 h 6858054"/>
              <a:gd name="connsiteX5162" fmla="*/ 2065518 w 7631184"/>
              <a:gd name="connsiteY5162" fmla="*/ 1406780 h 6858054"/>
              <a:gd name="connsiteX5163" fmla="*/ 2075286 w 7631184"/>
              <a:gd name="connsiteY5163" fmla="*/ 1397011 h 6858054"/>
              <a:gd name="connsiteX5164" fmla="*/ 2133898 w 7631184"/>
              <a:gd name="connsiteY5164" fmla="*/ 1397011 h 6858054"/>
              <a:gd name="connsiteX5165" fmla="*/ 2153435 w 7631184"/>
              <a:gd name="connsiteY5165" fmla="*/ 1397011 h 6858054"/>
              <a:gd name="connsiteX5166" fmla="*/ 2153435 w 7631184"/>
              <a:gd name="connsiteY5166" fmla="*/ 1387242 h 6858054"/>
              <a:gd name="connsiteX5167" fmla="*/ 2133898 w 7631184"/>
              <a:gd name="connsiteY5167" fmla="*/ 1377472 h 6858054"/>
              <a:gd name="connsiteX5168" fmla="*/ 2114361 w 7631184"/>
              <a:gd name="connsiteY5168" fmla="*/ 1377472 h 6858054"/>
              <a:gd name="connsiteX5169" fmla="*/ 2036212 w 7631184"/>
              <a:gd name="connsiteY5169" fmla="*/ 1357934 h 6858054"/>
              <a:gd name="connsiteX5170" fmla="*/ 1997137 w 7631184"/>
              <a:gd name="connsiteY5170" fmla="*/ 1348164 h 6858054"/>
              <a:gd name="connsiteX5171" fmla="*/ 1958063 w 7631184"/>
              <a:gd name="connsiteY5171" fmla="*/ 1348164 h 6858054"/>
              <a:gd name="connsiteX5172" fmla="*/ 1948294 w 7631184"/>
              <a:gd name="connsiteY5172" fmla="*/ 1338395 h 6858054"/>
              <a:gd name="connsiteX5173" fmla="*/ 1938526 w 7631184"/>
              <a:gd name="connsiteY5173" fmla="*/ 1338395 h 6858054"/>
              <a:gd name="connsiteX5174" fmla="*/ 1928757 w 7631184"/>
              <a:gd name="connsiteY5174" fmla="*/ 1309087 h 6858054"/>
              <a:gd name="connsiteX5175" fmla="*/ 1948294 w 7631184"/>
              <a:gd name="connsiteY5175" fmla="*/ 1299318 h 6858054"/>
              <a:gd name="connsiteX5176" fmla="*/ 1967832 w 7631184"/>
              <a:gd name="connsiteY5176" fmla="*/ 1299318 h 6858054"/>
              <a:gd name="connsiteX5177" fmla="*/ 1997137 w 7631184"/>
              <a:gd name="connsiteY5177" fmla="*/ 1299318 h 6858054"/>
              <a:gd name="connsiteX5178" fmla="*/ 2006906 w 7631184"/>
              <a:gd name="connsiteY5178" fmla="*/ 1299318 h 6858054"/>
              <a:gd name="connsiteX5179" fmla="*/ 2016675 w 7631184"/>
              <a:gd name="connsiteY5179" fmla="*/ 1299318 h 6858054"/>
              <a:gd name="connsiteX5180" fmla="*/ 2036212 w 7631184"/>
              <a:gd name="connsiteY5180" fmla="*/ 1309087 h 6858054"/>
              <a:gd name="connsiteX5181" fmla="*/ 2065518 w 7631184"/>
              <a:gd name="connsiteY5181" fmla="*/ 1309087 h 6858054"/>
              <a:gd name="connsiteX5182" fmla="*/ 2104592 w 7631184"/>
              <a:gd name="connsiteY5182" fmla="*/ 1309087 h 6858054"/>
              <a:gd name="connsiteX5183" fmla="*/ 2065518 w 7631184"/>
              <a:gd name="connsiteY5183" fmla="*/ 1299318 h 6858054"/>
              <a:gd name="connsiteX5184" fmla="*/ 2045980 w 7631184"/>
              <a:gd name="connsiteY5184" fmla="*/ 1299318 h 6858054"/>
              <a:gd name="connsiteX5185" fmla="*/ 2016675 w 7631184"/>
              <a:gd name="connsiteY5185" fmla="*/ 1279779 h 6858054"/>
              <a:gd name="connsiteX5186" fmla="*/ 1997137 w 7631184"/>
              <a:gd name="connsiteY5186" fmla="*/ 1279779 h 6858054"/>
              <a:gd name="connsiteX5187" fmla="*/ 1967832 w 7631184"/>
              <a:gd name="connsiteY5187" fmla="*/ 1270010 h 6858054"/>
              <a:gd name="connsiteX5188" fmla="*/ 1928757 w 7631184"/>
              <a:gd name="connsiteY5188" fmla="*/ 1270010 h 6858054"/>
              <a:gd name="connsiteX5189" fmla="*/ 1909220 w 7631184"/>
              <a:gd name="connsiteY5189" fmla="*/ 1260241 h 6858054"/>
              <a:gd name="connsiteX5190" fmla="*/ 1889683 w 7631184"/>
              <a:gd name="connsiteY5190" fmla="*/ 1250471 h 6858054"/>
              <a:gd name="connsiteX5191" fmla="*/ 1879914 w 7631184"/>
              <a:gd name="connsiteY5191" fmla="*/ 1240702 h 6858054"/>
              <a:gd name="connsiteX5192" fmla="*/ 1889683 w 7631184"/>
              <a:gd name="connsiteY5192" fmla="*/ 1230933 h 6858054"/>
              <a:gd name="connsiteX5193" fmla="*/ 1928757 w 7631184"/>
              <a:gd name="connsiteY5193" fmla="*/ 1230933 h 6858054"/>
              <a:gd name="connsiteX5194" fmla="*/ 1918988 w 7631184"/>
              <a:gd name="connsiteY5194" fmla="*/ 1221164 h 6858054"/>
              <a:gd name="connsiteX5195" fmla="*/ 1899451 w 7631184"/>
              <a:gd name="connsiteY5195" fmla="*/ 1211394 h 6858054"/>
              <a:gd name="connsiteX5196" fmla="*/ 1938526 w 7631184"/>
              <a:gd name="connsiteY5196" fmla="*/ 1221164 h 6858054"/>
              <a:gd name="connsiteX5197" fmla="*/ 1958063 w 7631184"/>
              <a:gd name="connsiteY5197" fmla="*/ 1221164 h 6858054"/>
              <a:gd name="connsiteX5198" fmla="*/ 1997137 w 7631184"/>
              <a:gd name="connsiteY5198" fmla="*/ 1221164 h 6858054"/>
              <a:gd name="connsiteX5199" fmla="*/ 2016675 w 7631184"/>
              <a:gd name="connsiteY5199" fmla="*/ 1230933 h 6858054"/>
              <a:gd name="connsiteX5200" fmla="*/ 2036212 w 7631184"/>
              <a:gd name="connsiteY5200" fmla="*/ 1230933 h 6858054"/>
              <a:gd name="connsiteX5201" fmla="*/ 2075286 w 7631184"/>
              <a:gd name="connsiteY5201" fmla="*/ 1240702 h 6858054"/>
              <a:gd name="connsiteX5202" fmla="*/ 2114361 w 7631184"/>
              <a:gd name="connsiteY5202" fmla="*/ 1240702 h 6858054"/>
              <a:gd name="connsiteX5203" fmla="*/ 2143667 w 7631184"/>
              <a:gd name="connsiteY5203" fmla="*/ 1240702 h 6858054"/>
              <a:gd name="connsiteX5204" fmla="*/ 2182741 w 7631184"/>
              <a:gd name="connsiteY5204" fmla="*/ 1250471 h 6858054"/>
              <a:gd name="connsiteX5205" fmla="*/ 2143667 w 7631184"/>
              <a:gd name="connsiteY5205" fmla="*/ 1230933 h 6858054"/>
              <a:gd name="connsiteX5206" fmla="*/ 2124129 w 7631184"/>
              <a:gd name="connsiteY5206" fmla="*/ 1230933 h 6858054"/>
              <a:gd name="connsiteX5207" fmla="*/ 2094824 w 7631184"/>
              <a:gd name="connsiteY5207" fmla="*/ 1221164 h 6858054"/>
              <a:gd name="connsiteX5208" fmla="*/ 2065518 w 7631184"/>
              <a:gd name="connsiteY5208" fmla="*/ 1221164 h 6858054"/>
              <a:gd name="connsiteX5209" fmla="*/ 2055749 w 7631184"/>
              <a:gd name="connsiteY5209" fmla="*/ 1221164 h 6858054"/>
              <a:gd name="connsiteX5210" fmla="*/ 2036212 w 7631184"/>
              <a:gd name="connsiteY5210" fmla="*/ 1211394 h 6858054"/>
              <a:gd name="connsiteX5211" fmla="*/ 2045980 w 7631184"/>
              <a:gd name="connsiteY5211" fmla="*/ 1211394 h 6858054"/>
              <a:gd name="connsiteX5212" fmla="*/ 2006906 w 7631184"/>
              <a:gd name="connsiteY5212" fmla="*/ 1201625 h 6858054"/>
              <a:gd name="connsiteX5213" fmla="*/ 1967832 w 7631184"/>
              <a:gd name="connsiteY5213" fmla="*/ 1201625 h 6858054"/>
              <a:gd name="connsiteX5214" fmla="*/ 1958063 w 7631184"/>
              <a:gd name="connsiteY5214" fmla="*/ 1201625 h 6858054"/>
              <a:gd name="connsiteX5215" fmla="*/ 1948294 w 7631184"/>
              <a:gd name="connsiteY5215" fmla="*/ 1201625 h 6858054"/>
              <a:gd name="connsiteX5216" fmla="*/ 1948294 w 7631184"/>
              <a:gd name="connsiteY5216" fmla="*/ 1191855 h 6858054"/>
              <a:gd name="connsiteX5217" fmla="*/ 1938526 w 7631184"/>
              <a:gd name="connsiteY5217" fmla="*/ 1191855 h 6858054"/>
              <a:gd name="connsiteX5218" fmla="*/ 1928757 w 7631184"/>
              <a:gd name="connsiteY5218" fmla="*/ 1191855 h 6858054"/>
              <a:gd name="connsiteX5219" fmla="*/ 1909220 w 7631184"/>
              <a:gd name="connsiteY5219" fmla="*/ 1191855 h 6858054"/>
              <a:gd name="connsiteX5220" fmla="*/ 1889683 w 7631184"/>
              <a:gd name="connsiteY5220" fmla="*/ 1182086 h 6858054"/>
              <a:gd name="connsiteX5221" fmla="*/ 1860377 w 7631184"/>
              <a:gd name="connsiteY5221" fmla="*/ 1182086 h 6858054"/>
              <a:gd name="connsiteX5222" fmla="*/ 1860377 w 7631184"/>
              <a:gd name="connsiteY5222" fmla="*/ 1172317 h 6858054"/>
              <a:gd name="connsiteX5223" fmla="*/ 1850608 w 7631184"/>
              <a:gd name="connsiteY5223" fmla="*/ 1152778 h 6858054"/>
              <a:gd name="connsiteX5224" fmla="*/ 1831071 w 7631184"/>
              <a:gd name="connsiteY5224" fmla="*/ 1143009 h 6858054"/>
              <a:gd name="connsiteX5225" fmla="*/ 1821302 w 7631184"/>
              <a:gd name="connsiteY5225" fmla="*/ 1143009 h 6858054"/>
              <a:gd name="connsiteX5226" fmla="*/ 1811534 w 7631184"/>
              <a:gd name="connsiteY5226" fmla="*/ 1143009 h 6858054"/>
              <a:gd name="connsiteX5227" fmla="*/ 1801765 w 7631184"/>
              <a:gd name="connsiteY5227" fmla="*/ 1133240 h 6858054"/>
              <a:gd name="connsiteX5228" fmla="*/ 1743154 w 7631184"/>
              <a:gd name="connsiteY5228" fmla="*/ 1133240 h 6858054"/>
              <a:gd name="connsiteX5229" fmla="*/ 1733385 w 7631184"/>
              <a:gd name="connsiteY5229" fmla="*/ 1133240 h 6858054"/>
              <a:gd name="connsiteX5230" fmla="*/ 1733385 w 7631184"/>
              <a:gd name="connsiteY5230" fmla="*/ 1123471 h 6858054"/>
              <a:gd name="connsiteX5231" fmla="*/ 1737964 w 7631184"/>
              <a:gd name="connsiteY5231" fmla="*/ 1123471 h 6858054"/>
              <a:gd name="connsiteX5232" fmla="*/ 1738269 w 7631184"/>
              <a:gd name="connsiteY5232" fmla="*/ 1123471 h 6858054"/>
              <a:gd name="connsiteX5233" fmla="*/ 1743154 w 7631184"/>
              <a:gd name="connsiteY5233" fmla="*/ 1123471 h 6858054"/>
              <a:gd name="connsiteX5234" fmla="*/ 1762691 w 7631184"/>
              <a:gd name="connsiteY5234" fmla="*/ 1123471 h 6858054"/>
              <a:gd name="connsiteX5235" fmla="*/ 1772459 w 7631184"/>
              <a:gd name="connsiteY5235" fmla="*/ 1123471 h 6858054"/>
              <a:gd name="connsiteX5236" fmla="*/ 1762691 w 7631184"/>
              <a:gd name="connsiteY5236" fmla="*/ 1113701 h 6858054"/>
              <a:gd name="connsiteX5237" fmla="*/ 1782228 w 7631184"/>
              <a:gd name="connsiteY5237" fmla="*/ 1123471 h 6858054"/>
              <a:gd name="connsiteX5238" fmla="*/ 1801765 w 7631184"/>
              <a:gd name="connsiteY5238" fmla="*/ 1123471 h 6858054"/>
              <a:gd name="connsiteX5239" fmla="*/ 1821302 w 7631184"/>
              <a:gd name="connsiteY5239" fmla="*/ 1123471 h 6858054"/>
              <a:gd name="connsiteX5240" fmla="*/ 1831071 w 7631184"/>
              <a:gd name="connsiteY5240" fmla="*/ 1123471 h 6858054"/>
              <a:gd name="connsiteX5241" fmla="*/ 1840840 w 7631184"/>
              <a:gd name="connsiteY5241" fmla="*/ 1133240 h 6858054"/>
              <a:gd name="connsiteX5242" fmla="*/ 1899451 w 7631184"/>
              <a:gd name="connsiteY5242" fmla="*/ 1133240 h 6858054"/>
              <a:gd name="connsiteX5243" fmla="*/ 1938526 w 7631184"/>
              <a:gd name="connsiteY5243" fmla="*/ 1152778 h 6858054"/>
              <a:gd name="connsiteX5244" fmla="*/ 1987369 w 7631184"/>
              <a:gd name="connsiteY5244" fmla="*/ 1162547 h 6858054"/>
              <a:gd name="connsiteX5245" fmla="*/ 2026443 w 7631184"/>
              <a:gd name="connsiteY5245" fmla="*/ 1162547 h 6858054"/>
              <a:gd name="connsiteX5246" fmla="*/ 2006906 w 7631184"/>
              <a:gd name="connsiteY5246" fmla="*/ 1152778 h 6858054"/>
              <a:gd name="connsiteX5247" fmla="*/ 1987369 w 7631184"/>
              <a:gd name="connsiteY5247" fmla="*/ 1152778 h 6858054"/>
              <a:gd name="connsiteX5248" fmla="*/ 1977600 w 7631184"/>
              <a:gd name="connsiteY5248" fmla="*/ 1143009 h 6858054"/>
              <a:gd name="connsiteX5249" fmla="*/ 1958063 w 7631184"/>
              <a:gd name="connsiteY5249" fmla="*/ 1143009 h 6858054"/>
              <a:gd name="connsiteX5250" fmla="*/ 1928757 w 7631184"/>
              <a:gd name="connsiteY5250" fmla="*/ 1133240 h 6858054"/>
              <a:gd name="connsiteX5251" fmla="*/ 1870145 w 7631184"/>
              <a:gd name="connsiteY5251" fmla="*/ 1123471 h 6858054"/>
              <a:gd name="connsiteX5252" fmla="*/ 1831071 w 7631184"/>
              <a:gd name="connsiteY5252" fmla="*/ 1103932 h 6858054"/>
              <a:gd name="connsiteX5253" fmla="*/ 1791997 w 7631184"/>
              <a:gd name="connsiteY5253" fmla="*/ 1094162 h 6858054"/>
              <a:gd name="connsiteX5254" fmla="*/ 1782228 w 7631184"/>
              <a:gd name="connsiteY5254" fmla="*/ 1094162 h 6858054"/>
              <a:gd name="connsiteX5255" fmla="*/ 1772459 w 7631184"/>
              <a:gd name="connsiteY5255" fmla="*/ 1094162 h 6858054"/>
              <a:gd name="connsiteX5256" fmla="*/ 1743154 w 7631184"/>
              <a:gd name="connsiteY5256" fmla="*/ 1094162 h 6858054"/>
              <a:gd name="connsiteX5257" fmla="*/ 1743154 w 7631184"/>
              <a:gd name="connsiteY5257" fmla="*/ 1084393 h 6858054"/>
              <a:gd name="connsiteX5258" fmla="*/ 1704079 w 7631184"/>
              <a:gd name="connsiteY5258" fmla="*/ 1074624 h 6858054"/>
              <a:gd name="connsiteX5259" fmla="*/ 1694310 w 7631184"/>
              <a:gd name="connsiteY5259" fmla="*/ 1064854 h 6858054"/>
              <a:gd name="connsiteX5260" fmla="*/ 1645467 w 7631184"/>
              <a:gd name="connsiteY5260" fmla="*/ 1064854 h 6858054"/>
              <a:gd name="connsiteX5261" fmla="*/ 1635699 w 7631184"/>
              <a:gd name="connsiteY5261" fmla="*/ 1055085 h 6858054"/>
              <a:gd name="connsiteX5262" fmla="*/ 1625930 w 7631184"/>
              <a:gd name="connsiteY5262" fmla="*/ 1055085 h 6858054"/>
              <a:gd name="connsiteX5263" fmla="*/ 1606393 w 7631184"/>
              <a:gd name="connsiteY5263" fmla="*/ 1045316 h 6858054"/>
              <a:gd name="connsiteX5264" fmla="*/ 1577087 w 7631184"/>
              <a:gd name="connsiteY5264" fmla="*/ 1025777 h 6858054"/>
              <a:gd name="connsiteX5265" fmla="*/ 1557550 w 7631184"/>
              <a:gd name="connsiteY5265" fmla="*/ 1025777 h 6858054"/>
              <a:gd name="connsiteX5266" fmla="*/ 1547781 w 7631184"/>
              <a:gd name="connsiteY5266" fmla="*/ 1025777 h 6858054"/>
              <a:gd name="connsiteX5267" fmla="*/ 1518475 w 7631184"/>
              <a:gd name="connsiteY5267" fmla="*/ 1016008 h 6858054"/>
              <a:gd name="connsiteX5268" fmla="*/ 1489170 w 7631184"/>
              <a:gd name="connsiteY5268" fmla="*/ 1006239 h 6858054"/>
              <a:gd name="connsiteX5269" fmla="*/ 1459864 w 7631184"/>
              <a:gd name="connsiteY5269" fmla="*/ 996469 h 6858054"/>
              <a:gd name="connsiteX5270" fmla="*/ 1479401 w 7631184"/>
              <a:gd name="connsiteY5270" fmla="*/ 996469 h 6858054"/>
              <a:gd name="connsiteX5271" fmla="*/ 1498938 w 7631184"/>
              <a:gd name="connsiteY5271" fmla="*/ 996469 h 6858054"/>
              <a:gd name="connsiteX5272" fmla="*/ 1508707 w 7631184"/>
              <a:gd name="connsiteY5272" fmla="*/ 1006239 h 6858054"/>
              <a:gd name="connsiteX5273" fmla="*/ 1528244 w 7631184"/>
              <a:gd name="connsiteY5273" fmla="*/ 1006239 h 6858054"/>
              <a:gd name="connsiteX5274" fmla="*/ 1557550 w 7631184"/>
              <a:gd name="connsiteY5274" fmla="*/ 1006239 h 6858054"/>
              <a:gd name="connsiteX5275" fmla="*/ 1547781 w 7631184"/>
              <a:gd name="connsiteY5275" fmla="*/ 996469 h 6858054"/>
              <a:gd name="connsiteX5276" fmla="*/ 1567319 w 7631184"/>
              <a:gd name="connsiteY5276" fmla="*/ 996469 h 6858054"/>
              <a:gd name="connsiteX5277" fmla="*/ 1596624 w 7631184"/>
              <a:gd name="connsiteY5277" fmla="*/ 996469 h 6858054"/>
              <a:gd name="connsiteX5278" fmla="*/ 1616162 w 7631184"/>
              <a:gd name="connsiteY5278" fmla="*/ 1006239 h 6858054"/>
              <a:gd name="connsiteX5279" fmla="*/ 1635699 w 7631184"/>
              <a:gd name="connsiteY5279" fmla="*/ 1006239 h 6858054"/>
              <a:gd name="connsiteX5280" fmla="*/ 1655236 w 7631184"/>
              <a:gd name="connsiteY5280" fmla="*/ 1006239 h 6858054"/>
              <a:gd name="connsiteX5281" fmla="*/ 1704079 w 7631184"/>
              <a:gd name="connsiteY5281" fmla="*/ 1016008 h 6858054"/>
              <a:gd name="connsiteX5282" fmla="*/ 1723616 w 7631184"/>
              <a:gd name="connsiteY5282" fmla="*/ 1025777 h 6858054"/>
              <a:gd name="connsiteX5283" fmla="*/ 1743154 w 7631184"/>
              <a:gd name="connsiteY5283" fmla="*/ 1025777 h 6858054"/>
              <a:gd name="connsiteX5284" fmla="*/ 1752922 w 7631184"/>
              <a:gd name="connsiteY5284" fmla="*/ 1025777 h 6858054"/>
              <a:gd name="connsiteX5285" fmla="*/ 1762691 w 7631184"/>
              <a:gd name="connsiteY5285" fmla="*/ 1035546 h 6858054"/>
              <a:gd name="connsiteX5286" fmla="*/ 1762691 w 7631184"/>
              <a:gd name="connsiteY5286" fmla="*/ 1025777 h 6858054"/>
              <a:gd name="connsiteX5287" fmla="*/ 1733385 w 7631184"/>
              <a:gd name="connsiteY5287" fmla="*/ 1016008 h 6858054"/>
              <a:gd name="connsiteX5288" fmla="*/ 1723616 w 7631184"/>
              <a:gd name="connsiteY5288" fmla="*/ 1016008 h 6858054"/>
              <a:gd name="connsiteX5289" fmla="*/ 1704079 w 7631184"/>
              <a:gd name="connsiteY5289" fmla="*/ 1006239 h 6858054"/>
              <a:gd name="connsiteX5290" fmla="*/ 1713848 w 7631184"/>
              <a:gd name="connsiteY5290" fmla="*/ 1006239 h 6858054"/>
              <a:gd name="connsiteX5291" fmla="*/ 1733385 w 7631184"/>
              <a:gd name="connsiteY5291" fmla="*/ 1006239 h 6858054"/>
              <a:gd name="connsiteX5292" fmla="*/ 1743154 w 7631184"/>
              <a:gd name="connsiteY5292" fmla="*/ 1006239 h 6858054"/>
              <a:gd name="connsiteX5293" fmla="*/ 1752922 w 7631184"/>
              <a:gd name="connsiteY5293" fmla="*/ 1016008 h 6858054"/>
              <a:gd name="connsiteX5294" fmla="*/ 1762691 w 7631184"/>
              <a:gd name="connsiteY5294" fmla="*/ 1016008 h 6858054"/>
              <a:gd name="connsiteX5295" fmla="*/ 1772459 w 7631184"/>
              <a:gd name="connsiteY5295" fmla="*/ 1016008 h 6858054"/>
              <a:gd name="connsiteX5296" fmla="*/ 1782228 w 7631184"/>
              <a:gd name="connsiteY5296" fmla="*/ 1016008 h 6858054"/>
              <a:gd name="connsiteX5297" fmla="*/ 1791997 w 7631184"/>
              <a:gd name="connsiteY5297" fmla="*/ 1016008 h 6858054"/>
              <a:gd name="connsiteX5298" fmla="*/ 1801765 w 7631184"/>
              <a:gd name="connsiteY5298" fmla="*/ 1016008 h 6858054"/>
              <a:gd name="connsiteX5299" fmla="*/ 1811534 w 7631184"/>
              <a:gd name="connsiteY5299" fmla="*/ 1006239 h 6858054"/>
              <a:gd name="connsiteX5300" fmla="*/ 1782228 w 7631184"/>
              <a:gd name="connsiteY5300" fmla="*/ 986700 h 6858054"/>
              <a:gd name="connsiteX5301" fmla="*/ 1772459 w 7631184"/>
              <a:gd name="connsiteY5301" fmla="*/ 976931 h 6858054"/>
              <a:gd name="connsiteX5302" fmla="*/ 1782228 w 7631184"/>
              <a:gd name="connsiteY5302" fmla="*/ 976931 h 6858054"/>
              <a:gd name="connsiteX5303" fmla="*/ 1791997 w 7631184"/>
              <a:gd name="connsiteY5303" fmla="*/ 976931 h 6858054"/>
              <a:gd name="connsiteX5304" fmla="*/ 1811534 w 7631184"/>
              <a:gd name="connsiteY5304" fmla="*/ 976931 h 6858054"/>
              <a:gd name="connsiteX5305" fmla="*/ 1821302 w 7631184"/>
              <a:gd name="connsiteY5305" fmla="*/ 976931 h 6858054"/>
              <a:gd name="connsiteX5306" fmla="*/ 1831071 w 7631184"/>
              <a:gd name="connsiteY5306" fmla="*/ 976931 h 6858054"/>
              <a:gd name="connsiteX5307" fmla="*/ 1840840 w 7631184"/>
              <a:gd name="connsiteY5307" fmla="*/ 986700 h 6858054"/>
              <a:gd name="connsiteX5308" fmla="*/ 1850608 w 7631184"/>
              <a:gd name="connsiteY5308" fmla="*/ 986700 h 6858054"/>
              <a:gd name="connsiteX5309" fmla="*/ 1879914 w 7631184"/>
              <a:gd name="connsiteY5309" fmla="*/ 986700 h 6858054"/>
              <a:gd name="connsiteX5310" fmla="*/ 1860377 w 7631184"/>
              <a:gd name="connsiteY5310" fmla="*/ 976931 h 6858054"/>
              <a:gd name="connsiteX5311" fmla="*/ 1850608 w 7631184"/>
              <a:gd name="connsiteY5311" fmla="*/ 976931 h 6858054"/>
              <a:gd name="connsiteX5312" fmla="*/ 1791997 w 7631184"/>
              <a:gd name="connsiteY5312" fmla="*/ 967161 h 6858054"/>
              <a:gd name="connsiteX5313" fmla="*/ 1762691 w 7631184"/>
              <a:gd name="connsiteY5313" fmla="*/ 947623 h 6858054"/>
              <a:gd name="connsiteX5314" fmla="*/ 1713848 w 7631184"/>
              <a:gd name="connsiteY5314" fmla="*/ 937853 h 6858054"/>
              <a:gd name="connsiteX5315" fmla="*/ 1674773 w 7631184"/>
              <a:gd name="connsiteY5315" fmla="*/ 928084 h 6858054"/>
              <a:gd name="connsiteX5316" fmla="*/ 1645467 w 7631184"/>
              <a:gd name="connsiteY5316" fmla="*/ 918315 h 6858054"/>
              <a:gd name="connsiteX5317" fmla="*/ 1606393 w 7631184"/>
              <a:gd name="connsiteY5317" fmla="*/ 918315 h 6858054"/>
              <a:gd name="connsiteX5318" fmla="*/ 1586856 w 7631184"/>
              <a:gd name="connsiteY5318" fmla="*/ 908546 h 6858054"/>
              <a:gd name="connsiteX5319" fmla="*/ 1557550 w 7631184"/>
              <a:gd name="connsiteY5319" fmla="*/ 908546 h 6858054"/>
              <a:gd name="connsiteX5320" fmla="*/ 1538013 w 7631184"/>
              <a:gd name="connsiteY5320" fmla="*/ 898776 h 6858054"/>
              <a:gd name="connsiteX5321" fmla="*/ 1547781 w 7631184"/>
              <a:gd name="connsiteY5321" fmla="*/ 898776 h 6858054"/>
              <a:gd name="connsiteX5322" fmla="*/ 1557550 w 7631184"/>
              <a:gd name="connsiteY5322" fmla="*/ 898776 h 6858054"/>
              <a:gd name="connsiteX5323" fmla="*/ 1596624 w 7631184"/>
              <a:gd name="connsiteY5323" fmla="*/ 898776 h 6858054"/>
              <a:gd name="connsiteX5324" fmla="*/ 1616162 w 7631184"/>
              <a:gd name="connsiteY5324" fmla="*/ 898776 h 6858054"/>
              <a:gd name="connsiteX5325" fmla="*/ 1645467 w 7631184"/>
              <a:gd name="connsiteY5325" fmla="*/ 908546 h 6858054"/>
              <a:gd name="connsiteX5326" fmla="*/ 1684542 w 7631184"/>
              <a:gd name="connsiteY5326" fmla="*/ 918315 h 6858054"/>
              <a:gd name="connsiteX5327" fmla="*/ 1704079 w 7631184"/>
              <a:gd name="connsiteY5327" fmla="*/ 918315 h 6858054"/>
              <a:gd name="connsiteX5328" fmla="*/ 1713848 w 7631184"/>
              <a:gd name="connsiteY5328" fmla="*/ 918315 h 6858054"/>
              <a:gd name="connsiteX5329" fmla="*/ 1733385 w 7631184"/>
              <a:gd name="connsiteY5329" fmla="*/ 918315 h 6858054"/>
              <a:gd name="connsiteX5330" fmla="*/ 1704079 w 7631184"/>
              <a:gd name="connsiteY5330" fmla="*/ 908546 h 6858054"/>
              <a:gd name="connsiteX5331" fmla="*/ 1665005 w 7631184"/>
              <a:gd name="connsiteY5331" fmla="*/ 898776 h 6858054"/>
              <a:gd name="connsiteX5332" fmla="*/ 1665005 w 7631184"/>
              <a:gd name="connsiteY5332" fmla="*/ 889007 h 6858054"/>
              <a:gd name="connsiteX5333" fmla="*/ 1684542 w 7631184"/>
              <a:gd name="connsiteY5333" fmla="*/ 889007 h 6858054"/>
              <a:gd name="connsiteX5334" fmla="*/ 1713848 w 7631184"/>
              <a:gd name="connsiteY5334" fmla="*/ 898776 h 6858054"/>
              <a:gd name="connsiteX5335" fmla="*/ 1743154 w 7631184"/>
              <a:gd name="connsiteY5335" fmla="*/ 908546 h 6858054"/>
              <a:gd name="connsiteX5336" fmla="*/ 1772459 w 7631184"/>
              <a:gd name="connsiteY5336" fmla="*/ 908546 h 6858054"/>
              <a:gd name="connsiteX5337" fmla="*/ 1782228 w 7631184"/>
              <a:gd name="connsiteY5337" fmla="*/ 908546 h 6858054"/>
              <a:gd name="connsiteX5338" fmla="*/ 1840840 w 7631184"/>
              <a:gd name="connsiteY5338" fmla="*/ 918315 h 6858054"/>
              <a:gd name="connsiteX5339" fmla="*/ 1860377 w 7631184"/>
              <a:gd name="connsiteY5339" fmla="*/ 918315 h 6858054"/>
              <a:gd name="connsiteX5340" fmla="*/ 1918988 w 7631184"/>
              <a:gd name="connsiteY5340" fmla="*/ 937853 h 6858054"/>
              <a:gd name="connsiteX5341" fmla="*/ 1938526 w 7631184"/>
              <a:gd name="connsiteY5341" fmla="*/ 937853 h 6858054"/>
              <a:gd name="connsiteX5342" fmla="*/ 1958063 w 7631184"/>
              <a:gd name="connsiteY5342" fmla="*/ 937853 h 6858054"/>
              <a:gd name="connsiteX5343" fmla="*/ 2026443 w 7631184"/>
              <a:gd name="connsiteY5343" fmla="*/ 957392 h 6858054"/>
              <a:gd name="connsiteX5344" fmla="*/ 2065518 w 7631184"/>
              <a:gd name="connsiteY5344" fmla="*/ 957392 h 6858054"/>
              <a:gd name="connsiteX5345" fmla="*/ 2085055 w 7631184"/>
              <a:gd name="connsiteY5345" fmla="*/ 967161 h 6858054"/>
              <a:gd name="connsiteX5346" fmla="*/ 2094824 w 7631184"/>
              <a:gd name="connsiteY5346" fmla="*/ 967161 h 6858054"/>
              <a:gd name="connsiteX5347" fmla="*/ 2104592 w 7631184"/>
              <a:gd name="connsiteY5347" fmla="*/ 967161 h 6858054"/>
              <a:gd name="connsiteX5348" fmla="*/ 2124129 w 7631184"/>
              <a:gd name="connsiteY5348" fmla="*/ 967161 h 6858054"/>
              <a:gd name="connsiteX5349" fmla="*/ 2114361 w 7631184"/>
              <a:gd name="connsiteY5349" fmla="*/ 967161 h 6858054"/>
              <a:gd name="connsiteX5350" fmla="*/ 2114361 w 7631184"/>
              <a:gd name="connsiteY5350" fmla="*/ 976931 h 6858054"/>
              <a:gd name="connsiteX5351" fmla="*/ 2124129 w 7631184"/>
              <a:gd name="connsiteY5351" fmla="*/ 976931 h 6858054"/>
              <a:gd name="connsiteX5352" fmla="*/ 2133898 w 7631184"/>
              <a:gd name="connsiteY5352" fmla="*/ 967161 h 6858054"/>
              <a:gd name="connsiteX5353" fmla="*/ 2124129 w 7631184"/>
              <a:gd name="connsiteY5353" fmla="*/ 957392 h 6858054"/>
              <a:gd name="connsiteX5354" fmla="*/ 2114361 w 7631184"/>
              <a:gd name="connsiteY5354" fmla="*/ 957392 h 6858054"/>
              <a:gd name="connsiteX5355" fmla="*/ 2085055 w 7631184"/>
              <a:gd name="connsiteY5355" fmla="*/ 947623 h 6858054"/>
              <a:gd name="connsiteX5356" fmla="*/ 2075286 w 7631184"/>
              <a:gd name="connsiteY5356" fmla="*/ 947623 h 6858054"/>
              <a:gd name="connsiteX5357" fmla="*/ 2055749 w 7631184"/>
              <a:gd name="connsiteY5357" fmla="*/ 947623 h 6858054"/>
              <a:gd name="connsiteX5358" fmla="*/ 2036212 w 7631184"/>
              <a:gd name="connsiteY5358" fmla="*/ 937853 h 6858054"/>
              <a:gd name="connsiteX5359" fmla="*/ 2016675 w 7631184"/>
              <a:gd name="connsiteY5359" fmla="*/ 937853 h 6858054"/>
              <a:gd name="connsiteX5360" fmla="*/ 1997137 w 7631184"/>
              <a:gd name="connsiteY5360" fmla="*/ 928084 h 6858054"/>
              <a:gd name="connsiteX5361" fmla="*/ 1977600 w 7631184"/>
              <a:gd name="connsiteY5361" fmla="*/ 918315 h 6858054"/>
              <a:gd name="connsiteX5362" fmla="*/ 2026443 w 7631184"/>
              <a:gd name="connsiteY5362" fmla="*/ 928084 h 6858054"/>
              <a:gd name="connsiteX5363" fmla="*/ 2036212 w 7631184"/>
              <a:gd name="connsiteY5363" fmla="*/ 928084 h 6858054"/>
              <a:gd name="connsiteX5364" fmla="*/ 2045980 w 7631184"/>
              <a:gd name="connsiteY5364" fmla="*/ 937853 h 6858054"/>
              <a:gd name="connsiteX5365" fmla="*/ 2133898 w 7631184"/>
              <a:gd name="connsiteY5365" fmla="*/ 957392 h 6858054"/>
              <a:gd name="connsiteX5366" fmla="*/ 2143667 w 7631184"/>
              <a:gd name="connsiteY5366" fmla="*/ 947623 h 6858054"/>
              <a:gd name="connsiteX5367" fmla="*/ 2143667 w 7631184"/>
              <a:gd name="connsiteY5367" fmla="*/ 928084 h 6858054"/>
              <a:gd name="connsiteX5368" fmla="*/ 2133898 w 7631184"/>
              <a:gd name="connsiteY5368" fmla="*/ 918315 h 6858054"/>
              <a:gd name="connsiteX5369" fmla="*/ 2114361 w 7631184"/>
              <a:gd name="connsiteY5369" fmla="*/ 928084 h 6858054"/>
              <a:gd name="connsiteX5370" fmla="*/ 2104592 w 7631184"/>
              <a:gd name="connsiteY5370" fmla="*/ 928084 h 6858054"/>
              <a:gd name="connsiteX5371" fmla="*/ 2107034 w 7631184"/>
              <a:gd name="connsiteY5371" fmla="*/ 928084 h 6858054"/>
              <a:gd name="connsiteX5372" fmla="*/ 2114361 w 7631184"/>
              <a:gd name="connsiteY5372" fmla="*/ 928084 h 6858054"/>
              <a:gd name="connsiteX5373" fmla="*/ 2124129 w 7631184"/>
              <a:gd name="connsiteY5373" fmla="*/ 928084 h 6858054"/>
              <a:gd name="connsiteX5374" fmla="*/ 2133898 w 7631184"/>
              <a:gd name="connsiteY5374" fmla="*/ 937853 h 6858054"/>
              <a:gd name="connsiteX5375" fmla="*/ 2114361 w 7631184"/>
              <a:gd name="connsiteY5375" fmla="*/ 937853 h 6858054"/>
              <a:gd name="connsiteX5376" fmla="*/ 2094824 w 7631184"/>
              <a:gd name="connsiteY5376" fmla="*/ 928084 h 6858054"/>
              <a:gd name="connsiteX5377" fmla="*/ 2075286 w 7631184"/>
              <a:gd name="connsiteY5377" fmla="*/ 918315 h 6858054"/>
              <a:gd name="connsiteX5378" fmla="*/ 2016675 w 7631184"/>
              <a:gd name="connsiteY5378" fmla="*/ 908546 h 6858054"/>
              <a:gd name="connsiteX5379" fmla="*/ 2006906 w 7631184"/>
              <a:gd name="connsiteY5379" fmla="*/ 908546 h 6858054"/>
              <a:gd name="connsiteX5380" fmla="*/ 1997137 w 7631184"/>
              <a:gd name="connsiteY5380" fmla="*/ 898776 h 6858054"/>
              <a:gd name="connsiteX5381" fmla="*/ 1958063 w 7631184"/>
              <a:gd name="connsiteY5381" fmla="*/ 889007 h 6858054"/>
              <a:gd name="connsiteX5382" fmla="*/ 1928757 w 7631184"/>
              <a:gd name="connsiteY5382" fmla="*/ 879238 h 6858054"/>
              <a:gd name="connsiteX5383" fmla="*/ 1977600 w 7631184"/>
              <a:gd name="connsiteY5383" fmla="*/ 889007 h 6858054"/>
              <a:gd name="connsiteX5384" fmla="*/ 2006906 w 7631184"/>
              <a:gd name="connsiteY5384" fmla="*/ 898776 h 6858054"/>
              <a:gd name="connsiteX5385" fmla="*/ 2016675 w 7631184"/>
              <a:gd name="connsiteY5385" fmla="*/ 898776 h 6858054"/>
              <a:gd name="connsiteX5386" fmla="*/ 2026443 w 7631184"/>
              <a:gd name="connsiteY5386" fmla="*/ 898776 h 6858054"/>
              <a:gd name="connsiteX5387" fmla="*/ 2065518 w 7631184"/>
              <a:gd name="connsiteY5387" fmla="*/ 908546 h 6858054"/>
              <a:gd name="connsiteX5388" fmla="*/ 2094824 w 7631184"/>
              <a:gd name="connsiteY5388" fmla="*/ 908546 h 6858054"/>
              <a:gd name="connsiteX5389" fmla="*/ 2114361 w 7631184"/>
              <a:gd name="connsiteY5389" fmla="*/ 908546 h 6858054"/>
              <a:gd name="connsiteX5390" fmla="*/ 2124129 w 7631184"/>
              <a:gd name="connsiteY5390" fmla="*/ 908546 h 6858054"/>
              <a:gd name="connsiteX5391" fmla="*/ 2124129 w 7631184"/>
              <a:gd name="connsiteY5391" fmla="*/ 879238 h 6858054"/>
              <a:gd name="connsiteX5392" fmla="*/ 2153435 w 7631184"/>
              <a:gd name="connsiteY5392" fmla="*/ 879238 h 6858054"/>
              <a:gd name="connsiteX5393" fmla="*/ 2182741 w 7631184"/>
              <a:gd name="connsiteY5393" fmla="*/ 889007 h 6858054"/>
              <a:gd name="connsiteX5394" fmla="*/ 2172972 w 7631184"/>
              <a:gd name="connsiteY5394" fmla="*/ 879238 h 6858054"/>
              <a:gd name="connsiteX5395" fmla="*/ 2172972 w 7631184"/>
              <a:gd name="connsiteY5395" fmla="*/ 869468 h 6858054"/>
              <a:gd name="connsiteX5396" fmla="*/ 2133898 w 7631184"/>
              <a:gd name="connsiteY5396" fmla="*/ 849930 h 6858054"/>
              <a:gd name="connsiteX5397" fmla="*/ 2124129 w 7631184"/>
              <a:gd name="connsiteY5397" fmla="*/ 840160 h 6858054"/>
              <a:gd name="connsiteX5398" fmla="*/ 2114361 w 7631184"/>
              <a:gd name="connsiteY5398" fmla="*/ 810853 h 6858054"/>
              <a:gd name="connsiteX5399" fmla="*/ 2104592 w 7631184"/>
              <a:gd name="connsiteY5399" fmla="*/ 801083 h 6858054"/>
              <a:gd name="connsiteX5400" fmla="*/ 2104592 w 7631184"/>
              <a:gd name="connsiteY5400" fmla="*/ 791314 h 6858054"/>
              <a:gd name="connsiteX5401" fmla="*/ 2114361 w 7631184"/>
              <a:gd name="connsiteY5401" fmla="*/ 781544 h 6858054"/>
              <a:gd name="connsiteX5402" fmla="*/ 2104592 w 7631184"/>
              <a:gd name="connsiteY5402" fmla="*/ 771775 h 6858054"/>
              <a:gd name="connsiteX5403" fmla="*/ 2094824 w 7631184"/>
              <a:gd name="connsiteY5403" fmla="*/ 762006 h 6858054"/>
              <a:gd name="connsiteX5404" fmla="*/ 2075286 w 7631184"/>
              <a:gd name="connsiteY5404" fmla="*/ 752237 h 6858054"/>
              <a:gd name="connsiteX5405" fmla="*/ 2055749 w 7631184"/>
              <a:gd name="connsiteY5405" fmla="*/ 752237 h 6858054"/>
              <a:gd name="connsiteX5406" fmla="*/ 2045980 w 7631184"/>
              <a:gd name="connsiteY5406" fmla="*/ 742467 h 6858054"/>
              <a:gd name="connsiteX5407" fmla="*/ 2026443 w 7631184"/>
              <a:gd name="connsiteY5407" fmla="*/ 742467 h 6858054"/>
              <a:gd name="connsiteX5408" fmla="*/ 1977600 w 7631184"/>
              <a:gd name="connsiteY5408" fmla="*/ 722929 h 6858054"/>
              <a:gd name="connsiteX5409" fmla="*/ 1958063 w 7631184"/>
              <a:gd name="connsiteY5409" fmla="*/ 713160 h 6858054"/>
              <a:gd name="connsiteX5410" fmla="*/ 1948294 w 7631184"/>
              <a:gd name="connsiteY5410" fmla="*/ 713160 h 6858054"/>
              <a:gd name="connsiteX5411" fmla="*/ 1918988 w 7631184"/>
              <a:gd name="connsiteY5411" fmla="*/ 703390 h 6858054"/>
              <a:gd name="connsiteX5412" fmla="*/ 1889683 w 7631184"/>
              <a:gd name="connsiteY5412" fmla="*/ 693621 h 6858054"/>
              <a:gd name="connsiteX5413" fmla="*/ 1870145 w 7631184"/>
              <a:gd name="connsiteY5413" fmla="*/ 683851 h 6858054"/>
              <a:gd name="connsiteX5414" fmla="*/ 1782228 w 7631184"/>
              <a:gd name="connsiteY5414" fmla="*/ 674082 h 6858054"/>
              <a:gd name="connsiteX5415" fmla="*/ 1694310 w 7631184"/>
              <a:gd name="connsiteY5415" fmla="*/ 664313 h 6858054"/>
              <a:gd name="connsiteX5416" fmla="*/ 1674773 w 7631184"/>
              <a:gd name="connsiteY5416" fmla="*/ 664313 h 6858054"/>
              <a:gd name="connsiteX5417" fmla="*/ 1655236 w 7631184"/>
              <a:gd name="connsiteY5417" fmla="*/ 654543 h 6858054"/>
              <a:gd name="connsiteX5418" fmla="*/ 1704079 w 7631184"/>
              <a:gd name="connsiteY5418" fmla="*/ 654543 h 6858054"/>
              <a:gd name="connsiteX5419" fmla="*/ 1733385 w 7631184"/>
              <a:gd name="connsiteY5419" fmla="*/ 664313 h 6858054"/>
              <a:gd name="connsiteX5420" fmla="*/ 1752922 w 7631184"/>
              <a:gd name="connsiteY5420" fmla="*/ 664313 h 6858054"/>
              <a:gd name="connsiteX5421" fmla="*/ 1772459 w 7631184"/>
              <a:gd name="connsiteY5421" fmla="*/ 664313 h 6858054"/>
              <a:gd name="connsiteX5422" fmla="*/ 1811534 w 7631184"/>
              <a:gd name="connsiteY5422" fmla="*/ 674082 h 6858054"/>
              <a:gd name="connsiteX5423" fmla="*/ 1811534 w 7631184"/>
              <a:gd name="connsiteY5423" fmla="*/ 664313 h 6858054"/>
              <a:gd name="connsiteX5424" fmla="*/ 1831071 w 7631184"/>
              <a:gd name="connsiteY5424" fmla="*/ 664313 h 6858054"/>
              <a:gd name="connsiteX5425" fmla="*/ 1840840 w 7631184"/>
              <a:gd name="connsiteY5425" fmla="*/ 664313 h 6858054"/>
              <a:gd name="connsiteX5426" fmla="*/ 1870145 w 7631184"/>
              <a:gd name="connsiteY5426" fmla="*/ 674082 h 6858054"/>
              <a:gd name="connsiteX5427" fmla="*/ 1909220 w 7631184"/>
              <a:gd name="connsiteY5427" fmla="*/ 683851 h 6858054"/>
              <a:gd name="connsiteX5428" fmla="*/ 1928757 w 7631184"/>
              <a:gd name="connsiteY5428" fmla="*/ 683851 h 6858054"/>
              <a:gd name="connsiteX5429" fmla="*/ 1938526 w 7631184"/>
              <a:gd name="connsiteY5429" fmla="*/ 683851 h 6858054"/>
              <a:gd name="connsiteX5430" fmla="*/ 1918988 w 7631184"/>
              <a:gd name="connsiteY5430" fmla="*/ 674082 h 6858054"/>
              <a:gd name="connsiteX5431" fmla="*/ 1831071 w 7631184"/>
              <a:gd name="connsiteY5431" fmla="*/ 654543 h 6858054"/>
              <a:gd name="connsiteX5432" fmla="*/ 1743154 w 7631184"/>
              <a:gd name="connsiteY5432" fmla="*/ 644774 h 6858054"/>
              <a:gd name="connsiteX5433" fmla="*/ 1704079 w 7631184"/>
              <a:gd name="connsiteY5433" fmla="*/ 644774 h 6858054"/>
              <a:gd name="connsiteX5434" fmla="*/ 1665005 w 7631184"/>
              <a:gd name="connsiteY5434" fmla="*/ 635005 h 6858054"/>
              <a:gd name="connsiteX5435" fmla="*/ 1606393 w 7631184"/>
              <a:gd name="connsiteY5435" fmla="*/ 625236 h 6858054"/>
              <a:gd name="connsiteX5436" fmla="*/ 1623488 w 7631184"/>
              <a:gd name="connsiteY5436" fmla="*/ 625236 h 6858054"/>
              <a:gd name="connsiteX5437" fmla="*/ 1645467 w 7631184"/>
              <a:gd name="connsiteY5437" fmla="*/ 625236 h 6858054"/>
              <a:gd name="connsiteX5438" fmla="*/ 1655236 w 7631184"/>
              <a:gd name="connsiteY5438" fmla="*/ 625236 h 6858054"/>
              <a:gd name="connsiteX5439" fmla="*/ 1713848 w 7631184"/>
              <a:gd name="connsiteY5439" fmla="*/ 635005 h 6858054"/>
              <a:gd name="connsiteX5440" fmla="*/ 1840840 w 7631184"/>
              <a:gd name="connsiteY5440" fmla="*/ 654543 h 6858054"/>
              <a:gd name="connsiteX5441" fmla="*/ 1967832 w 7631184"/>
              <a:gd name="connsiteY5441" fmla="*/ 683851 h 6858054"/>
              <a:gd name="connsiteX5442" fmla="*/ 1997137 w 7631184"/>
              <a:gd name="connsiteY5442" fmla="*/ 683851 h 6858054"/>
              <a:gd name="connsiteX5443" fmla="*/ 2045980 w 7631184"/>
              <a:gd name="connsiteY5443" fmla="*/ 683851 h 6858054"/>
              <a:gd name="connsiteX5444" fmla="*/ 2055749 w 7631184"/>
              <a:gd name="connsiteY5444" fmla="*/ 683851 h 6858054"/>
              <a:gd name="connsiteX5445" fmla="*/ 2075286 w 7631184"/>
              <a:gd name="connsiteY5445" fmla="*/ 683851 h 6858054"/>
              <a:gd name="connsiteX5446" fmla="*/ 2045980 w 7631184"/>
              <a:gd name="connsiteY5446" fmla="*/ 674082 h 6858054"/>
              <a:gd name="connsiteX5447" fmla="*/ 2045980 w 7631184"/>
              <a:gd name="connsiteY5447" fmla="*/ 664313 h 6858054"/>
              <a:gd name="connsiteX5448" fmla="*/ 2026443 w 7631184"/>
              <a:gd name="connsiteY5448" fmla="*/ 664313 h 6858054"/>
              <a:gd name="connsiteX5449" fmla="*/ 2026443 w 7631184"/>
              <a:gd name="connsiteY5449" fmla="*/ 654543 h 6858054"/>
              <a:gd name="connsiteX5450" fmla="*/ 2016675 w 7631184"/>
              <a:gd name="connsiteY5450" fmla="*/ 654543 h 6858054"/>
              <a:gd name="connsiteX5451" fmla="*/ 2006906 w 7631184"/>
              <a:gd name="connsiteY5451" fmla="*/ 644774 h 6858054"/>
              <a:gd name="connsiteX5452" fmla="*/ 1977600 w 7631184"/>
              <a:gd name="connsiteY5452" fmla="*/ 625236 h 6858054"/>
              <a:gd name="connsiteX5453" fmla="*/ 1938526 w 7631184"/>
              <a:gd name="connsiteY5453" fmla="*/ 625236 h 6858054"/>
              <a:gd name="connsiteX5454" fmla="*/ 1899451 w 7631184"/>
              <a:gd name="connsiteY5454" fmla="*/ 615466 h 6858054"/>
              <a:gd name="connsiteX5455" fmla="*/ 1879914 w 7631184"/>
              <a:gd name="connsiteY5455" fmla="*/ 605697 h 6858054"/>
              <a:gd name="connsiteX5456" fmla="*/ 1840840 w 7631184"/>
              <a:gd name="connsiteY5456" fmla="*/ 605697 h 6858054"/>
              <a:gd name="connsiteX5457" fmla="*/ 1840840 w 7631184"/>
              <a:gd name="connsiteY5457" fmla="*/ 595928 h 6858054"/>
              <a:gd name="connsiteX5458" fmla="*/ 1801765 w 7631184"/>
              <a:gd name="connsiteY5458" fmla="*/ 595928 h 6858054"/>
              <a:gd name="connsiteX5459" fmla="*/ 1752922 w 7631184"/>
              <a:gd name="connsiteY5459" fmla="*/ 586159 h 6858054"/>
              <a:gd name="connsiteX5460" fmla="*/ 1723616 w 7631184"/>
              <a:gd name="connsiteY5460" fmla="*/ 586159 h 6858054"/>
              <a:gd name="connsiteX5461" fmla="*/ 1694310 w 7631184"/>
              <a:gd name="connsiteY5461" fmla="*/ 576389 h 6858054"/>
              <a:gd name="connsiteX5462" fmla="*/ 1665005 w 7631184"/>
              <a:gd name="connsiteY5462" fmla="*/ 576389 h 6858054"/>
              <a:gd name="connsiteX5463" fmla="*/ 1606393 w 7631184"/>
              <a:gd name="connsiteY5463" fmla="*/ 566620 h 6858054"/>
              <a:gd name="connsiteX5464" fmla="*/ 1586856 w 7631184"/>
              <a:gd name="connsiteY5464" fmla="*/ 556851 h 6858054"/>
              <a:gd name="connsiteX5465" fmla="*/ 1577087 w 7631184"/>
              <a:gd name="connsiteY5465" fmla="*/ 556851 h 6858054"/>
              <a:gd name="connsiteX5466" fmla="*/ 1557550 w 7631184"/>
              <a:gd name="connsiteY5466" fmla="*/ 556851 h 6858054"/>
              <a:gd name="connsiteX5467" fmla="*/ 1538013 w 7631184"/>
              <a:gd name="connsiteY5467" fmla="*/ 556851 h 6858054"/>
              <a:gd name="connsiteX5468" fmla="*/ 1518475 w 7631184"/>
              <a:gd name="connsiteY5468" fmla="*/ 556851 h 6858054"/>
              <a:gd name="connsiteX5469" fmla="*/ 1489170 w 7631184"/>
              <a:gd name="connsiteY5469" fmla="*/ 547081 h 6858054"/>
              <a:gd name="connsiteX5470" fmla="*/ 1440327 w 7631184"/>
              <a:gd name="connsiteY5470" fmla="*/ 547081 h 6858054"/>
              <a:gd name="connsiteX5471" fmla="*/ 1420789 w 7631184"/>
              <a:gd name="connsiteY5471" fmla="*/ 537312 h 6858054"/>
              <a:gd name="connsiteX5472" fmla="*/ 1401252 w 7631184"/>
              <a:gd name="connsiteY5472" fmla="*/ 537312 h 6858054"/>
              <a:gd name="connsiteX5473" fmla="*/ 1381715 w 7631184"/>
              <a:gd name="connsiteY5473" fmla="*/ 537312 h 6858054"/>
              <a:gd name="connsiteX5474" fmla="*/ 1391483 w 7631184"/>
              <a:gd name="connsiteY5474" fmla="*/ 527543 h 6858054"/>
              <a:gd name="connsiteX5475" fmla="*/ 1401252 w 7631184"/>
              <a:gd name="connsiteY5475" fmla="*/ 527543 h 6858054"/>
              <a:gd name="connsiteX5476" fmla="*/ 1411021 w 7631184"/>
              <a:gd name="connsiteY5476" fmla="*/ 527543 h 6858054"/>
              <a:gd name="connsiteX5477" fmla="*/ 1450095 w 7631184"/>
              <a:gd name="connsiteY5477" fmla="*/ 537312 h 6858054"/>
              <a:gd name="connsiteX5478" fmla="*/ 1459864 w 7631184"/>
              <a:gd name="connsiteY5478" fmla="*/ 537312 h 6858054"/>
              <a:gd name="connsiteX5479" fmla="*/ 1469632 w 7631184"/>
              <a:gd name="connsiteY5479" fmla="*/ 537312 h 6858054"/>
              <a:gd name="connsiteX5480" fmla="*/ 1479401 w 7631184"/>
              <a:gd name="connsiteY5480" fmla="*/ 537312 h 6858054"/>
              <a:gd name="connsiteX5481" fmla="*/ 1508707 w 7631184"/>
              <a:gd name="connsiteY5481" fmla="*/ 547081 h 6858054"/>
              <a:gd name="connsiteX5482" fmla="*/ 1528244 w 7631184"/>
              <a:gd name="connsiteY5482" fmla="*/ 547081 h 6858054"/>
              <a:gd name="connsiteX5483" fmla="*/ 1557550 w 7631184"/>
              <a:gd name="connsiteY5483" fmla="*/ 547081 h 6858054"/>
              <a:gd name="connsiteX5484" fmla="*/ 1567319 w 7631184"/>
              <a:gd name="connsiteY5484" fmla="*/ 547081 h 6858054"/>
              <a:gd name="connsiteX5485" fmla="*/ 1577087 w 7631184"/>
              <a:gd name="connsiteY5485" fmla="*/ 547081 h 6858054"/>
              <a:gd name="connsiteX5486" fmla="*/ 1606393 w 7631184"/>
              <a:gd name="connsiteY5486" fmla="*/ 556851 h 6858054"/>
              <a:gd name="connsiteX5487" fmla="*/ 1635699 w 7631184"/>
              <a:gd name="connsiteY5487" fmla="*/ 556851 h 6858054"/>
              <a:gd name="connsiteX5488" fmla="*/ 1645467 w 7631184"/>
              <a:gd name="connsiteY5488" fmla="*/ 566620 h 6858054"/>
              <a:gd name="connsiteX5489" fmla="*/ 1645467 w 7631184"/>
              <a:gd name="connsiteY5489" fmla="*/ 556851 h 6858054"/>
              <a:gd name="connsiteX5490" fmla="*/ 1674773 w 7631184"/>
              <a:gd name="connsiteY5490" fmla="*/ 566620 h 6858054"/>
              <a:gd name="connsiteX5491" fmla="*/ 1704079 w 7631184"/>
              <a:gd name="connsiteY5491" fmla="*/ 566620 h 6858054"/>
              <a:gd name="connsiteX5492" fmla="*/ 1723616 w 7631184"/>
              <a:gd name="connsiteY5492" fmla="*/ 566620 h 6858054"/>
              <a:gd name="connsiteX5493" fmla="*/ 1743154 w 7631184"/>
              <a:gd name="connsiteY5493" fmla="*/ 566620 h 6858054"/>
              <a:gd name="connsiteX5494" fmla="*/ 1762691 w 7631184"/>
              <a:gd name="connsiteY5494" fmla="*/ 576389 h 6858054"/>
              <a:gd name="connsiteX5495" fmla="*/ 1782228 w 7631184"/>
              <a:gd name="connsiteY5495" fmla="*/ 576389 h 6858054"/>
              <a:gd name="connsiteX5496" fmla="*/ 1782228 w 7631184"/>
              <a:gd name="connsiteY5496" fmla="*/ 566620 h 6858054"/>
              <a:gd name="connsiteX5497" fmla="*/ 1791997 w 7631184"/>
              <a:gd name="connsiteY5497" fmla="*/ 566620 h 6858054"/>
              <a:gd name="connsiteX5498" fmla="*/ 1821302 w 7631184"/>
              <a:gd name="connsiteY5498" fmla="*/ 576389 h 6858054"/>
              <a:gd name="connsiteX5499" fmla="*/ 1840840 w 7631184"/>
              <a:gd name="connsiteY5499" fmla="*/ 576389 h 6858054"/>
              <a:gd name="connsiteX5500" fmla="*/ 1860377 w 7631184"/>
              <a:gd name="connsiteY5500" fmla="*/ 586159 h 6858054"/>
              <a:gd name="connsiteX5501" fmla="*/ 1870145 w 7631184"/>
              <a:gd name="connsiteY5501" fmla="*/ 586159 h 6858054"/>
              <a:gd name="connsiteX5502" fmla="*/ 1879914 w 7631184"/>
              <a:gd name="connsiteY5502" fmla="*/ 586159 h 6858054"/>
              <a:gd name="connsiteX5503" fmla="*/ 1889683 w 7631184"/>
              <a:gd name="connsiteY5503" fmla="*/ 576389 h 6858054"/>
              <a:gd name="connsiteX5504" fmla="*/ 1909220 w 7631184"/>
              <a:gd name="connsiteY5504" fmla="*/ 576389 h 6858054"/>
              <a:gd name="connsiteX5505" fmla="*/ 1928757 w 7631184"/>
              <a:gd name="connsiteY5505" fmla="*/ 586159 h 6858054"/>
              <a:gd name="connsiteX5506" fmla="*/ 1948294 w 7631184"/>
              <a:gd name="connsiteY5506" fmla="*/ 595928 h 6858054"/>
              <a:gd name="connsiteX5507" fmla="*/ 1967832 w 7631184"/>
              <a:gd name="connsiteY5507" fmla="*/ 595928 h 6858054"/>
              <a:gd name="connsiteX5508" fmla="*/ 1987369 w 7631184"/>
              <a:gd name="connsiteY5508" fmla="*/ 595928 h 6858054"/>
              <a:gd name="connsiteX5509" fmla="*/ 1997137 w 7631184"/>
              <a:gd name="connsiteY5509" fmla="*/ 605697 h 6858054"/>
              <a:gd name="connsiteX5510" fmla="*/ 2006906 w 7631184"/>
              <a:gd name="connsiteY5510" fmla="*/ 605697 h 6858054"/>
              <a:gd name="connsiteX5511" fmla="*/ 2026443 w 7631184"/>
              <a:gd name="connsiteY5511" fmla="*/ 605697 h 6858054"/>
              <a:gd name="connsiteX5512" fmla="*/ 2055749 w 7631184"/>
              <a:gd name="connsiteY5512" fmla="*/ 615466 h 6858054"/>
              <a:gd name="connsiteX5513" fmla="*/ 2065518 w 7631184"/>
              <a:gd name="connsiteY5513" fmla="*/ 615466 h 6858054"/>
              <a:gd name="connsiteX5514" fmla="*/ 2094824 w 7631184"/>
              <a:gd name="connsiteY5514" fmla="*/ 625236 h 6858054"/>
              <a:gd name="connsiteX5515" fmla="*/ 2133898 w 7631184"/>
              <a:gd name="connsiteY5515" fmla="*/ 635005 h 6858054"/>
              <a:gd name="connsiteX5516" fmla="*/ 2153435 w 7631184"/>
              <a:gd name="connsiteY5516" fmla="*/ 635005 h 6858054"/>
              <a:gd name="connsiteX5517" fmla="*/ 2153435 w 7631184"/>
              <a:gd name="connsiteY5517" fmla="*/ 625236 h 6858054"/>
              <a:gd name="connsiteX5518" fmla="*/ 2133898 w 7631184"/>
              <a:gd name="connsiteY5518" fmla="*/ 615466 h 6858054"/>
              <a:gd name="connsiteX5519" fmla="*/ 2114361 w 7631184"/>
              <a:gd name="connsiteY5519" fmla="*/ 615466 h 6858054"/>
              <a:gd name="connsiteX5520" fmla="*/ 2085055 w 7631184"/>
              <a:gd name="connsiteY5520" fmla="*/ 605697 h 6858054"/>
              <a:gd name="connsiteX5521" fmla="*/ 2026443 w 7631184"/>
              <a:gd name="connsiteY5521" fmla="*/ 595928 h 6858054"/>
              <a:gd name="connsiteX5522" fmla="*/ 1958063 w 7631184"/>
              <a:gd name="connsiteY5522" fmla="*/ 576389 h 6858054"/>
              <a:gd name="connsiteX5523" fmla="*/ 1899451 w 7631184"/>
              <a:gd name="connsiteY5523" fmla="*/ 566620 h 6858054"/>
              <a:gd name="connsiteX5524" fmla="*/ 1938526 w 7631184"/>
              <a:gd name="connsiteY5524" fmla="*/ 566620 h 6858054"/>
              <a:gd name="connsiteX5525" fmla="*/ 1958063 w 7631184"/>
              <a:gd name="connsiteY5525" fmla="*/ 566620 h 6858054"/>
              <a:gd name="connsiteX5526" fmla="*/ 1987369 w 7631184"/>
              <a:gd name="connsiteY5526" fmla="*/ 576389 h 6858054"/>
              <a:gd name="connsiteX5527" fmla="*/ 2006906 w 7631184"/>
              <a:gd name="connsiteY5527" fmla="*/ 586159 h 6858054"/>
              <a:gd name="connsiteX5528" fmla="*/ 2016675 w 7631184"/>
              <a:gd name="connsiteY5528" fmla="*/ 586159 h 6858054"/>
              <a:gd name="connsiteX5529" fmla="*/ 2026443 w 7631184"/>
              <a:gd name="connsiteY5529" fmla="*/ 586159 h 6858054"/>
              <a:gd name="connsiteX5530" fmla="*/ 2036212 w 7631184"/>
              <a:gd name="connsiteY5530" fmla="*/ 586159 h 6858054"/>
              <a:gd name="connsiteX5531" fmla="*/ 2045980 w 7631184"/>
              <a:gd name="connsiteY5531" fmla="*/ 586159 h 6858054"/>
              <a:gd name="connsiteX5532" fmla="*/ 2075286 w 7631184"/>
              <a:gd name="connsiteY5532" fmla="*/ 595928 h 6858054"/>
              <a:gd name="connsiteX5533" fmla="*/ 2094824 w 7631184"/>
              <a:gd name="connsiteY5533" fmla="*/ 595928 h 6858054"/>
              <a:gd name="connsiteX5534" fmla="*/ 2212047 w 7631184"/>
              <a:gd name="connsiteY5534" fmla="*/ 625236 h 6858054"/>
              <a:gd name="connsiteX5535" fmla="*/ 2241353 w 7631184"/>
              <a:gd name="connsiteY5535" fmla="*/ 635005 h 6858054"/>
              <a:gd name="connsiteX5536" fmla="*/ 2251121 w 7631184"/>
              <a:gd name="connsiteY5536" fmla="*/ 635005 h 6858054"/>
              <a:gd name="connsiteX5537" fmla="*/ 2260890 w 7631184"/>
              <a:gd name="connsiteY5537" fmla="*/ 635005 h 6858054"/>
              <a:gd name="connsiteX5538" fmla="*/ 2299964 w 7631184"/>
              <a:gd name="connsiteY5538" fmla="*/ 644774 h 6858054"/>
              <a:gd name="connsiteX5539" fmla="*/ 2319502 w 7631184"/>
              <a:gd name="connsiteY5539" fmla="*/ 644774 h 6858054"/>
              <a:gd name="connsiteX5540" fmla="*/ 2299964 w 7631184"/>
              <a:gd name="connsiteY5540" fmla="*/ 635005 h 6858054"/>
              <a:gd name="connsiteX5541" fmla="*/ 2260890 w 7631184"/>
              <a:gd name="connsiteY5541" fmla="*/ 625236 h 6858054"/>
              <a:gd name="connsiteX5542" fmla="*/ 2251121 w 7631184"/>
              <a:gd name="connsiteY5542" fmla="*/ 625236 h 6858054"/>
              <a:gd name="connsiteX5543" fmla="*/ 2231584 w 7631184"/>
              <a:gd name="connsiteY5543" fmla="*/ 615466 h 6858054"/>
              <a:gd name="connsiteX5544" fmla="*/ 2212047 w 7631184"/>
              <a:gd name="connsiteY5544" fmla="*/ 605697 h 6858054"/>
              <a:gd name="connsiteX5545" fmla="*/ 2192510 w 7631184"/>
              <a:gd name="connsiteY5545" fmla="*/ 605697 h 6858054"/>
              <a:gd name="connsiteX5546" fmla="*/ 2172972 w 7631184"/>
              <a:gd name="connsiteY5546" fmla="*/ 595928 h 6858054"/>
              <a:gd name="connsiteX5547" fmla="*/ 2133898 w 7631184"/>
              <a:gd name="connsiteY5547" fmla="*/ 595928 h 6858054"/>
              <a:gd name="connsiteX5548" fmla="*/ 2045980 w 7631184"/>
              <a:gd name="connsiteY5548" fmla="*/ 576389 h 6858054"/>
              <a:gd name="connsiteX5549" fmla="*/ 2036212 w 7631184"/>
              <a:gd name="connsiteY5549" fmla="*/ 576389 h 6858054"/>
              <a:gd name="connsiteX5550" fmla="*/ 2016675 w 7631184"/>
              <a:gd name="connsiteY5550" fmla="*/ 566620 h 6858054"/>
              <a:gd name="connsiteX5551" fmla="*/ 2006906 w 7631184"/>
              <a:gd name="connsiteY5551" fmla="*/ 566620 h 6858054"/>
              <a:gd name="connsiteX5552" fmla="*/ 1997137 w 7631184"/>
              <a:gd name="connsiteY5552" fmla="*/ 566620 h 6858054"/>
              <a:gd name="connsiteX5553" fmla="*/ 1967832 w 7631184"/>
              <a:gd name="connsiteY5553" fmla="*/ 566620 h 6858054"/>
              <a:gd name="connsiteX5554" fmla="*/ 1899451 w 7631184"/>
              <a:gd name="connsiteY5554" fmla="*/ 547081 h 6858054"/>
              <a:gd name="connsiteX5555" fmla="*/ 1870145 w 7631184"/>
              <a:gd name="connsiteY5555" fmla="*/ 547081 h 6858054"/>
              <a:gd name="connsiteX5556" fmla="*/ 1860377 w 7631184"/>
              <a:gd name="connsiteY5556" fmla="*/ 537312 h 6858054"/>
              <a:gd name="connsiteX5557" fmla="*/ 1850608 w 7631184"/>
              <a:gd name="connsiteY5557" fmla="*/ 527543 h 6858054"/>
              <a:gd name="connsiteX5558" fmla="*/ 1831071 w 7631184"/>
              <a:gd name="connsiteY5558" fmla="*/ 517773 h 6858054"/>
              <a:gd name="connsiteX5559" fmla="*/ 1821302 w 7631184"/>
              <a:gd name="connsiteY5559" fmla="*/ 517773 h 6858054"/>
              <a:gd name="connsiteX5560" fmla="*/ 1811534 w 7631184"/>
              <a:gd name="connsiteY5560" fmla="*/ 517773 h 6858054"/>
              <a:gd name="connsiteX5561" fmla="*/ 1782228 w 7631184"/>
              <a:gd name="connsiteY5561" fmla="*/ 498235 h 6858054"/>
              <a:gd name="connsiteX5562" fmla="*/ 1704079 w 7631184"/>
              <a:gd name="connsiteY5562" fmla="*/ 488465 h 6858054"/>
              <a:gd name="connsiteX5563" fmla="*/ 1733385 w 7631184"/>
              <a:gd name="connsiteY5563" fmla="*/ 498235 h 6858054"/>
              <a:gd name="connsiteX5564" fmla="*/ 1743154 w 7631184"/>
              <a:gd name="connsiteY5564" fmla="*/ 508004 h 6858054"/>
              <a:gd name="connsiteX5565" fmla="*/ 1743154 w 7631184"/>
              <a:gd name="connsiteY5565" fmla="*/ 517773 h 6858054"/>
              <a:gd name="connsiteX5566" fmla="*/ 1733385 w 7631184"/>
              <a:gd name="connsiteY5566" fmla="*/ 508004 h 6858054"/>
              <a:gd name="connsiteX5567" fmla="*/ 1713848 w 7631184"/>
              <a:gd name="connsiteY5567" fmla="*/ 508004 h 6858054"/>
              <a:gd name="connsiteX5568" fmla="*/ 1694310 w 7631184"/>
              <a:gd name="connsiteY5568" fmla="*/ 488465 h 6858054"/>
              <a:gd name="connsiteX5569" fmla="*/ 1674773 w 7631184"/>
              <a:gd name="connsiteY5569" fmla="*/ 478696 h 6858054"/>
              <a:gd name="connsiteX5570" fmla="*/ 1635699 w 7631184"/>
              <a:gd name="connsiteY5570" fmla="*/ 478696 h 6858054"/>
              <a:gd name="connsiteX5571" fmla="*/ 1538013 w 7631184"/>
              <a:gd name="connsiteY5571" fmla="*/ 468927 h 6858054"/>
              <a:gd name="connsiteX5572" fmla="*/ 1508707 w 7631184"/>
              <a:gd name="connsiteY5572" fmla="*/ 468927 h 6858054"/>
              <a:gd name="connsiteX5573" fmla="*/ 1489170 w 7631184"/>
              <a:gd name="connsiteY5573" fmla="*/ 468927 h 6858054"/>
              <a:gd name="connsiteX5574" fmla="*/ 1440327 w 7631184"/>
              <a:gd name="connsiteY5574" fmla="*/ 459158 h 6858054"/>
              <a:gd name="connsiteX5575" fmla="*/ 1450095 w 7631184"/>
              <a:gd name="connsiteY5575" fmla="*/ 459158 h 6858054"/>
              <a:gd name="connsiteX5576" fmla="*/ 1479401 w 7631184"/>
              <a:gd name="connsiteY5576" fmla="*/ 459158 h 6858054"/>
              <a:gd name="connsiteX5577" fmla="*/ 1489170 w 7631184"/>
              <a:gd name="connsiteY5577" fmla="*/ 459158 h 6858054"/>
              <a:gd name="connsiteX5578" fmla="*/ 1508707 w 7631184"/>
              <a:gd name="connsiteY5578" fmla="*/ 459158 h 6858054"/>
              <a:gd name="connsiteX5579" fmla="*/ 1528244 w 7631184"/>
              <a:gd name="connsiteY5579" fmla="*/ 459158 h 6858054"/>
              <a:gd name="connsiteX5580" fmla="*/ 1577087 w 7631184"/>
              <a:gd name="connsiteY5580" fmla="*/ 468927 h 6858054"/>
              <a:gd name="connsiteX5581" fmla="*/ 1596624 w 7631184"/>
              <a:gd name="connsiteY5581" fmla="*/ 468927 h 6858054"/>
              <a:gd name="connsiteX5582" fmla="*/ 1616162 w 7631184"/>
              <a:gd name="connsiteY5582" fmla="*/ 468927 h 6858054"/>
              <a:gd name="connsiteX5583" fmla="*/ 1635699 w 7631184"/>
              <a:gd name="connsiteY5583" fmla="*/ 468927 h 6858054"/>
              <a:gd name="connsiteX5584" fmla="*/ 1645467 w 7631184"/>
              <a:gd name="connsiteY5584" fmla="*/ 468927 h 6858054"/>
              <a:gd name="connsiteX5585" fmla="*/ 1655236 w 7631184"/>
              <a:gd name="connsiteY5585" fmla="*/ 468927 h 6858054"/>
              <a:gd name="connsiteX5586" fmla="*/ 1674773 w 7631184"/>
              <a:gd name="connsiteY5586" fmla="*/ 468927 h 6858054"/>
              <a:gd name="connsiteX5587" fmla="*/ 1733385 w 7631184"/>
              <a:gd name="connsiteY5587" fmla="*/ 478696 h 6858054"/>
              <a:gd name="connsiteX5588" fmla="*/ 1743154 w 7631184"/>
              <a:gd name="connsiteY5588" fmla="*/ 478696 h 6858054"/>
              <a:gd name="connsiteX5589" fmla="*/ 1831071 w 7631184"/>
              <a:gd name="connsiteY5589" fmla="*/ 498235 h 6858054"/>
              <a:gd name="connsiteX5590" fmla="*/ 1840840 w 7631184"/>
              <a:gd name="connsiteY5590" fmla="*/ 498235 h 6858054"/>
              <a:gd name="connsiteX5591" fmla="*/ 1899451 w 7631184"/>
              <a:gd name="connsiteY5591" fmla="*/ 508004 h 6858054"/>
              <a:gd name="connsiteX5592" fmla="*/ 1918988 w 7631184"/>
              <a:gd name="connsiteY5592" fmla="*/ 508004 h 6858054"/>
              <a:gd name="connsiteX5593" fmla="*/ 1938526 w 7631184"/>
              <a:gd name="connsiteY5593" fmla="*/ 508004 h 6858054"/>
              <a:gd name="connsiteX5594" fmla="*/ 1928757 w 7631184"/>
              <a:gd name="connsiteY5594" fmla="*/ 498235 h 6858054"/>
              <a:gd name="connsiteX5595" fmla="*/ 1918988 w 7631184"/>
              <a:gd name="connsiteY5595" fmla="*/ 498235 h 6858054"/>
              <a:gd name="connsiteX5596" fmla="*/ 1860377 w 7631184"/>
              <a:gd name="connsiteY5596" fmla="*/ 488465 h 6858054"/>
              <a:gd name="connsiteX5597" fmla="*/ 1831071 w 7631184"/>
              <a:gd name="connsiteY5597" fmla="*/ 478696 h 6858054"/>
              <a:gd name="connsiteX5598" fmla="*/ 1834734 w 7631184"/>
              <a:gd name="connsiteY5598" fmla="*/ 478696 h 6858054"/>
              <a:gd name="connsiteX5599" fmla="*/ 1850608 w 7631184"/>
              <a:gd name="connsiteY5599" fmla="*/ 478696 h 6858054"/>
              <a:gd name="connsiteX5600" fmla="*/ 1870145 w 7631184"/>
              <a:gd name="connsiteY5600" fmla="*/ 478696 h 6858054"/>
              <a:gd name="connsiteX5601" fmla="*/ 1879914 w 7631184"/>
              <a:gd name="connsiteY5601" fmla="*/ 488465 h 6858054"/>
              <a:gd name="connsiteX5602" fmla="*/ 1850608 w 7631184"/>
              <a:gd name="connsiteY5602" fmla="*/ 468927 h 6858054"/>
              <a:gd name="connsiteX5603" fmla="*/ 1821302 w 7631184"/>
              <a:gd name="connsiteY5603" fmla="*/ 468927 h 6858054"/>
              <a:gd name="connsiteX5604" fmla="*/ 1811534 w 7631184"/>
              <a:gd name="connsiteY5604" fmla="*/ 468927 h 6858054"/>
              <a:gd name="connsiteX5605" fmla="*/ 1791997 w 7631184"/>
              <a:gd name="connsiteY5605" fmla="*/ 468927 h 6858054"/>
              <a:gd name="connsiteX5606" fmla="*/ 1772459 w 7631184"/>
              <a:gd name="connsiteY5606" fmla="*/ 459158 h 6858054"/>
              <a:gd name="connsiteX5607" fmla="*/ 1752922 w 7631184"/>
              <a:gd name="connsiteY5607" fmla="*/ 459158 h 6858054"/>
              <a:gd name="connsiteX5608" fmla="*/ 1733385 w 7631184"/>
              <a:gd name="connsiteY5608" fmla="*/ 459158 h 6858054"/>
              <a:gd name="connsiteX5609" fmla="*/ 1694310 w 7631184"/>
              <a:gd name="connsiteY5609" fmla="*/ 459158 h 6858054"/>
              <a:gd name="connsiteX5610" fmla="*/ 1635699 w 7631184"/>
              <a:gd name="connsiteY5610" fmla="*/ 449388 h 6858054"/>
              <a:gd name="connsiteX5611" fmla="*/ 1586856 w 7631184"/>
              <a:gd name="connsiteY5611" fmla="*/ 439619 h 6858054"/>
              <a:gd name="connsiteX5612" fmla="*/ 1557550 w 7631184"/>
              <a:gd name="connsiteY5612" fmla="*/ 439619 h 6858054"/>
              <a:gd name="connsiteX5613" fmla="*/ 1538013 w 7631184"/>
              <a:gd name="connsiteY5613" fmla="*/ 439619 h 6858054"/>
              <a:gd name="connsiteX5614" fmla="*/ 1508707 w 7631184"/>
              <a:gd name="connsiteY5614" fmla="*/ 429849 h 6858054"/>
              <a:gd name="connsiteX5615" fmla="*/ 1518475 w 7631184"/>
              <a:gd name="connsiteY5615" fmla="*/ 429849 h 6858054"/>
              <a:gd name="connsiteX5616" fmla="*/ 1538013 w 7631184"/>
              <a:gd name="connsiteY5616" fmla="*/ 429849 h 6858054"/>
              <a:gd name="connsiteX5617" fmla="*/ 1557550 w 7631184"/>
              <a:gd name="connsiteY5617" fmla="*/ 429849 h 6858054"/>
              <a:gd name="connsiteX5618" fmla="*/ 1577087 w 7631184"/>
              <a:gd name="connsiteY5618" fmla="*/ 429849 h 6858054"/>
              <a:gd name="connsiteX5619" fmla="*/ 1586856 w 7631184"/>
              <a:gd name="connsiteY5619" fmla="*/ 429849 h 6858054"/>
              <a:gd name="connsiteX5620" fmla="*/ 1625930 w 7631184"/>
              <a:gd name="connsiteY5620" fmla="*/ 429849 h 6858054"/>
              <a:gd name="connsiteX5621" fmla="*/ 1616162 w 7631184"/>
              <a:gd name="connsiteY5621" fmla="*/ 439619 h 6858054"/>
              <a:gd name="connsiteX5622" fmla="*/ 1625930 w 7631184"/>
              <a:gd name="connsiteY5622" fmla="*/ 439619 h 6858054"/>
              <a:gd name="connsiteX5623" fmla="*/ 1645467 w 7631184"/>
              <a:gd name="connsiteY5623" fmla="*/ 439619 h 6858054"/>
              <a:gd name="connsiteX5624" fmla="*/ 1655236 w 7631184"/>
              <a:gd name="connsiteY5624" fmla="*/ 439619 h 6858054"/>
              <a:gd name="connsiteX5625" fmla="*/ 1665005 w 7631184"/>
              <a:gd name="connsiteY5625" fmla="*/ 449388 h 6858054"/>
              <a:gd name="connsiteX5626" fmla="*/ 1674773 w 7631184"/>
              <a:gd name="connsiteY5626" fmla="*/ 449388 h 6858054"/>
              <a:gd name="connsiteX5627" fmla="*/ 1684542 w 7631184"/>
              <a:gd name="connsiteY5627" fmla="*/ 439619 h 6858054"/>
              <a:gd name="connsiteX5628" fmla="*/ 1713848 w 7631184"/>
              <a:gd name="connsiteY5628" fmla="*/ 449388 h 6858054"/>
              <a:gd name="connsiteX5629" fmla="*/ 1743154 w 7631184"/>
              <a:gd name="connsiteY5629" fmla="*/ 449388 h 6858054"/>
              <a:gd name="connsiteX5630" fmla="*/ 1752922 w 7631184"/>
              <a:gd name="connsiteY5630" fmla="*/ 449388 h 6858054"/>
              <a:gd name="connsiteX5631" fmla="*/ 1772459 w 7631184"/>
              <a:gd name="connsiteY5631" fmla="*/ 449388 h 6858054"/>
              <a:gd name="connsiteX5632" fmla="*/ 1782228 w 7631184"/>
              <a:gd name="connsiteY5632" fmla="*/ 449388 h 6858054"/>
              <a:gd name="connsiteX5633" fmla="*/ 1801765 w 7631184"/>
              <a:gd name="connsiteY5633" fmla="*/ 449388 h 6858054"/>
              <a:gd name="connsiteX5634" fmla="*/ 1801765 w 7631184"/>
              <a:gd name="connsiteY5634" fmla="*/ 459158 h 6858054"/>
              <a:gd name="connsiteX5635" fmla="*/ 1821302 w 7631184"/>
              <a:gd name="connsiteY5635" fmla="*/ 459158 h 6858054"/>
              <a:gd name="connsiteX5636" fmla="*/ 1840840 w 7631184"/>
              <a:gd name="connsiteY5636" fmla="*/ 459158 h 6858054"/>
              <a:gd name="connsiteX5637" fmla="*/ 1879914 w 7631184"/>
              <a:gd name="connsiteY5637" fmla="*/ 468927 h 6858054"/>
              <a:gd name="connsiteX5638" fmla="*/ 1889683 w 7631184"/>
              <a:gd name="connsiteY5638" fmla="*/ 468927 h 6858054"/>
              <a:gd name="connsiteX5639" fmla="*/ 1899451 w 7631184"/>
              <a:gd name="connsiteY5639" fmla="*/ 468927 h 6858054"/>
              <a:gd name="connsiteX5640" fmla="*/ 1918988 w 7631184"/>
              <a:gd name="connsiteY5640" fmla="*/ 468927 h 6858054"/>
              <a:gd name="connsiteX5641" fmla="*/ 1928757 w 7631184"/>
              <a:gd name="connsiteY5641" fmla="*/ 478696 h 6858054"/>
              <a:gd name="connsiteX5642" fmla="*/ 1909220 w 7631184"/>
              <a:gd name="connsiteY5642" fmla="*/ 478696 h 6858054"/>
              <a:gd name="connsiteX5643" fmla="*/ 1899451 w 7631184"/>
              <a:gd name="connsiteY5643" fmla="*/ 478696 h 6858054"/>
              <a:gd name="connsiteX5644" fmla="*/ 1918988 w 7631184"/>
              <a:gd name="connsiteY5644" fmla="*/ 488465 h 6858054"/>
              <a:gd name="connsiteX5645" fmla="*/ 1928757 w 7631184"/>
              <a:gd name="connsiteY5645" fmla="*/ 478696 h 6858054"/>
              <a:gd name="connsiteX5646" fmla="*/ 1987369 w 7631184"/>
              <a:gd name="connsiteY5646" fmla="*/ 488465 h 6858054"/>
              <a:gd name="connsiteX5647" fmla="*/ 2005685 w 7631184"/>
              <a:gd name="connsiteY5647" fmla="*/ 488465 h 6858054"/>
              <a:gd name="connsiteX5648" fmla="*/ 2006906 w 7631184"/>
              <a:gd name="connsiteY5648" fmla="*/ 488465 h 6858054"/>
              <a:gd name="connsiteX5649" fmla="*/ 1997137 w 7631184"/>
              <a:gd name="connsiteY5649" fmla="*/ 478696 h 6858054"/>
              <a:gd name="connsiteX5650" fmla="*/ 1977600 w 7631184"/>
              <a:gd name="connsiteY5650" fmla="*/ 478696 h 6858054"/>
              <a:gd name="connsiteX5651" fmla="*/ 1967832 w 7631184"/>
              <a:gd name="connsiteY5651" fmla="*/ 478696 h 6858054"/>
              <a:gd name="connsiteX5652" fmla="*/ 1938526 w 7631184"/>
              <a:gd name="connsiteY5652" fmla="*/ 468927 h 6858054"/>
              <a:gd name="connsiteX5653" fmla="*/ 1918988 w 7631184"/>
              <a:gd name="connsiteY5653" fmla="*/ 459158 h 6858054"/>
              <a:gd name="connsiteX5654" fmla="*/ 1899451 w 7631184"/>
              <a:gd name="connsiteY5654" fmla="*/ 459158 h 6858054"/>
              <a:gd name="connsiteX5655" fmla="*/ 1850608 w 7631184"/>
              <a:gd name="connsiteY5655" fmla="*/ 449388 h 6858054"/>
              <a:gd name="connsiteX5656" fmla="*/ 1821302 w 7631184"/>
              <a:gd name="connsiteY5656" fmla="*/ 449388 h 6858054"/>
              <a:gd name="connsiteX5657" fmla="*/ 1782228 w 7631184"/>
              <a:gd name="connsiteY5657" fmla="*/ 439619 h 6858054"/>
              <a:gd name="connsiteX5658" fmla="*/ 1733385 w 7631184"/>
              <a:gd name="connsiteY5658" fmla="*/ 429849 h 6858054"/>
              <a:gd name="connsiteX5659" fmla="*/ 1684542 w 7631184"/>
              <a:gd name="connsiteY5659" fmla="*/ 410311 h 6858054"/>
              <a:gd name="connsiteX5660" fmla="*/ 1684542 w 7631184"/>
              <a:gd name="connsiteY5660" fmla="*/ 400542 h 6858054"/>
              <a:gd name="connsiteX5661" fmla="*/ 1674773 w 7631184"/>
              <a:gd name="connsiteY5661" fmla="*/ 400542 h 6858054"/>
              <a:gd name="connsiteX5662" fmla="*/ 1665005 w 7631184"/>
              <a:gd name="connsiteY5662" fmla="*/ 410311 h 6858054"/>
              <a:gd name="connsiteX5663" fmla="*/ 1655236 w 7631184"/>
              <a:gd name="connsiteY5663" fmla="*/ 420080 h 6858054"/>
              <a:gd name="connsiteX5664" fmla="*/ 1635699 w 7631184"/>
              <a:gd name="connsiteY5664" fmla="*/ 410311 h 6858054"/>
              <a:gd name="connsiteX5665" fmla="*/ 1616162 w 7631184"/>
              <a:gd name="connsiteY5665" fmla="*/ 410311 h 6858054"/>
              <a:gd name="connsiteX5666" fmla="*/ 1596624 w 7631184"/>
              <a:gd name="connsiteY5666" fmla="*/ 410311 h 6858054"/>
              <a:gd name="connsiteX5667" fmla="*/ 1586856 w 7631184"/>
              <a:gd name="connsiteY5667" fmla="*/ 410311 h 6858054"/>
              <a:gd name="connsiteX5668" fmla="*/ 1567319 w 7631184"/>
              <a:gd name="connsiteY5668" fmla="*/ 390772 h 6858054"/>
              <a:gd name="connsiteX5669" fmla="*/ 1586856 w 7631184"/>
              <a:gd name="connsiteY5669" fmla="*/ 390772 h 6858054"/>
              <a:gd name="connsiteX5670" fmla="*/ 1625930 w 7631184"/>
              <a:gd name="connsiteY5670" fmla="*/ 390772 h 6858054"/>
              <a:gd name="connsiteX5671" fmla="*/ 1665005 w 7631184"/>
              <a:gd name="connsiteY5671" fmla="*/ 390772 h 6858054"/>
              <a:gd name="connsiteX5672" fmla="*/ 1694310 w 7631184"/>
              <a:gd name="connsiteY5672" fmla="*/ 390772 h 6858054"/>
              <a:gd name="connsiteX5673" fmla="*/ 1723616 w 7631184"/>
              <a:gd name="connsiteY5673" fmla="*/ 390772 h 6858054"/>
              <a:gd name="connsiteX5674" fmla="*/ 1752922 w 7631184"/>
              <a:gd name="connsiteY5674" fmla="*/ 381003 h 6858054"/>
              <a:gd name="connsiteX5675" fmla="*/ 1762691 w 7631184"/>
              <a:gd name="connsiteY5675" fmla="*/ 371234 h 6858054"/>
              <a:gd name="connsiteX5676" fmla="*/ 1772459 w 7631184"/>
              <a:gd name="connsiteY5676" fmla="*/ 371234 h 6858054"/>
              <a:gd name="connsiteX5677" fmla="*/ 1782228 w 7631184"/>
              <a:gd name="connsiteY5677" fmla="*/ 371234 h 6858054"/>
              <a:gd name="connsiteX5678" fmla="*/ 1762691 w 7631184"/>
              <a:gd name="connsiteY5678" fmla="*/ 361464 h 6858054"/>
              <a:gd name="connsiteX5679" fmla="*/ 1733385 w 7631184"/>
              <a:gd name="connsiteY5679" fmla="*/ 361464 h 6858054"/>
              <a:gd name="connsiteX5680" fmla="*/ 1723616 w 7631184"/>
              <a:gd name="connsiteY5680" fmla="*/ 351695 h 6858054"/>
              <a:gd name="connsiteX5681" fmla="*/ 1684542 w 7631184"/>
              <a:gd name="connsiteY5681" fmla="*/ 351695 h 6858054"/>
              <a:gd name="connsiteX5682" fmla="*/ 1665005 w 7631184"/>
              <a:gd name="connsiteY5682" fmla="*/ 341926 h 6858054"/>
              <a:gd name="connsiteX5683" fmla="*/ 1635699 w 7631184"/>
              <a:gd name="connsiteY5683" fmla="*/ 341926 h 6858054"/>
              <a:gd name="connsiteX5684" fmla="*/ 1625930 w 7631184"/>
              <a:gd name="connsiteY5684" fmla="*/ 341926 h 6858054"/>
              <a:gd name="connsiteX5685" fmla="*/ 1625930 w 7631184"/>
              <a:gd name="connsiteY5685" fmla="*/ 332156 h 6858054"/>
              <a:gd name="connsiteX5686" fmla="*/ 1616162 w 7631184"/>
              <a:gd name="connsiteY5686" fmla="*/ 332156 h 6858054"/>
              <a:gd name="connsiteX5687" fmla="*/ 1606393 w 7631184"/>
              <a:gd name="connsiteY5687" fmla="*/ 332156 h 6858054"/>
              <a:gd name="connsiteX5688" fmla="*/ 1586856 w 7631184"/>
              <a:gd name="connsiteY5688" fmla="*/ 332156 h 6858054"/>
              <a:gd name="connsiteX5689" fmla="*/ 1557550 w 7631184"/>
              <a:gd name="connsiteY5689" fmla="*/ 312618 h 6858054"/>
              <a:gd name="connsiteX5690" fmla="*/ 1561213 w 7631184"/>
              <a:gd name="connsiteY5690" fmla="*/ 312618 h 6858054"/>
              <a:gd name="connsiteX5691" fmla="*/ 1567319 w 7631184"/>
              <a:gd name="connsiteY5691" fmla="*/ 312618 h 6858054"/>
              <a:gd name="connsiteX5692" fmla="*/ 1577087 w 7631184"/>
              <a:gd name="connsiteY5692" fmla="*/ 312618 h 6858054"/>
              <a:gd name="connsiteX5693" fmla="*/ 1625930 w 7631184"/>
              <a:gd name="connsiteY5693" fmla="*/ 322387 h 6858054"/>
              <a:gd name="connsiteX5694" fmla="*/ 1635699 w 7631184"/>
              <a:gd name="connsiteY5694" fmla="*/ 322387 h 6858054"/>
              <a:gd name="connsiteX5695" fmla="*/ 1645467 w 7631184"/>
              <a:gd name="connsiteY5695" fmla="*/ 322387 h 6858054"/>
              <a:gd name="connsiteX5696" fmla="*/ 1655236 w 7631184"/>
              <a:gd name="connsiteY5696" fmla="*/ 322387 h 6858054"/>
              <a:gd name="connsiteX5697" fmla="*/ 1684542 w 7631184"/>
              <a:gd name="connsiteY5697" fmla="*/ 332156 h 6858054"/>
              <a:gd name="connsiteX5698" fmla="*/ 1694310 w 7631184"/>
              <a:gd name="connsiteY5698" fmla="*/ 332156 h 6858054"/>
              <a:gd name="connsiteX5699" fmla="*/ 1704079 w 7631184"/>
              <a:gd name="connsiteY5699" fmla="*/ 322387 h 6858054"/>
              <a:gd name="connsiteX5700" fmla="*/ 1694310 w 7631184"/>
              <a:gd name="connsiteY5700" fmla="*/ 322387 h 6858054"/>
              <a:gd name="connsiteX5701" fmla="*/ 1723616 w 7631184"/>
              <a:gd name="connsiteY5701" fmla="*/ 312618 h 6858054"/>
              <a:gd name="connsiteX5702" fmla="*/ 1743154 w 7631184"/>
              <a:gd name="connsiteY5702" fmla="*/ 322387 h 6858054"/>
              <a:gd name="connsiteX5703" fmla="*/ 1752922 w 7631184"/>
              <a:gd name="connsiteY5703" fmla="*/ 312618 h 6858054"/>
              <a:gd name="connsiteX5704" fmla="*/ 1762691 w 7631184"/>
              <a:gd name="connsiteY5704" fmla="*/ 312618 h 6858054"/>
              <a:gd name="connsiteX5705" fmla="*/ 1772459 w 7631184"/>
              <a:gd name="connsiteY5705" fmla="*/ 312618 h 6858054"/>
              <a:gd name="connsiteX5706" fmla="*/ 1762691 w 7631184"/>
              <a:gd name="connsiteY5706" fmla="*/ 302849 h 6858054"/>
              <a:gd name="connsiteX5707" fmla="*/ 1752922 w 7631184"/>
              <a:gd name="connsiteY5707" fmla="*/ 302849 h 6858054"/>
              <a:gd name="connsiteX5708" fmla="*/ 1743154 w 7631184"/>
              <a:gd name="connsiteY5708" fmla="*/ 302849 h 6858054"/>
              <a:gd name="connsiteX5709" fmla="*/ 1733385 w 7631184"/>
              <a:gd name="connsiteY5709" fmla="*/ 302849 h 6858054"/>
              <a:gd name="connsiteX5710" fmla="*/ 1713848 w 7631184"/>
              <a:gd name="connsiteY5710" fmla="*/ 302849 h 6858054"/>
              <a:gd name="connsiteX5711" fmla="*/ 1704079 w 7631184"/>
              <a:gd name="connsiteY5711" fmla="*/ 302849 h 6858054"/>
              <a:gd name="connsiteX5712" fmla="*/ 1655236 w 7631184"/>
              <a:gd name="connsiteY5712" fmla="*/ 293079 h 6858054"/>
              <a:gd name="connsiteX5713" fmla="*/ 1645467 w 7631184"/>
              <a:gd name="connsiteY5713" fmla="*/ 283310 h 6858054"/>
              <a:gd name="connsiteX5714" fmla="*/ 1635699 w 7631184"/>
              <a:gd name="connsiteY5714" fmla="*/ 283310 h 6858054"/>
              <a:gd name="connsiteX5715" fmla="*/ 1625930 w 7631184"/>
              <a:gd name="connsiteY5715" fmla="*/ 283310 h 6858054"/>
              <a:gd name="connsiteX5716" fmla="*/ 1616162 w 7631184"/>
              <a:gd name="connsiteY5716" fmla="*/ 283310 h 6858054"/>
              <a:gd name="connsiteX5717" fmla="*/ 1596624 w 7631184"/>
              <a:gd name="connsiteY5717" fmla="*/ 283310 h 6858054"/>
              <a:gd name="connsiteX5718" fmla="*/ 1577087 w 7631184"/>
              <a:gd name="connsiteY5718" fmla="*/ 283310 h 6858054"/>
              <a:gd name="connsiteX5719" fmla="*/ 1567319 w 7631184"/>
              <a:gd name="connsiteY5719" fmla="*/ 283310 h 6858054"/>
              <a:gd name="connsiteX5720" fmla="*/ 1547781 w 7631184"/>
              <a:gd name="connsiteY5720" fmla="*/ 273541 h 6858054"/>
              <a:gd name="connsiteX5721" fmla="*/ 1508707 w 7631184"/>
              <a:gd name="connsiteY5721" fmla="*/ 263771 h 6858054"/>
              <a:gd name="connsiteX5722" fmla="*/ 1508707 w 7631184"/>
              <a:gd name="connsiteY5722" fmla="*/ 254002 h 6858054"/>
              <a:gd name="connsiteX5723" fmla="*/ 1498938 w 7631184"/>
              <a:gd name="connsiteY5723" fmla="*/ 244233 h 6858054"/>
              <a:gd name="connsiteX5724" fmla="*/ 1489170 w 7631184"/>
              <a:gd name="connsiteY5724" fmla="*/ 234463 h 6858054"/>
              <a:gd name="connsiteX5725" fmla="*/ 1479401 w 7631184"/>
              <a:gd name="connsiteY5725" fmla="*/ 224694 h 6858054"/>
              <a:gd name="connsiteX5726" fmla="*/ 1538013 w 7631184"/>
              <a:gd name="connsiteY5726" fmla="*/ 224694 h 6858054"/>
              <a:gd name="connsiteX5727" fmla="*/ 1577087 w 7631184"/>
              <a:gd name="connsiteY5727" fmla="*/ 224694 h 6858054"/>
              <a:gd name="connsiteX5728" fmla="*/ 1616162 w 7631184"/>
              <a:gd name="connsiteY5728" fmla="*/ 214925 h 6858054"/>
              <a:gd name="connsiteX5729" fmla="*/ 1645467 w 7631184"/>
              <a:gd name="connsiteY5729" fmla="*/ 214925 h 6858054"/>
              <a:gd name="connsiteX5730" fmla="*/ 1628372 w 7631184"/>
              <a:gd name="connsiteY5730" fmla="*/ 214925 h 6858054"/>
              <a:gd name="connsiteX5731" fmla="*/ 1616162 w 7631184"/>
              <a:gd name="connsiteY5731" fmla="*/ 214925 h 6858054"/>
              <a:gd name="connsiteX5732" fmla="*/ 1596624 w 7631184"/>
              <a:gd name="connsiteY5732" fmla="*/ 214925 h 6858054"/>
              <a:gd name="connsiteX5733" fmla="*/ 1586856 w 7631184"/>
              <a:gd name="connsiteY5733" fmla="*/ 205156 h 6858054"/>
              <a:gd name="connsiteX5734" fmla="*/ 1567319 w 7631184"/>
              <a:gd name="connsiteY5734" fmla="*/ 205156 h 6858054"/>
              <a:gd name="connsiteX5735" fmla="*/ 1547781 w 7631184"/>
              <a:gd name="connsiteY5735" fmla="*/ 205156 h 6858054"/>
              <a:gd name="connsiteX5736" fmla="*/ 1547781 w 7631184"/>
              <a:gd name="connsiteY5736" fmla="*/ 195386 h 6858054"/>
              <a:gd name="connsiteX5737" fmla="*/ 1538013 w 7631184"/>
              <a:gd name="connsiteY5737" fmla="*/ 195386 h 6858054"/>
              <a:gd name="connsiteX5738" fmla="*/ 1508707 w 7631184"/>
              <a:gd name="connsiteY5738" fmla="*/ 185617 h 6858054"/>
              <a:gd name="connsiteX5739" fmla="*/ 1498938 w 7631184"/>
              <a:gd name="connsiteY5739" fmla="*/ 185617 h 6858054"/>
              <a:gd name="connsiteX5740" fmla="*/ 1469632 w 7631184"/>
              <a:gd name="connsiteY5740" fmla="*/ 185617 h 6858054"/>
              <a:gd name="connsiteX5741" fmla="*/ 1420789 w 7631184"/>
              <a:gd name="connsiteY5741" fmla="*/ 185617 h 6858054"/>
              <a:gd name="connsiteX5742" fmla="*/ 1401252 w 7631184"/>
              <a:gd name="connsiteY5742" fmla="*/ 185617 h 6858054"/>
              <a:gd name="connsiteX5743" fmla="*/ 1362178 w 7631184"/>
              <a:gd name="connsiteY5743" fmla="*/ 175848 h 6858054"/>
              <a:gd name="connsiteX5744" fmla="*/ 1352409 w 7631184"/>
              <a:gd name="connsiteY5744" fmla="*/ 175848 h 6858054"/>
              <a:gd name="connsiteX5745" fmla="*/ 1323103 w 7631184"/>
              <a:gd name="connsiteY5745" fmla="*/ 175848 h 6858054"/>
              <a:gd name="connsiteX5746" fmla="*/ 1362178 w 7631184"/>
              <a:gd name="connsiteY5746" fmla="*/ 166078 h 6858054"/>
              <a:gd name="connsiteX5747" fmla="*/ 1371946 w 7631184"/>
              <a:gd name="connsiteY5747" fmla="*/ 166078 h 6858054"/>
              <a:gd name="connsiteX5748" fmla="*/ 1381715 w 7631184"/>
              <a:gd name="connsiteY5748" fmla="*/ 166078 h 6858054"/>
              <a:gd name="connsiteX5749" fmla="*/ 1391483 w 7631184"/>
              <a:gd name="connsiteY5749" fmla="*/ 166078 h 6858054"/>
              <a:gd name="connsiteX5750" fmla="*/ 1401252 w 7631184"/>
              <a:gd name="connsiteY5750" fmla="*/ 166078 h 6858054"/>
              <a:gd name="connsiteX5751" fmla="*/ 1420789 w 7631184"/>
              <a:gd name="connsiteY5751" fmla="*/ 166078 h 6858054"/>
              <a:gd name="connsiteX5752" fmla="*/ 1440327 w 7631184"/>
              <a:gd name="connsiteY5752" fmla="*/ 175848 h 6858054"/>
              <a:gd name="connsiteX5753" fmla="*/ 1450095 w 7631184"/>
              <a:gd name="connsiteY5753" fmla="*/ 175848 h 6858054"/>
              <a:gd name="connsiteX5754" fmla="*/ 1459864 w 7631184"/>
              <a:gd name="connsiteY5754" fmla="*/ 175848 h 6858054"/>
              <a:gd name="connsiteX5755" fmla="*/ 1479401 w 7631184"/>
              <a:gd name="connsiteY5755" fmla="*/ 166078 h 6858054"/>
              <a:gd name="connsiteX5756" fmla="*/ 1508707 w 7631184"/>
              <a:gd name="connsiteY5756" fmla="*/ 166078 h 6858054"/>
              <a:gd name="connsiteX5757" fmla="*/ 1528244 w 7631184"/>
              <a:gd name="connsiteY5757" fmla="*/ 166078 h 6858054"/>
              <a:gd name="connsiteX5758" fmla="*/ 1538013 w 7631184"/>
              <a:gd name="connsiteY5758" fmla="*/ 166078 h 6858054"/>
              <a:gd name="connsiteX5759" fmla="*/ 1547781 w 7631184"/>
              <a:gd name="connsiteY5759" fmla="*/ 166078 h 6858054"/>
              <a:gd name="connsiteX5760" fmla="*/ 1577087 w 7631184"/>
              <a:gd name="connsiteY5760" fmla="*/ 166078 h 6858054"/>
              <a:gd name="connsiteX5761" fmla="*/ 1606393 w 7631184"/>
              <a:gd name="connsiteY5761" fmla="*/ 166078 h 6858054"/>
              <a:gd name="connsiteX5762" fmla="*/ 1665005 w 7631184"/>
              <a:gd name="connsiteY5762" fmla="*/ 166078 h 6858054"/>
              <a:gd name="connsiteX5763" fmla="*/ 1713848 w 7631184"/>
              <a:gd name="connsiteY5763" fmla="*/ 175848 h 6858054"/>
              <a:gd name="connsiteX5764" fmla="*/ 1743154 w 7631184"/>
              <a:gd name="connsiteY5764" fmla="*/ 175848 h 6858054"/>
              <a:gd name="connsiteX5765" fmla="*/ 1772459 w 7631184"/>
              <a:gd name="connsiteY5765" fmla="*/ 175848 h 6858054"/>
              <a:gd name="connsiteX5766" fmla="*/ 1791997 w 7631184"/>
              <a:gd name="connsiteY5766" fmla="*/ 175848 h 6858054"/>
              <a:gd name="connsiteX5767" fmla="*/ 1782228 w 7631184"/>
              <a:gd name="connsiteY5767" fmla="*/ 175848 h 6858054"/>
              <a:gd name="connsiteX5768" fmla="*/ 1772459 w 7631184"/>
              <a:gd name="connsiteY5768" fmla="*/ 166078 h 6858054"/>
              <a:gd name="connsiteX5769" fmla="*/ 1733385 w 7631184"/>
              <a:gd name="connsiteY5769" fmla="*/ 166078 h 6858054"/>
              <a:gd name="connsiteX5770" fmla="*/ 1704079 w 7631184"/>
              <a:gd name="connsiteY5770" fmla="*/ 166078 h 6858054"/>
              <a:gd name="connsiteX5771" fmla="*/ 1674773 w 7631184"/>
              <a:gd name="connsiteY5771" fmla="*/ 156309 h 6858054"/>
              <a:gd name="connsiteX5772" fmla="*/ 1679658 w 7631184"/>
              <a:gd name="connsiteY5772" fmla="*/ 156309 h 6858054"/>
              <a:gd name="connsiteX5773" fmla="*/ 1694310 w 7631184"/>
              <a:gd name="connsiteY5773" fmla="*/ 156309 h 6858054"/>
              <a:gd name="connsiteX5774" fmla="*/ 1704079 w 7631184"/>
              <a:gd name="connsiteY5774" fmla="*/ 156309 h 6858054"/>
              <a:gd name="connsiteX5775" fmla="*/ 1723616 w 7631184"/>
              <a:gd name="connsiteY5775" fmla="*/ 156309 h 6858054"/>
              <a:gd name="connsiteX5776" fmla="*/ 1733385 w 7631184"/>
              <a:gd name="connsiteY5776" fmla="*/ 156309 h 6858054"/>
              <a:gd name="connsiteX5777" fmla="*/ 1733385 w 7631184"/>
              <a:gd name="connsiteY5777" fmla="*/ 146540 h 6858054"/>
              <a:gd name="connsiteX5778" fmla="*/ 1713848 w 7631184"/>
              <a:gd name="connsiteY5778" fmla="*/ 136770 h 6858054"/>
              <a:gd name="connsiteX5779" fmla="*/ 1723616 w 7631184"/>
              <a:gd name="connsiteY5779" fmla="*/ 136770 h 6858054"/>
              <a:gd name="connsiteX5780" fmla="*/ 1743154 w 7631184"/>
              <a:gd name="connsiteY5780" fmla="*/ 136770 h 6858054"/>
              <a:gd name="connsiteX5781" fmla="*/ 1762691 w 7631184"/>
              <a:gd name="connsiteY5781" fmla="*/ 146540 h 6858054"/>
              <a:gd name="connsiteX5782" fmla="*/ 1772459 w 7631184"/>
              <a:gd name="connsiteY5782" fmla="*/ 146540 h 6858054"/>
              <a:gd name="connsiteX5783" fmla="*/ 1791997 w 7631184"/>
              <a:gd name="connsiteY5783" fmla="*/ 146540 h 6858054"/>
              <a:gd name="connsiteX5784" fmla="*/ 1801765 w 7631184"/>
              <a:gd name="connsiteY5784" fmla="*/ 156309 h 6858054"/>
              <a:gd name="connsiteX5785" fmla="*/ 1801765 w 7631184"/>
              <a:gd name="connsiteY5785" fmla="*/ 146540 h 6858054"/>
              <a:gd name="connsiteX5786" fmla="*/ 1811534 w 7631184"/>
              <a:gd name="connsiteY5786" fmla="*/ 146540 h 6858054"/>
              <a:gd name="connsiteX5787" fmla="*/ 1821302 w 7631184"/>
              <a:gd name="connsiteY5787" fmla="*/ 156309 h 6858054"/>
              <a:gd name="connsiteX5788" fmla="*/ 1850608 w 7631184"/>
              <a:gd name="connsiteY5788" fmla="*/ 156309 h 6858054"/>
              <a:gd name="connsiteX5789" fmla="*/ 1860377 w 7631184"/>
              <a:gd name="connsiteY5789" fmla="*/ 156309 h 6858054"/>
              <a:gd name="connsiteX5790" fmla="*/ 1889683 w 7631184"/>
              <a:gd name="connsiteY5790" fmla="*/ 166078 h 6858054"/>
              <a:gd name="connsiteX5791" fmla="*/ 1928757 w 7631184"/>
              <a:gd name="connsiteY5791" fmla="*/ 175848 h 6858054"/>
              <a:gd name="connsiteX5792" fmla="*/ 1948294 w 7631184"/>
              <a:gd name="connsiteY5792" fmla="*/ 175848 h 6858054"/>
              <a:gd name="connsiteX5793" fmla="*/ 1958063 w 7631184"/>
              <a:gd name="connsiteY5793" fmla="*/ 175848 h 6858054"/>
              <a:gd name="connsiteX5794" fmla="*/ 1987369 w 7631184"/>
              <a:gd name="connsiteY5794" fmla="*/ 175848 h 6858054"/>
              <a:gd name="connsiteX5795" fmla="*/ 2016675 w 7631184"/>
              <a:gd name="connsiteY5795" fmla="*/ 175848 h 6858054"/>
              <a:gd name="connsiteX5796" fmla="*/ 2026443 w 7631184"/>
              <a:gd name="connsiteY5796" fmla="*/ 185617 h 6858054"/>
              <a:gd name="connsiteX5797" fmla="*/ 2055749 w 7631184"/>
              <a:gd name="connsiteY5797" fmla="*/ 195386 h 6858054"/>
              <a:gd name="connsiteX5798" fmla="*/ 2075286 w 7631184"/>
              <a:gd name="connsiteY5798" fmla="*/ 195386 h 6858054"/>
              <a:gd name="connsiteX5799" fmla="*/ 2104592 w 7631184"/>
              <a:gd name="connsiteY5799" fmla="*/ 195386 h 6858054"/>
              <a:gd name="connsiteX5800" fmla="*/ 2143667 w 7631184"/>
              <a:gd name="connsiteY5800" fmla="*/ 205156 h 6858054"/>
              <a:gd name="connsiteX5801" fmla="*/ 2172972 w 7631184"/>
              <a:gd name="connsiteY5801" fmla="*/ 205156 h 6858054"/>
              <a:gd name="connsiteX5802" fmla="*/ 2182741 w 7631184"/>
              <a:gd name="connsiteY5802" fmla="*/ 214925 h 6858054"/>
              <a:gd name="connsiteX5803" fmla="*/ 2192510 w 7631184"/>
              <a:gd name="connsiteY5803" fmla="*/ 214925 h 6858054"/>
              <a:gd name="connsiteX5804" fmla="*/ 2202278 w 7631184"/>
              <a:gd name="connsiteY5804" fmla="*/ 205156 h 6858054"/>
              <a:gd name="connsiteX5805" fmla="*/ 2192510 w 7631184"/>
              <a:gd name="connsiteY5805" fmla="*/ 195386 h 6858054"/>
              <a:gd name="connsiteX5806" fmla="*/ 2221815 w 7631184"/>
              <a:gd name="connsiteY5806" fmla="*/ 195386 h 6858054"/>
              <a:gd name="connsiteX5807" fmla="*/ 2241353 w 7631184"/>
              <a:gd name="connsiteY5807" fmla="*/ 205156 h 6858054"/>
              <a:gd name="connsiteX5808" fmla="*/ 2260890 w 7631184"/>
              <a:gd name="connsiteY5808" fmla="*/ 205156 h 6858054"/>
              <a:gd name="connsiteX5809" fmla="*/ 2270659 w 7631184"/>
              <a:gd name="connsiteY5809" fmla="*/ 214925 h 6858054"/>
              <a:gd name="connsiteX5810" fmla="*/ 2309733 w 7631184"/>
              <a:gd name="connsiteY5810" fmla="*/ 214925 h 6858054"/>
              <a:gd name="connsiteX5811" fmla="*/ 2319502 w 7631184"/>
              <a:gd name="connsiteY5811" fmla="*/ 214925 h 6858054"/>
              <a:gd name="connsiteX5812" fmla="*/ 2329270 w 7631184"/>
              <a:gd name="connsiteY5812" fmla="*/ 214925 h 6858054"/>
              <a:gd name="connsiteX5813" fmla="*/ 2348807 w 7631184"/>
              <a:gd name="connsiteY5813" fmla="*/ 214925 h 6858054"/>
              <a:gd name="connsiteX5814" fmla="*/ 2367124 w 7631184"/>
              <a:gd name="connsiteY5814" fmla="*/ 214925 h 6858054"/>
              <a:gd name="connsiteX5815" fmla="*/ 2368345 w 7631184"/>
              <a:gd name="connsiteY5815" fmla="*/ 214925 h 6858054"/>
              <a:gd name="connsiteX5816" fmla="*/ 2378113 w 7631184"/>
              <a:gd name="connsiteY5816" fmla="*/ 214925 h 6858054"/>
              <a:gd name="connsiteX5817" fmla="*/ 2387882 w 7631184"/>
              <a:gd name="connsiteY5817" fmla="*/ 214925 h 6858054"/>
              <a:gd name="connsiteX5818" fmla="*/ 2407419 w 7631184"/>
              <a:gd name="connsiteY5818" fmla="*/ 224694 h 6858054"/>
              <a:gd name="connsiteX5819" fmla="*/ 2368345 w 7631184"/>
              <a:gd name="connsiteY5819" fmla="*/ 205156 h 6858054"/>
              <a:gd name="connsiteX5820" fmla="*/ 2329270 w 7631184"/>
              <a:gd name="connsiteY5820" fmla="*/ 205156 h 6858054"/>
              <a:gd name="connsiteX5821" fmla="*/ 2309733 w 7631184"/>
              <a:gd name="connsiteY5821" fmla="*/ 195386 h 6858054"/>
              <a:gd name="connsiteX5822" fmla="*/ 2290196 w 7631184"/>
              <a:gd name="connsiteY5822" fmla="*/ 195386 h 6858054"/>
              <a:gd name="connsiteX5823" fmla="*/ 2270659 w 7631184"/>
              <a:gd name="connsiteY5823" fmla="*/ 195386 h 6858054"/>
              <a:gd name="connsiteX5824" fmla="*/ 2251121 w 7631184"/>
              <a:gd name="connsiteY5824" fmla="*/ 185617 h 6858054"/>
              <a:gd name="connsiteX5825" fmla="*/ 2241353 w 7631184"/>
              <a:gd name="connsiteY5825" fmla="*/ 185617 h 6858054"/>
              <a:gd name="connsiteX5826" fmla="*/ 2231584 w 7631184"/>
              <a:gd name="connsiteY5826" fmla="*/ 185617 h 6858054"/>
              <a:gd name="connsiteX5827" fmla="*/ 2212047 w 7631184"/>
              <a:gd name="connsiteY5827" fmla="*/ 175848 h 6858054"/>
              <a:gd name="connsiteX5828" fmla="*/ 2172972 w 7631184"/>
              <a:gd name="connsiteY5828" fmla="*/ 175848 h 6858054"/>
              <a:gd name="connsiteX5829" fmla="*/ 2153435 w 7631184"/>
              <a:gd name="connsiteY5829" fmla="*/ 166078 h 6858054"/>
              <a:gd name="connsiteX5830" fmla="*/ 2143667 w 7631184"/>
              <a:gd name="connsiteY5830" fmla="*/ 166078 h 6858054"/>
              <a:gd name="connsiteX5831" fmla="*/ 2133898 w 7631184"/>
              <a:gd name="connsiteY5831" fmla="*/ 166078 h 6858054"/>
              <a:gd name="connsiteX5832" fmla="*/ 2094824 w 7631184"/>
              <a:gd name="connsiteY5832" fmla="*/ 166078 h 6858054"/>
              <a:gd name="connsiteX5833" fmla="*/ 2075286 w 7631184"/>
              <a:gd name="connsiteY5833" fmla="*/ 156309 h 6858054"/>
              <a:gd name="connsiteX5834" fmla="*/ 2045980 w 7631184"/>
              <a:gd name="connsiteY5834" fmla="*/ 156309 h 6858054"/>
              <a:gd name="connsiteX5835" fmla="*/ 1997137 w 7631184"/>
              <a:gd name="connsiteY5835" fmla="*/ 146540 h 6858054"/>
              <a:gd name="connsiteX5836" fmla="*/ 2016675 w 7631184"/>
              <a:gd name="connsiteY5836" fmla="*/ 146540 h 6858054"/>
              <a:gd name="connsiteX5837" fmla="*/ 2036212 w 7631184"/>
              <a:gd name="connsiteY5837" fmla="*/ 146540 h 6858054"/>
              <a:gd name="connsiteX5838" fmla="*/ 2026443 w 7631184"/>
              <a:gd name="connsiteY5838" fmla="*/ 146540 h 6858054"/>
              <a:gd name="connsiteX5839" fmla="*/ 1977600 w 7631184"/>
              <a:gd name="connsiteY5839" fmla="*/ 136770 h 6858054"/>
              <a:gd name="connsiteX5840" fmla="*/ 2026443 w 7631184"/>
              <a:gd name="connsiteY5840" fmla="*/ 136770 h 6858054"/>
              <a:gd name="connsiteX5841" fmla="*/ 2045980 w 7631184"/>
              <a:gd name="connsiteY5841" fmla="*/ 146540 h 6858054"/>
              <a:gd name="connsiteX5842" fmla="*/ 2065518 w 7631184"/>
              <a:gd name="connsiteY5842" fmla="*/ 146540 h 6858054"/>
              <a:gd name="connsiteX5843" fmla="*/ 2075286 w 7631184"/>
              <a:gd name="connsiteY5843" fmla="*/ 136770 h 6858054"/>
              <a:gd name="connsiteX5844" fmla="*/ 2036212 w 7631184"/>
              <a:gd name="connsiteY5844" fmla="*/ 127001 h 6858054"/>
              <a:gd name="connsiteX5845" fmla="*/ 1997137 w 7631184"/>
              <a:gd name="connsiteY5845" fmla="*/ 127001 h 6858054"/>
              <a:gd name="connsiteX5846" fmla="*/ 1987369 w 7631184"/>
              <a:gd name="connsiteY5846" fmla="*/ 117232 h 6858054"/>
              <a:gd name="connsiteX5847" fmla="*/ 1997137 w 7631184"/>
              <a:gd name="connsiteY5847" fmla="*/ 117232 h 6858054"/>
              <a:gd name="connsiteX5848" fmla="*/ 1977600 w 7631184"/>
              <a:gd name="connsiteY5848" fmla="*/ 107462 h 6858054"/>
              <a:gd name="connsiteX5849" fmla="*/ 1967832 w 7631184"/>
              <a:gd name="connsiteY5849" fmla="*/ 107462 h 6858054"/>
              <a:gd name="connsiteX5850" fmla="*/ 1948294 w 7631184"/>
              <a:gd name="connsiteY5850" fmla="*/ 107462 h 6858054"/>
              <a:gd name="connsiteX5851" fmla="*/ 1948294 w 7631184"/>
              <a:gd name="connsiteY5851" fmla="*/ 97693 h 6858054"/>
              <a:gd name="connsiteX5852" fmla="*/ 1951958 w 7631184"/>
              <a:gd name="connsiteY5852" fmla="*/ 97693 h 6858054"/>
              <a:gd name="connsiteX5853" fmla="*/ 1958063 w 7631184"/>
              <a:gd name="connsiteY5853" fmla="*/ 97693 h 6858054"/>
              <a:gd name="connsiteX5854" fmla="*/ 1967832 w 7631184"/>
              <a:gd name="connsiteY5854" fmla="*/ 97693 h 6858054"/>
              <a:gd name="connsiteX5855" fmla="*/ 1977600 w 7631184"/>
              <a:gd name="connsiteY5855" fmla="*/ 97693 h 6858054"/>
              <a:gd name="connsiteX5856" fmla="*/ 1987369 w 7631184"/>
              <a:gd name="connsiteY5856" fmla="*/ 97693 h 6858054"/>
              <a:gd name="connsiteX5857" fmla="*/ 1997137 w 7631184"/>
              <a:gd name="connsiteY5857" fmla="*/ 97693 h 6858054"/>
              <a:gd name="connsiteX5858" fmla="*/ 1977600 w 7631184"/>
              <a:gd name="connsiteY5858" fmla="*/ 87924 h 6858054"/>
              <a:gd name="connsiteX5859" fmla="*/ 1967832 w 7631184"/>
              <a:gd name="connsiteY5859" fmla="*/ 87924 h 6858054"/>
              <a:gd name="connsiteX5860" fmla="*/ 1938526 w 7631184"/>
              <a:gd name="connsiteY5860" fmla="*/ 78155 h 6858054"/>
              <a:gd name="connsiteX5861" fmla="*/ 1909220 w 7631184"/>
              <a:gd name="connsiteY5861" fmla="*/ 78155 h 6858054"/>
              <a:gd name="connsiteX5862" fmla="*/ 1889683 w 7631184"/>
              <a:gd name="connsiteY5862" fmla="*/ 68385 h 6858054"/>
              <a:gd name="connsiteX5863" fmla="*/ 1879914 w 7631184"/>
              <a:gd name="connsiteY5863" fmla="*/ 68385 h 6858054"/>
              <a:gd name="connsiteX5864" fmla="*/ 1870145 w 7631184"/>
              <a:gd name="connsiteY5864" fmla="*/ 58616 h 6858054"/>
              <a:gd name="connsiteX5865" fmla="*/ 1879914 w 7631184"/>
              <a:gd name="connsiteY5865" fmla="*/ 58616 h 6858054"/>
              <a:gd name="connsiteX5866" fmla="*/ 1889683 w 7631184"/>
              <a:gd name="connsiteY5866" fmla="*/ 58616 h 6858054"/>
              <a:gd name="connsiteX5867" fmla="*/ 1909220 w 7631184"/>
              <a:gd name="connsiteY5867" fmla="*/ 68385 h 6858054"/>
              <a:gd name="connsiteX5868" fmla="*/ 1918988 w 7631184"/>
              <a:gd name="connsiteY5868" fmla="*/ 68385 h 6858054"/>
              <a:gd name="connsiteX5869" fmla="*/ 1928757 w 7631184"/>
              <a:gd name="connsiteY5869" fmla="*/ 68385 h 6858054"/>
              <a:gd name="connsiteX5870" fmla="*/ 1938526 w 7631184"/>
              <a:gd name="connsiteY5870" fmla="*/ 68385 h 6858054"/>
              <a:gd name="connsiteX5871" fmla="*/ 1948294 w 7631184"/>
              <a:gd name="connsiteY5871" fmla="*/ 68385 h 6858054"/>
              <a:gd name="connsiteX5872" fmla="*/ 1958063 w 7631184"/>
              <a:gd name="connsiteY5872" fmla="*/ 68385 h 6858054"/>
              <a:gd name="connsiteX5873" fmla="*/ 1967832 w 7631184"/>
              <a:gd name="connsiteY5873" fmla="*/ 68385 h 6858054"/>
              <a:gd name="connsiteX5874" fmla="*/ 1977600 w 7631184"/>
              <a:gd name="connsiteY5874" fmla="*/ 68385 h 6858054"/>
              <a:gd name="connsiteX5875" fmla="*/ 1987369 w 7631184"/>
              <a:gd name="connsiteY5875" fmla="*/ 68385 h 6858054"/>
              <a:gd name="connsiteX5876" fmla="*/ 1997137 w 7631184"/>
              <a:gd name="connsiteY5876" fmla="*/ 78155 h 6858054"/>
              <a:gd name="connsiteX5877" fmla="*/ 2006906 w 7631184"/>
              <a:gd name="connsiteY5877" fmla="*/ 78155 h 6858054"/>
              <a:gd name="connsiteX5878" fmla="*/ 2026443 w 7631184"/>
              <a:gd name="connsiteY5878" fmla="*/ 78155 h 6858054"/>
              <a:gd name="connsiteX5879" fmla="*/ 2045980 w 7631184"/>
              <a:gd name="connsiteY5879" fmla="*/ 78155 h 6858054"/>
              <a:gd name="connsiteX5880" fmla="*/ 2065518 w 7631184"/>
              <a:gd name="connsiteY5880" fmla="*/ 78155 h 6858054"/>
              <a:gd name="connsiteX5881" fmla="*/ 2075286 w 7631184"/>
              <a:gd name="connsiteY5881" fmla="*/ 87924 h 6858054"/>
              <a:gd name="connsiteX5882" fmla="*/ 2104592 w 7631184"/>
              <a:gd name="connsiteY5882" fmla="*/ 87924 h 6858054"/>
              <a:gd name="connsiteX5883" fmla="*/ 2114361 w 7631184"/>
              <a:gd name="connsiteY5883" fmla="*/ 87924 h 6858054"/>
              <a:gd name="connsiteX5884" fmla="*/ 2153435 w 7631184"/>
              <a:gd name="connsiteY5884" fmla="*/ 97693 h 6858054"/>
              <a:gd name="connsiteX5885" fmla="*/ 2163204 w 7631184"/>
              <a:gd name="connsiteY5885" fmla="*/ 97693 h 6858054"/>
              <a:gd name="connsiteX5886" fmla="*/ 2172972 w 7631184"/>
              <a:gd name="connsiteY5886" fmla="*/ 97693 h 6858054"/>
              <a:gd name="connsiteX5887" fmla="*/ 2182741 w 7631184"/>
              <a:gd name="connsiteY5887" fmla="*/ 97693 h 6858054"/>
              <a:gd name="connsiteX5888" fmla="*/ 2192510 w 7631184"/>
              <a:gd name="connsiteY5888" fmla="*/ 107462 h 6858054"/>
              <a:gd name="connsiteX5889" fmla="*/ 2192510 w 7631184"/>
              <a:gd name="connsiteY5889" fmla="*/ 117232 h 6858054"/>
              <a:gd name="connsiteX5890" fmla="*/ 2182741 w 7631184"/>
              <a:gd name="connsiteY5890" fmla="*/ 107462 h 6858054"/>
              <a:gd name="connsiteX5891" fmla="*/ 2172972 w 7631184"/>
              <a:gd name="connsiteY5891" fmla="*/ 107462 h 6858054"/>
              <a:gd name="connsiteX5892" fmla="*/ 2153435 w 7631184"/>
              <a:gd name="connsiteY5892" fmla="*/ 107462 h 6858054"/>
              <a:gd name="connsiteX5893" fmla="*/ 2124129 w 7631184"/>
              <a:gd name="connsiteY5893" fmla="*/ 97693 h 6858054"/>
              <a:gd name="connsiteX5894" fmla="*/ 2114361 w 7631184"/>
              <a:gd name="connsiteY5894" fmla="*/ 97693 h 6858054"/>
              <a:gd name="connsiteX5895" fmla="*/ 2114361 w 7631184"/>
              <a:gd name="connsiteY5895" fmla="*/ 107462 h 6858054"/>
              <a:gd name="connsiteX5896" fmla="*/ 2094824 w 7631184"/>
              <a:gd name="connsiteY5896" fmla="*/ 97693 h 6858054"/>
              <a:gd name="connsiteX5897" fmla="*/ 2085055 w 7631184"/>
              <a:gd name="connsiteY5897" fmla="*/ 97693 h 6858054"/>
              <a:gd name="connsiteX5898" fmla="*/ 2075286 w 7631184"/>
              <a:gd name="connsiteY5898" fmla="*/ 97693 h 6858054"/>
              <a:gd name="connsiteX5899" fmla="*/ 2055749 w 7631184"/>
              <a:gd name="connsiteY5899" fmla="*/ 87924 h 6858054"/>
              <a:gd name="connsiteX5900" fmla="*/ 2036212 w 7631184"/>
              <a:gd name="connsiteY5900" fmla="*/ 87924 h 6858054"/>
              <a:gd name="connsiteX5901" fmla="*/ 2055749 w 7631184"/>
              <a:gd name="connsiteY5901" fmla="*/ 97693 h 6858054"/>
              <a:gd name="connsiteX5902" fmla="*/ 2075286 w 7631184"/>
              <a:gd name="connsiteY5902" fmla="*/ 107462 h 6858054"/>
              <a:gd name="connsiteX5903" fmla="*/ 2085055 w 7631184"/>
              <a:gd name="connsiteY5903" fmla="*/ 107462 h 6858054"/>
              <a:gd name="connsiteX5904" fmla="*/ 2094824 w 7631184"/>
              <a:gd name="connsiteY5904" fmla="*/ 107462 h 6858054"/>
              <a:gd name="connsiteX5905" fmla="*/ 2114361 w 7631184"/>
              <a:gd name="connsiteY5905" fmla="*/ 107462 h 6858054"/>
              <a:gd name="connsiteX5906" fmla="*/ 2163204 w 7631184"/>
              <a:gd name="connsiteY5906" fmla="*/ 127001 h 6858054"/>
              <a:gd name="connsiteX5907" fmla="*/ 2182741 w 7631184"/>
              <a:gd name="connsiteY5907" fmla="*/ 127001 h 6858054"/>
              <a:gd name="connsiteX5908" fmla="*/ 2192510 w 7631184"/>
              <a:gd name="connsiteY5908" fmla="*/ 127001 h 6858054"/>
              <a:gd name="connsiteX5909" fmla="*/ 2202278 w 7631184"/>
              <a:gd name="connsiteY5909" fmla="*/ 136770 h 6858054"/>
              <a:gd name="connsiteX5910" fmla="*/ 2251121 w 7631184"/>
              <a:gd name="connsiteY5910" fmla="*/ 146540 h 6858054"/>
              <a:gd name="connsiteX5911" fmla="*/ 2280427 w 7631184"/>
              <a:gd name="connsiteY5911" fmla="*/ 146540 h 6858054"/>
              <a:gd name="connsiteX5912" fmla="*/ 2290196 w 7631184"/>
              <a:gd name="connsiteY5912" fmla="*/ 146540 h 6858054"/>
              <a:gd name="connsiteX5913" fmla="*/ 2309733 w 7631184"/>
              <a:gd name="connsiteY5913" fmla="*/ 156309 h 6858054"/>
              <a:gd name="connsiteX5914" fmla="*/ 2329270 w 7631184"/>
              <a:gd name="connsiteY5914" fmla="*/ 156309 h 6858054"/>
              <a:gd name="connsiteX5915" fmla="*/ 2339039 w 7631184"/>
              <a:gd name="connsiteY5915" fmla="*/ 156309 h 6858054"/>
              <a:gd name="connsiteX5916" fmla="*/ 2348807 w 7631184"/>
              <a:gd name="connsiteY5916" fmla="*/ 166078 h 6858054"/>
              <a:gd name="connsiteX5917" fmla="*/ 2378113 w 7631184"/>
              <a:gd name="connsiteY5917" fmla="*/ 175848 h 6858054"/>
              <a:gd name="connsiteX5918" fmla="*/ 2397650 w 7631184"/>
              <a:gd name="connsiteY5918" fmla="*/ 175848 h 6858054"/>
              <a:gd name="connsiteX5919" fmla="*/ 2426956 w 7631184"/>
              <a:gd name="connsiteY5919" fmla="*/ 185617 h 6858054"/>
              <a:gd name="connsiteX5920" fmla="*/ 2446494 w 7631184"/>
              <a:gd name="connsiteY5920" fmla="*/ 185617 h 6858054"/>
              <a:gd name="connsiteX5921" fmla="*/ 2456262 w 7631184"/>
              <a:gd name="connsiteY5921" fmla="*/ 185617 h 6858054"/>
              <a:gd name="connsiteX5922" fmla="*/ 2475799 w 7631184"/>
              <a:gd name="connsiteY5922" fmla="*/ 185617 h 6858054"/>
              <a:gd name="connsiteX5923" fmla="*/ 2456262 w 7631184"/>
              <a:gd name="connsiteY5923" fmla="*/ 175848 h 6858054"/>
              <a:gd name="connsiteX5924" fmla="*/ 2436725 w 7631184"/>
              <a:gd name="connsiteY5924" fmla="*/ 166078 h 6858054"/>
              <a:gd name="connsiteX5925" fmla="*/ 2368345 w 7631184"/>
              <a:gd name="connsiteY5925" fmla="*/ 146540 h 6858054"/>
              <a:gd name="connsiteX5926" fmla="*/ 2329270 w 7631184"/>
              <a:gd name="connsiteY5926" fmla="*/ 136770 h 6858054"/>
              <a:gd name="connsiteX5927" fmla="*/ 2339039 w 7631184"/>
              <a:gd name="connsiteY5927" fmla="*/ 136770 h 6858054"/>
              <a:gd name="connsiteX5928" fmla="*/ 2348807 w 7631184"/>
              <a:gd name="connsiteY5928" fmla="*/ 136770 h 6858054"/>
              <a:gd name="connsiteX5929" fmla="*/ 2339039 w 7631184"/>
              <a:gd name="connsiteY5929" fmla="*/ 127001 h 6858054"/>
              <a:gd name="connsiteX5930" fmla="*/ 2309733 w 7631184"/>
              <a:gd name="connsiteY5930" fmla="*/ 117232 h 6858054"/>
              <a:gd name="connsiteX5931" fmla="*/ 2339039 w 7631184"/>
              <a:gd name="connsiteY5931" fmla="*/ 117232 h 6858054"/>
              <a:gd name="connsiteX5932" fmla="*/ 2358576 w 7631184"/>
              <a:gd name="connsiteY5932" fmla="*/ 127001 h 6858054"/>
              <a:gd name="connsiteX5933" fmla="*/ 2378113 w 7631184"/>
              <a:gd name="connsiteY5933" fmla="*/ 127001 h 6858054"/>
              <a:gd name="connsiteX5934" fmla="*/ 2397650 w 7631184"/>
              <a:gd name="connsiteY5934" fmla="*/ 127001 h 6858054"/>
              <a:gd name="connsiteX5935" fmla="*/ 2417188 w 7631184"/>
              <a:gd name="connsiteY5935" fmla="*/ 136770 h 6858054"/>
              <a:gd name="connsiteX5936" fmla="*/ 2436725 w 7631184"/>
              <a:gd name="connsiteY5936" fmla="*/ 146540 h 6858054"/>
              <a:gd name="connsiteX5937" fmla="*/ 2456262 w 7631184"/>
              <a:gd name="connsiteY5937" fmla="*/ 146540 h 6858054"/>
              <a:gd name="connsiteX5938" fmla="*/ 2466031 w 7631184"/>
              <a:gd name="connsiteY5938" fmla="*/ 146540 h 6858054"/>
              <a:gd name="connsiteX5939" fmla="*/ 2485568 w 7631184"/>
              <a:gd name="connsiteY5939" fmla="*/ 156309 h 6858054"/>
              <a:gd name="connsiteX5940" fmla="*/ 2495337 w 7631184"/>
              <a:gd name="connsiteY5940" fmla="*/ 146540 h 6858054"/>
              <a:gd name="connsiteX5941" fmla="*/ 2475799 w 7631184"/>
              <a:gd name="connsiteY5941" fmla="*/ 136770 h 6858054"/>
              <a:gd name="connsiteX5942" fmla="*/ 2397650 w 7631184"/>
              <a:gd name="connsiteY5942" fmla="*/ 127001 h 6858054"/>
              <a:gd name="connsiteX5943" fmla="*/ 2368345 w 7631184"/>
              <a:gd name="connsiteY5943" fmla="*/ 117232 h 6858054"/>
              <a:gd name="connsiteX5944" fmla="*/ 2358576 w 7631184"/>
              <a:gd name="connsiteY5944" fmla="*/ 117232 h 6858054"/>
              <a:gd name="connsiteX5945" fmla="*/ 2339039 w 7631184"/>
              <a:gd name="connsiteY5945" fmla="*/ 107462 h 6858054"/>
              <a:gd name="connsiteX5946" fmla="*/ 2309733 w 7631184"/>
              <a:gd name="connsiteY5946" fmla="*/ 107462 h 6858054"/>
              <a:gd name="connsiteX5947" fmla="*/ 2290196 w 7631184"/>
              <a:gd name="connsiteY5947" fmla="*/ 107462 h 6858054"/>
              <a:gd name="connsiteX5948" fmla="*/ 2270659 w 7631184"/>
              <a:gd name="connsiteY5948" fmla="*/ 107462 h 6858054"/>
              <a:gd name="connsiteX5949" fmla="*/ 2260890 w 7631184"/>
              <a:gd name="connsiteY5949" fmla="*/ 97693 h 6858054"/>
              <a:gd name="connsiteX5950" fmla="*/ 2251121 w 7631184"/>
              <a:gd name="connsiteY5950" fmla="*/ 97693 h 6858054"/>
              <a:gd name="connsiteX5951" fmla="*/ 2221815 w 7631184"/>
              <a:gd name="connsiteY5951" fmla="*/ 97693 h 6858054"/>
              <a:gd name="connsiteX5952" fmla="*/ 2143667 w 7631184"/>
              <a:gd name="connsiteY5952" fmla="*/ 78155 h 6858054"/>
              <a:gd name="connsiteX5953" fmla="*/ 2124129 w 7631184"/>
              <a:gd name="connsiteY5953" fmla="*/ 68385 h 6858054"/>
              <a:gd name="connsiteX5954" fmla="*/ 2104592 w 7631184"/>
              <a:gd name="connsiteY5954" fmla="*/ 68385 h 6858054"/>
              <a:gd name="connsiteX5955" fmla="*/ 2094824 w 7631184"/>
              <a:gd name="connsiteY5955" fmla="*/ 68385 h 6858054"/>
              <a:gd name="connsiteX5956" fmla="*/ 2085055 w 7631184"/>
              <a:gd name="connsiteY5956" fmla="*/ 68385 h 6858054"/>
              <a:gd name="connsiteX5957" fmla="*/ 2075286 w 7631184"/>
              <a:gd name="connsiteY5957" fmla="*/ 58616 h 6858054"/>
              <a:gd name="connsiteX5958" fmla="*/ 2045980 w 7631184"/>
              <a:gd name="connsiteY5958" fmla="*/ 58616 h 6858054"/>
              <a:gd name="connsiteX5959" fmla="*/ 2026443 w 7631184"/>
              <a:gd name="connsiteY5959" fmla="*/ 48846 h 6858054"/>
              <a:gd name="connsiteX5960" fmla="*/ 1977600 w 7631184"/>
              <a:gd name="connsiteY5960" fmla="*/ 39077 h 6858054"/>
              <a:gd name="connsiteX5961" fmla="*/ 1958063 w 7631184"/>
              <a:gd name="connsiteY5961" fmla="*/ 29308 h 6858054"/>
              <a:gd name="connsiteX5962" fmla="*/ 1938526 w 7631184"/>
              <a:gd name="connsiteY5962" fmla="*/ 19539 h 6858054"/>
              <a:gd name="connsiteX5963" fmla="*/ 1909220 w 7631184"/>
              <a:gd name="connsiteY5963" fmla="*/ 19539 h 6858054"/>
              <a:gd name="connsiteX5964" fmla="*/ 1889683 w 7631184"/>
              <a:gd name="connsiteY5964" fmla="*/ 19539 h 6858054"/>
              <a:gd name="connsiteX5965" fmla="*/ 1870145 w 7631184"/>
              <a:gd name="connsiteY5965" fmla="*/ 9769 h 6858054"/>
              <a:gd name="connsiteX5966" fmla="*/ 1860377 w 7631184"/>
              <a:gd name="connsiteY5966" fmla="*/ 9769 h 6858054"/>
              <a:gd name="connsiteX5967" fmla="*/ 1876251 w 7631184"/>
              <a:gd name="connsiteY5967" fmla="*/ 6106 h 6858054"/>
              <a:gd name="connsiteX5968" fmla="*/ 1850608 w 7631184"/>
              <a:gd name="connsiteY5968" fmla="*/ 0 h 6858054"/>
              <a:gd name="connsiteX5969" fmla="*/ 1860377 w 7631184"/>
              <a:gd name="connsiteY5969" fmla="*/ 9769 h 6858054"/>
              <a:gd name="connsiteX5970" fmla="*/ 1850608 w 7631184"/>
              <a:gd name="connsiteY5970" fmla="*/ 9769 h 6858054"/>
              <a:gd name="connsiteX5971" fmla="*/ 1840840 w 7631184"/>
              <a:gd name="connsiteY5971" fmla="*/ 9769 h 6858054"/>
              <a:gd name="connsiteX5972" fmla="*/ 1850608 w 7631184"/>
              <a:gd name="connsiteY5972" fmla="*/ 0 h 685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Lst>
            <a:rect l="l" t="t" r="r" b="b"/>
            <a:pathLst>
              <a:path w="7631184" h="6858054">
                <a:moveTo>
                  <a:pt x="5406383" y="6613821"/>
                </a:moveTo>
                <a:lnTo>
                  <a:pt x="5406383" y="6613822"/>
                </a:lnTo>
                <a:cubicBezTo>
                  <a:pt x="5411267" y="6618706"/>
                  <a:pt x="5416151" y="6623591"/>
                  <a:pt x="5416151" y="6623591"/>
                </a:cubicBezTo>
                <a:cubicBezTo>
                  <a:pt x="5416151" y="6623591"/>
                  <a:pt x="5416151" y="6623591"/>
                  <a:pt x="5406383" y="6613822"/>
                </a:cubicBezTo>
                <a:close/>
                <a:moveTo>
                  <a:pt x="5469879" y="6413551"/>
                </a:moveTo>
                <a:lnTo>
                  <a:pt x="5474763" y="6418435"/>
                </a:lnTo>
                <a:cubicBezTo>
                  <a:pt x="5474763" y="6428205"/>
                  <a:pt x="5474763" y="6428205"/>
                  <a:pt x="5474763" y="6428205"/>
                </a:cubicBezTo>
                <a:cubicBezTo>
                  <a:pt x="5474763" y="6423320"/>
                  <a:pt x="5472321" y="6418435"/>
                  <a:pt x="5469879" y="6413551"/>
                </a:cubicBezTo>
                <a:close/>
                <a:moveTo>
                  <a:pt x="5180322" y="6051994"/>
                </a:moveTo>
                <a:lnTo>
                  <a:pt x="5180484" y="6052086"/>
                </a:lnTo>
                <a:cubicBezTo>
                  <a:pt x="5181705" y="6054529"/>
                  <a:pt x="5181705" y="6056971"/>
                  <a:pt x="5181705" y="6056971"/>
                </a:cubicBezTo>
                <a:close/>
                <a:moveTo>
                  <a:pt x="5064481" y="5949509"/>
                </a:moveTo>
                <a:cubicBezTo>
                  <a:pt x="5064481" y="5949509"/>
                  <a:pt x="5074250" y="5949509"/>
                  <a:pt x="5074250" y="5959278"/>
                </a:cubicBezTo>
                <a:cubicBezTo>
                  <a:pt x="5064481" y="5949509"/>
                  <a:pt x="5064481" y="5949509"/>
                  <a:pt x="5064481" y="5949509"/>
                </a:cubicBezTo>
                <a:close/>
                <a:moveTo>
                  <a:pt x="4898415" y="5949509"/>
                </a:moveTo>
                <a:cubicBezTo>
                  <a:pt x="4908184" y="5949509"/>
                  <a:pt x="4908184" y="5959278"/>
                  <a:pt x="4908184" y="5959278"/>
                </a:cubicBezTo>
                <a:cubicBezTo>
                  <a:pt x="4908184" y="5969047"/>
                  <a:pt x="4898415" y="5959278"/>
                  <a:pt x="4898415" y="5949509"/>
                </a:cubicBezTo>
                <a:close/>
                <a:moveTo>
                  <a:pt x="4732349" y="5763892"/>
                </a:moveTo>
                <a:cubicBezTo>
                  <a:pt x="4742117" y="5773661"/>
                  <a:pt x="4742117" y="5773661"/>
                  <a:pt x="4742117" y="5773661"/>
                </a:cubicBezTo>
                <a:cubicBezTo>
                  <a:pt x="4732349" y="5763892"/>
                  <a:pt x="4732349" y="5763892"/>
                  <a:pt x="4732349" y="5763892"/>
                </a:cubicBezTo>
                <a:close/>
                <a:moveTo>
                  <a:pt x="4400216" y="5373119"/>
                </a:moveTo>
                <a:cubicBezTo>
                  <a:pt x="4400216" y="5373119"/>
                  <a:pt x="4409985" y="5373119"/>
                  <a:pt x="4409985" y="5382889"/>
                </a:cubicBezTo>
                <a:cubicBezTo>
                  <a:pt x="4400216" y="5382889"/>
                  <a:pt x="4400216" y="5373119"/>
                  <a:pt x="4400216" y="5373119"/>
                </a:cubicBezTo>
                <a:close/>
                <a:moveTo>
                  <a:pt x="5171936" y="5187503"/>
                </a:moveTo>
                <a:lnTo>
                  <a:pt x="5174378" y="5189945"/>
                </a:lnTo>
                <a:cubicBezTo>
                  <a:pt x="5176820" y="5192387"/>
                  <a:pt x="5176820" y="5192387"/>
                  <a:pt x="5171936" y="5187503"/>
                </a:cubicBezTo>
                <a:close/>
                <a:moveTo>
                  <a:pt x="4841973" y="4528617"/>
                </a:moveTo>
                <a:lnTo>
                  <a:pt x="4843467" y="4529296"/>
                </a:lnTo>
                <a:lnTo>
                  <a:pt x="4843574" y="4529531"/>
                </a:lnTo>
                <a:close/>
                <a:moveTo>
                  <a:pt x="4810498" y="4493882"/>
                </a:moveTo>
                <a:cubicBezTo>
                  <a:pt x="4810498" y="4493882"/>
                  <a:pt x="4830035" y="4513420"/>
                  <a:pt x="4839803" y="4523190"/>
                </a:cubicBezTo>
                <a:cubicBezTo>
                  <a:pt x="4839803" y="4523190"/>
                  <a:pt x="4839803" y="4525632"/>
                  <a:pt x="4841024" y="4528074"/>
                </a:cubicBezTo>
                <a:lnTo>
                  <a:pt x="4841973" y="4528617"/>
                </a:lnTo>
                <a:lnTo>
                  <a:pt x="4830035" y="4523190"/>
                </a:lnTo>
                <a:cubicBezTo>
                  <a:pt x="4820266" y="4513420"/>
                  <a:pt x="4820266" y="4503651"/>
                  <a:pt x="4810498" y="4493882"/>
                </a:cubicBezTo>
                <a:close/>
                <a:moveTo>
                  <a:pt x="7008435" y="4405958"/>
                </a:moveTo>
                <a:cubicBezTo>
                  <a:pt x="7018204" y="4415727"/>
                  <a:pt x="7027972" y="4425497"/>
                  <a:pt x="7018204" y="4425497"/>
                </a:cubicBezTo>
                <a:cubicBezTo>
                  <a:pt x="7018204" y="4425497"/>
                  <a:pt x="7018204" y="4415727"/>
                  <a:pt x="7008435" y="4415727"/>
                </a:cubicBezTo>
                <a:cubicBezTo>
                  <a:pt x="7008435" y="4415727"/>
                  <a:pt x="7008435" y="4405958"/>
                  <a:pt x="7008435" y="4405958"/>
                </a:cubicBezTo>
                <a:close/>
                <a:moveTo>
                  <a:pt x="6441856" y="4210572"/>
                </a:moveTo>
                <a:lnTo>
                  <a:pt x="6441856" y="4210572"/>
                </a:lnTo>
                <a:cubicBezTo>
                  <a:pt x="6446740" y="4215456"/>
                  <a:pt x="6446740" y="4215456"/>
                  <a:pt x="6443077" y="4211793"/>
                </a:cubicBezTo>
                <a:close/>
                <a:moveTo>
                  <a:pt x="6285558" y="4161725"/>
                </a:moveTo>
                <a:cubicBezTo>
                  <a:pt x="6285558" y="4161725"/>
                  <a:pt x="6285558" y="4161725"/>
                  <a:pt x="6295327" y="4171495"/>
                </a:cubicBezTo>
                <a:cubicBezTo>
                  <a:pt x="6295327" y="4171495"/>
                  <a:pt x="6295327" y="4171495"/>
                  <a:pt x="6285558" y="4171495"/>
                </a:cubicBezTo>
                <a:cubicBezTo>
                  <a:pt x="6285558" y="4171495"/>
                  <a:pt x="6285558" y="4171495"/>
                  <a:pt x="6285558" y="4161725"/>
                </a:cubicBezTo>
                <a:close/>
                <a:moveTo>
                  <a:pt x="6511213" y="4151956"/>
                </a:moveTo>
                <a:lnTo>
                  <a:pt x="6518784" y="4151956"/>
                </a:lnTo>
                <a:cubicBezTo>
                  <a:pt x="6520005" y="4151956"/>
                  <a:pt x="6520005" y="4151956"/>
                  <a:pt x="6520005" y="4151956"/>
                </a:cubicBezTo>
                <a:cubicBezTo>
                  <a:pt x="6520005" y="4156841"/>
                  <a:pt x="6517563" y="4156841"/>
                  <a:pt x="6513899" y="4154398"/>
                </a:cubicBezTo>
                <a:close/>
                <a:moveTo>
                  <a:pt x="6226946" y="4151956"/>
                </a:moveTo>
                <a:cubicBezTo>
                  <a:pt x="6226946" y="4151956"/>
                  <a:pt x="6226946" y="4161725"/>
                  <a:pt x="6236715" y="4161725"/>
                </a:cubicBezTo>
                <a:cubicBezTo>
                  <a:pt x="6236715" y="4161725"/>
                  <a:pt x="6236715" y="4161725"/>
                  <a:pt x="6226946" y="4161725"/>
                </a:cubicBezTo>
                <a:cubicBezTo>
                  <a:pt x="6226946" y="4161725"/>
                  <a:pt x="6226946" y="4151956"/>
                  <a:pt x="6226946" y="4151956"/>
                </a:cubicBezTo>
                <a:close/>
                <a:moveTo>
                  <a:pt x="6510236" y="4151068"/>
                </a:moveTo>
                <a:lnTo>
                  <a:pt x="6511213" y="4151956"/>
                </a:lnTo>
                <a:lnTo>
                  <a:pt x="6510236" y="4151956"/>
                </a:lnTo>
                <a:close/>
                <a:moveTo>
                  <a:pt x="6207409" y="4122648"/>
                </a:moveTo>
                <a:cubicBezTo>
                  <a:pt x="6236715" y="4142187"/>
                  <a:pt x="6256252" y="4151956"/>
                  <a:pt x="6256252" y="4142187"/>
                </a:cubicBezTo>
                <a:cubicBezTo>
                  <a:pt x="6266021" y="4142187"/>
                  <a:pt x="6285558" y="4161725"/>
                  <a:pt x="6285558" y="4171495"/>
                </a:cubicBezTo>
                <a:cubicBezTo>
                  <a:pt x="6295327" y="4171495"/>
                  <a:pt x="6295327" y="4171495"/>
                  <a:pt x="6295327" y="4181264"/>
                </a:cubicBezTo>
                <a:cubicBezTo>
                  <a:pt x="6305095" y="4181264"/>
                  <a:pt x="6305095" y="4191033"/>
                  <a:pt x="6305095" y="4191033"/>
                </a:cubicBezTo>
                <a:cubicBezTo>
                  <a:pt x="6305095" y="4191033"/>
                  <a:pt x="6314864" y="4191033"/>
                  <a:pt x="6314864" y="4191033"/>
                </a:cubicBezTo>
                <a:cubicBezTo>
                  <a:pt x="6314864" y="4191033"/>
                  <a:pt x="6324632" y="4200803"/>
                  <a:pt x="6324632" y="4200803"/>
                </a:cubicBezTo>
                <a:cubicBezTo>
                  <a:pt x="6324632" y="4210572"/>
                  <a:pt x="6324632" y="4210572"/>
                  <a:pt x="6334401" y="4200803"/>
                </a:cubicBezTo>
                <a:cubicBezTo>
                  <a:pt x="6334401" y="4200803"/>
                  <a:pt x="6344170" y="4220341"/>
                  <a:pt x="6344170" y="4220341"/>
                </a:cubicBezTo>
                <a:cubicBezTo>
                  <a:pt x="6344170" y="4230110"/>
                  <a:pt x="6353938" y="4239880"/>
                  <a:pt x="6353938" y="4239880"/>
                </a:cubicBezTo>
                <a:cubicBezTo>
                  <a:pt x="6344170" y="4239880"/>
                  <a:pt x="6344170" y="4239880"/>
                  <a:pt x="6334401" y="4230110"/>
                </a:cubicBezTo>
                <a:cubicBezTo>
                  <a:pt x="6334401" y="4230110"/>
                  <a:pt x="6324632" y="4220341"/>
                  <a:pt x="6324632" y="4220341"/>
                </a:cubicBezTo>
                <a:cubicBezTo>
                  <a:pt x="6314864" y="4220341"/>
                  <a:pt x="6314864" y="4210572"/>
                  <a:pt x="6314864" y="4210572"/>
                </a:cubicBezTo>
                <a:cubicBezTo>
                  <a:pt x="6314864" y="4210572"/>
                  <a:pt x="6305095" y="4210572"/>
                  <a:pt x="6295327" y="4200803"/>
                </a:cubicBezTo>
                <a:cubicBezTo>
                  <a:pt x="6295327" y="4200803"/>
                  <a:pt x="6305095" y="4210572"/>
                  <a:pt x="6305095" y="4210572"/>
                </a:cubicBezTo>
                <a:cubicBezTo>
                  <a:pt x="6314864" y="4220341"/>
                  <a:pt x="6305095" y="4220341"/>
                  <a:pt x="6295327" y="4210572"/>
                </a:cubicBezTo>
                <a:cubicBezTo>
                  <a:pt x="6295327" y="4200803"/>
                  <a:pt x="6285558" y="4200803"/>
                  <a:pt x="6285558" y="4200803"/>
                </a:cubicBezTo>
                <a:cubicBezTo>
                  <a:pt x="6285558" y="4200803"/>
                  <a:pt x="6285558" y="4191033"/>
                  <a:pt x="6285558" y="4191033"/>
                </a:cubicBezTo>
                <a:cubicBezTo>
                  <a:pt x="6275789" y="4191033"/>
                  <a:pt x="6266021" y="4181264"/>
                  <a:pt x="6256252" y="4171495"/>
                </a:cubicBezTo>
                <a:cubicBezTo>
                  <a:pt x="6256252" y="4171495"/>
                  <a:pt x="6246483" y="4161725"/>
                  <a:pt x="6246483" y="4161725"/>
                </a:cubicBezTo>
                <a:cubicBezTo>
                  <a:pt x="6246483" y="4161725"/>
                  <a:pt x="6246483" y="4151956"/>
                  <a:pt x="6246483" y="4151956"/>
                </a:cubicBezTo>
                <a:cubicBezTo>
                  <a:pt x="6236715" y="4151956"/>
                  <a:pt x="6207409" y="4132417"/>
                  <a:pt x="6207409" y="4122648"/>
                </a:cubicBezTo>
                <a:close/>
                <a:moveTo>
                  <a:pt x="5953425" y="4122648"/>
                </a:moveTo>
                <a:cubicBezTo>
                  <a:pt x="5963194" y="4122648"/>
                  <a:pt x="5963194" y="4122648"/>
                  <a:pt x="5963194" y="4122648"/>
                </a:cubicBezTo>
                <a:cubicBezTo>
                  <a:pt x="5972962" y="4132417"/>
                  <a:pt x="5972962" y="4132417"/>
                  <a:pt x="5963194" y="4132417"/>
                </a:cubicBezTo>
                <a:cubicBezTo>
                  <a:pt x="5963194" y="4122648"/>
                  <a:pt x="5953425" y="4122648"/>
                  <a:pt x="5953425" y="4122648"/>
                </a:cubicBezTo>
                <a:close/>
                <a:moveTo>
                  <a:pt x="3159602" y="4122648"/>
                </a:moveTo>
                <a:cubicBezTo>
                  <a:pt x="3159602" y="4122648"/>
                  <a:pt x="3159602" y="4122648"/>
                  <a:pt x="3169371" y="4122648"/>
                </a:cubicBezTo>
                <a:cubicBezTo>
                  <a:pt x="3169371" y="4122648"/>
                  <a:pt x="3169371" y="4122648"/>
                  <a:pt x="3179139" y="4132417"/>
                </a:cubicBezTo>
                <a:cubicBezTo>
                  <a:pt x="3179139" y="4132417"/>
                  <a:pt x="3188908" y="4142187"/>
                  <a:pt x="3188908" y="4151956"/>
                </a:cubicBezTo>
                <a:cubicBezTo>
                  <a:pt x="3218214" y="4171495"/>
                  <a:pt x="3267057" y="4239880"/>
                  <a:pt x="3257288" y="4239880"/>
                </a:cubicBezTo>
                <a:cubicBezTo>
                  <a:pt x="3257288" y="4239880"/>
                  <a:pt x="3188908" y="4161725"/>
                  <a:pt x="3179139" y="4151956"/>
                </a:cubicBezTo>
                <a:cubicBezTo>
                  <a:pt x="3179139" y="4151956"/>
                  <a:pt x="3169371" y="4142187"/>
                  <a:pt x="3169371" y="4142187"/>
                </a:cubicBezTo>
                <a:cubicBezTo>
                  <a:pt x="3169371" y="4132417"/>
                  <a:pt x="3159602" y="4132417"/>
                  <a:pt x="3159602" y="4122648"/>
                </a:cubicBezTo>
                <a:close/>
                <a:moveTo>
                  <a:pt x="6573122" y="4081281"/>
                </a:moveTo>
                <a:lnTo>
                  <a:pt x="6578616" y="4083571"/>
                </a:lnTo>
                <a:cubicBezTo>
                  <a:pt x="6578616" y="4083571"/>
                  <a:pt x="6576174" y="4083571"/>
                  <a:pt x="6573732" y="4082350"/>
                </a:cubicBezTo>
                <a:close/>
                <a:moveTo>
                  <a:pt x="4888646" y="4044494"/>
                </a:moveTo>
                <a:cubicBezTo>
                  <a:pt x="4888646" y="4044494"/>
                  <a:pt x="4898415" y="4054263"/>
                  <a:pt x="4908184" y="4064032"/>
                </a:cubicBezTo>
                <a:cubicBezTo>
                  <a:pt x="4908184" y="4064032"/>
                  <a:pt x="4917952" y="4073801"/>
                  <a:pt x="4917952" y="4083571"/>
                </a:cubicBezTo>
                <a:cubicBezTo>
                  <a:pt x="4917952" y="4083571"/>
                  <a:pt x="4927721" y="4093340"/>
                  <a:pt x="4937490" y="4103109"/>
                </a:cubicBezTo>
                <a:cubicBezTo>
                  <a:pt x="4937490" y="4112879"/>
                  <a:pt x="4947258" y="4122648"/>
                  <a:pt x="4957027" y="4132417"/>
                </a:cubicBezTo>
                <a:cubicBezTo>
                  <a:pt x="4957027" y="4142187"/>
                  <a:pt x="4976564" y="4161725"/>
                  <a:pt x="4986333" y="4171495"/>
                </a:cubicBezTo>
                <a:cubicBezTo>
                  <a:pt x="4986333" y="4181264"/>
                  <a:pt x="5005870" y="4200803"/>
                  <a:pt x="5005870" y="4210572"/>
                </a:cubicBezTo>
                <a:cubicBezTo>
                  <a:pt x="5015638" y="4220341"/>
                  <a:pt x="5025407" y="4230110"/>
                  <a:pt x="5025407" y="4239880"/>
                </a:cubicBezTo>
                <a:cubicBezTo>
                  <a:pt x="5035176" y="4239880"/>
                  <a:pt x="5035176" y="4249649"/>
                  <a:pt x="5035176" y="4249649"/>
                </a:cubicBezTo>
                <a:cubicBezTo>
                  <a:pt x="5035176" y="4249649"/>
                  <a:pt x="5044944" y="4259418"/>
                  <a:pt x="5054713" y="4278957"/>
                </a:cubicBezTo>
                <a:cubicBezTo>
                  <a:pt x="5074250" y="4298496"/>
                  <a:pt x="5142630" y="4405958"/>
                  <a:pt x="5162168" y="4445035"/>
                </a:cubicBezTo>
                <a:cubicBezTo>
                  <a:pt x="5171936" y="4454805"/>
                  <a:pt x="5181705" y="4464574"/>
                  <a:pt x="5181705" y="4474343"/>
                </a:cubicBezTo>
                <a:cubicBezTo>
                  <a:pt x="5191473" y="4484112"/>
                  <a:pt x="5191473" y="4493882"/>
                  <a:pt x="5201242" y="4493882"/>
                </a:cubicBezTo>
                <a:cubicBezTo>
                  <a:pt x="5201242" y="4503651"/>
                  <a:pt x="5211011" y="4513420"/>
                  <a:pt x="5211011" y="4523190"/>
                </a:cubicBezTo>
                <a:cubicBezTo>
                  <a:pt x="5220779" y="4523190"/>
                  <a:pt x="5220779" y="4532959"/>
                  <a:pt x="5230548" y="4542728"/>
                </a:cubicBezTo>
                <a:cubicBezTo>
                  <a:pt x="5230548" y="4542728"/>
                  <a:pt x="5230548" y="4542728"/>
                  <a:pt x="5230548" y="4552498"/>
                </a:cubicBezTo>
                <a:cubicBezTo>
                  <a:pt x="5230548" y="4562267"/>
                  <a:pt x="5220779" y="4542728"/>
                  <a:pt x="5201242" y="4523190"/>
                </a:cubicBezTo>
                <a:cubicBezTo>
                  <a:pt x="5201242" y="4513420"/>
                  <a:pt x="5191473" y="4503651"/>
                  <a:pt x="5191473" y="4493882"/>
                </a:cubicBezTo>
                <a:cubicBezTo>
                  <a:pt x="5181705" y="4493882"/>
                  <a:pt x="5181705" y="4484112"/>
                  <a:pt x="5181705" y="4484112"/>
                </a:cubicBezTo>
                <a:cubicBezTo>
                  <a:pt x="5181705" y="4474343"/>
                  <a:pt x="5171936" y="4474343"/>
                  <a:pt x="5171936" y="4474343"/>
                </a:cubicBezTo>
                <a:cubicBezTo>
                  <a:pt x="5162168" y="4464574"/>
                  <a:pt x="5132862" y="4425497"/>
                  <a:pt x="5132862" y="4415727"/>
                </a:cubicBezTo>
                <a:cubicBezTo>
                  <a:pt x="5132862" y="4415727"/>
                  <a:pt x="5132862" y="4405958"/>
                  <a:pt x="5123093" y="4405958"/>
                </a:cubicBezTo>
                <a:cubicBezTo>
                  <a:pt x="5113325" y="4396189"/>
                  <a:pt x="5113325" y="4386419"/>
                  <a:pt x="5084019" y="4337573"/>
                </a:cubicBezTo>
                <a:cubicBezTo>
                  <a:pt x="5074250" y="4327804"/>
                  <a:pt x="5064481" y="4308265"/>
                  <a:pt x="5064481" y="4308265"/>
                </a:cubicBezTo>
                <a:cubicBezTo>
                  <a:pt x="5064481" y="4308265"/>
                  <a:pt x="5054713" y="4298496"/>
                  <a:pt x="5054713" y="4288726"/>
                </a:cubicBezTo>
                <a:cubicBezTo>
                  <a:pt x="5044944" y="4278957"/>
                  <a:pt x="5025407" y="4249649"/>
                  <a:pt x="4996101" y="4210572"/>
                </a:cubicBezTo>
                <a:cubicBezTo>
                  <a:pt x="4986333" y="4200803"/>
                  <a:pt x="4986333" y="4191033"/>
                  <a:pt x="4986333" y="4191033"/>
                </a:cubicBezTo>
                <a:cubicBezTo>
                  <a:pt x="4986333" y="4181264"/>
                  <a:pt x="4976564" y="4181264"/>
                  <a:pt x="4976564" y="4181264"/>
                </a:cubicBezTo>
                <a:cubicBezTo>
                  <a:pt x="4976564" y="4181264"/>
                  <a:pt x="4976564" y="4171495"/>
                  <a:pt x="4966795" y="4171495"/>
                </a:cubicBezTo>
                <a:cubicBezTo>
                  <a:pt x="4966795" y="4171495"/>
                  <a:pt x="4966795" y="4161725"/>
                  <a:pt x="4957027" y="4151956"/>
                </a:cubicBezTo>
                <a:cubicBezTo>
                  <a:pt x="4947258" y="4142187"/>
                  <a:pt x="4917952" y="4103109"/>
                  <a:pt x="4917952" y="4093340"/>
                </a:cubicBezTo>
                <a:cubicBezTo>
                  <a:pt x="4917952" y="4093340"/>
                  <a:pt x="4908184" y="4083571"/>
                  <a:pt x="4898415" y="4073801"/>
                </a:cubicBezTo>
                <a:cubicBezTo>
                  <a:pt x="4898415" y="4064032"/>
                  <a:pt x="4888646" y="4054263"/>
                  <a:pt x="4888646" y="4044494"/>
                </a:cubicBezTo>
                <a:close/>
                <a:moveTo>
                  <a:pt x="7115890" y="4034724"/>
                </a:moveTo>
                <a:cubicBezTo>
                  <a:pt x="7115890" y="4034724"/>
                  <a:pt x="7115890" y="4044494"/>
                  <a:pt x="7125658" y="4044494"/>
                </a:cubicBezTo>
                <a:cubicBezTo>
                  <a:pt x="7125658" y="4054263"/>
                  <a:pt x="7125658" y="4054263"/>
                  <a:pt x="7125658" y="4054263"/>
                </a:cubicBezTo>
                <a:cubicBezTo>
                  <a:pt x="7115890" y="4044494"/>
                  <a:pt x="7115890" y="4034724"/>
                  <a:pt x="7115890" y="4034724"/>
                </a:cubicBezTo>
                <a:close/>
                <a:moveTo>
                  <a:pt x="6852137" y="3995647"/>
                </a:moveTo>
                <a:cubicBezTo>
                  <a:pt x="6861906" y="3995647"/>
                  <a:pt x="6861906" y="4005416"/>
                  <a:pt x="6881443" y="4015186"/>
                </a:cubicBezTo>
                <a:cubicBezTo>
                  <a:pt x="6891212" y="4024955"/>
                  <a:pt x="6891212" y="4024955"/>
                  <a:pt x="6891212" y="4024955"/>
                </a:cubicBezTo>
                <a:cubicBezTo>
                  <a:pt x="6891212" y="4024955"/>
                  <a:pt x="6891212" y="4024955"/>
                  <a:pt x="6891212" y="4034724"/>
                </a:cubicBezTo>
                <a:cubicBezTo>
                  <a:pt x="6891212" y="4044494"/>
                  <a:pt x="6891212" y="4034724"/>
                  <a:pt x="6881443" y="4034724"/>
                </a:cubicBezTo>
                <a:cubicBezTo>
                  <a:pt x="6881443" y="4024955"/>
                  <a:pt x="6871675" y="4015186"/>
                  <a:pt x="6861906" y="4015186"/>
                </a:cubicBezTo>
                <a:cubicBezTo>
                  <a:pt x="6861906" y="4005416"/>
                  <a:pt x="6852137" y="4005416"/>
                  <a:pt x="6852137" y="3995647"/>
                </a:cubicBezTo>
                <a:close/>
                <a:moveTo>
                  <a:pt x="6764220" y="3985878"/>
                </a:moveTo>
                <a:cubicBezTo>
                  <a:pt x="6764220" y="3985878"/>
                  <a:pt x="6773988" y="3985878"/>
                  <a:pt x="6773988" y="3985878"/>
                </a:cubicBezTo>
                <a:cubicBezTo>
                  <a:pt x="6773988" y="3985878"/>
                  <a:pt x="6773988" y="3995647"/>
                  <a:pt x="6783757" y="4005416"/>
                </a:cubicBezTo>
                <a:cubicBezTo>
                  <a:pt x="6793526" y="4015186"/>
                  <a:pt x="6793526" y="4015186"/>
                  <a:pt x="6783757" y="4015186"/>
                </a:cubicBezTo>
                <a:cubicBezTo>
                  <a:pt x="6783757" y="4005416"/>
                  <a:pt x="6773988" y="4005416"/>
                  <a:pt x="6773988" y="4005416"/>
                </a:cubicBezTo>
                <a:cubicBezTo>
                  <a:pt x="6764220" y="3995647"/>
                  <a:pt x="6764220" y="3985878"/>
                  <a:pt x="6764220" y="3985878"/>
                </a:cubicBezTo>
                <a:close/>
                <a:moveTo>
                  <a:pt x="6832600" y="3976108"/>
                </a:moveTo>
                <a:cubicBezTo>
                  <a:pt x="6832600" y="3976108"/>
                  <a:pt x="6842369" y="3976108"/>
                  <a:pt x="6842369" y="3976108"/>
                </a:cubicBezTo>
                <a:cubicBezTo>
                  <a:pt x="6842369" y="3976108"/>
                  <a:pt x="6842369" y="3985878"/>
                  <a:pt x="6852137" y="3985878"/>
                </a:cubicBezTo>
                <a:cubicBezTo>
                  <a:pt x="6852137" y="3985878"/>
                  <a:pt x="6852137" y="3995647"/>
                  <a:pt x="6852137" y="3995647"/>
                </a:cubicBezTo>
                <a:cubicBezTo>
                  <a:pt x="6842369" y="3995647"/>
                  <a:pt x="6832600" y="3985878"/>
                  <a:pt x="6832600" y="3976108"/>
                </a:cubicBezTo>
                <a:close/>
                <a:moveTo>
                  <a:pt x="5621292" y="3956570"/>
                </a:moveTo>
                <a:cubicBezTo>
                  <a:pt x="5621292" y="3956570"/>
                  <a:pt x="5621292" y="3956570"/>
                  <a:pt x="5631061" y="3956570"/>
                </a:cubicBezTo>
                <a:cubicBezTo>
                  <a:pt x="5640830" y="3966339"/>
                  <a:pt x="5640830" y="3966339"/>
                  <a:pt x="5640830" y="3966339"/>
                </a:cubicBezTo>
                <a:cubicBezTo>
                  <a:pt x="5631061" y="3966339"/>
                  <a:pt x="5631061" y="3966339"/>
                  <a:pt x="5621292" y="3956570"/>
                </a:cubicBezTo>
                <a:close/>
                <a:moveTo>
                  <a:pt x="6914827" y="3944167"/>
                </a:moveTo>
                <a:lnTo>
                  <a:pt x="6920518" y="3946800"/>
                </a:lnTo>
                <a:cubicBezTo>
                  <a:pt x="6920518" y="3946800"/>
                  <a:pt x="6918076" y="3946800"/>
                  <a:pt x="6915634" y="3945579"/>
                </a:cubicBezTo>
                <a:close/>
                <a:moveTo>
                  <a:pt x="6881443" y="3907723"/>
                </a:moveTo>
                <a:cubicBezTo>
                  <a:pt x="6891212" y="3917493"/>
                  <a:pt x="6891212" y="3917493"/>
                  <a:pt x="6891212" y="3917493"/>
                </a:cubicBezTo>
                <a:cubicBezTo>
                  <a:pt x="6900980" y="3927262"/>
                  <a:pt x="6910749" y="3937031"/>
                  <a:pt x="6910749" y="3937031"/>
                </a:cubicBezTo>
                <a:lnTo>
                  <a:pt x="6914827" y="3944167"/>
                </a:lnTo>
                <a:lnTo>
                  <a:pt x="6910291" y="3942068"/>
                </a:lnTo>
                <a:cubicBezTo>
                  <a:pt x="6897928" y="3933368"/>
                  <a:pt x="6881443" y="3915050"/>
                  <a:pt x="6881443" y="3907723"/>
                </a:cubicBezTo>
                <a:close/>
                <a:moveTo>
                  <a:pt x="6422318" y="3862899"/>
                </a:moveTo>
                <a:lnTo>
                  <a:pt x="6432087" y="3868646"/>
                </a:lnTo>
                <a:cubicBezTo>
                  <a:pt x="6432087" y="3868646"/>
                  <a:pt x="6432087" y="3868646"/>
                  <a:pt x="6422318" y="3868646"/>
                </a:cubicBezTo>
                <a:cubicBezTo>
                  <a:pt x="6422318" y="3868646"/>
                  <a:pt x="6422318" y="3866204"/>
                  <a:pt x="6422318" y="3863762"/>
                </a:cubicBezTo>
                <a:close/>
                <a:moveTo>
                  <a:pt x="6920518" y="3858877"/>
                </a:moveTo>
                <a:cubicBezTo>
                  <a:pt x="6930286" y="3858877"/>
                  <a:pt x="6940055" y="3868646"/>
                  <a:pt x="6940055" y="3868646"/>
                </a:cubicBezTo>
                <a:cubicBezTo>
                  <a:pt x="6940055" y="3868646"/>
                  <a:pt x="6940055" y="3868646"/>
                  <a:pt x="6930286" y="3868646"/>
                </a:cubicBezTo>
                <a:cubicBezTo>
                  <a:pt x="6930286" y="3868646"/>
                  <a:pt x="6940055" y="3878415"/>
                  <a:pt x="6940055" y="3878415"/>
                </a:cubicBezTo>
                <a:cubicBezTo>
                  <a:pt x="6949823" y="3888185"/>
                  <a:pt x="6949823" y="3888185"/>
                  <a:pt x="6949823" y="3888185"/>
                </a:cubicBezTo>
                <a:cubicBezTo>
                  <a:pt x="6949823" y="3897954"/>
                  <a:pt x="6949823" y="3888185"/>
                  <a:pt x="6940055" y="3888185"/>
                </a:cubicBezTo>
                <a:cubicBezTo>
                  <a:pt x="6940055" y="3878415"/>
                  <a:pt x="6930286" y="3878415"/>
                  <a:pt x="6930286" y="3878415"/>
                </a:cubicBezTo>
                <a:cubicBezTo>
                  <a:pt x="6930286" y="3878415"/>
                  <a:pt x="6930286" y="3868646"/>
                  <a:pt x="6920518" y="3868646"/>
                </a:cubicBezTo>
                <a:cubicBezTo>
                  <a:pt x="6920518" y="3868646"/>
                  <a:pt x="6920518" y="3858877"/>
                  <a:pt x="6920518" y="3858877"/>
                </a:cubicBezTo>
                <a:close/>
                <a:moveTo>
                  <a:pt x="6373475" y="3855946"/>
                </a:moveTo>
                <a:lnTo>
                  <a:pt x="6375918" y="3857656"/>
                </a:lnTo>
                <a:cubicBezTo>
                  <a:pt x="6378360" y="3858877"/>
                  <a:pt x="6378360" y="3858877"/>
                  <a:pt x="6373475" y="3858877"/>
                </a:cubicBezTo>
                <a:close/>
                <a:moveTo>
                  <a:pt x="6910749" y="3849107"/>
                </a:moveTo>
                <a:cubicBezTo>
                  <a:pt x="6910749" y="3849107"/>
                  <a:pt x="6910749" y="3849107"/>
                  <a:pt x="6920518" y="3858877"/>
                </a:cubicBezTo>
                <a:cubicBezTo>
                  <a:pt x="6920518" y="3858877"/>
                  <a:pt x="6910749" y="3858877"/>
                  <a:pt x="6910749" y="3849107"/>
                </a:cubicBezTo>
                <a:close/>
                <a:moveTo>
                  <a:pt x="6903902" y="3844451"/>
                </a:moveTo>
                <a:lnTo>
                  <a:pt x="6910749" y="3849107"/>
                </a:lnTo>
                <a:cubicBezTo>
                  <a:pt x="6910749" y="3849107"/>
                  <a:pt x="6908307" y="3849107"/>
                  <a:pt x="6905865" y="3847886"/>
                </a:cubicBezTo>
                <a:close/>
                <a:moveTo>
                  <a:pt x="6861906" y="3839338"/>
                </a:moveTo>
                <a:cubicBezTo>
                  <a:pt x="6861906" y="3849107"/>
                  <a:pt x="6871675" y="3849107"/>
                  <a:pt x="6871675" y="3849107"/>
                </a:cubicBezTo>
                <a:cubicBezTo>
                  <a:pt x="6881443" y="3849107"/>
                  <a:pt x="6891212" y="3858877"/>
                  <a:pt x="6891212" y="3868646"/>
                </a:cubicBezTo>
                <a:cubicBezTo>
                  <a:pt x="6891212" y="3868646"/>
                  <a:pt x="6891212" y="3878415"/>
                  <a:pt x="6900980" y="3878415"/>
                </a:cubicBezTo>
                <a:cubicBezTo>
                  <a:pt x="6900980" y="3888185"/>
                  <a:pt x="6900980" y="3888185"/>
                  <a:pt x="6900980" y="3888185"/>
                </a:cubicBezTo>
                <a:cubicBezTo>
                  <a:pt x="6900980" y="3888185"/>
                  <a:pt x="6891212" y="3878415"/>
                  <a:pt x="6891212" y="3878415"/>
                </a:cubicBezTo>
                <a:cubicBezTo>
                  <a:pt x="6891212" y="3878415"/>
                  <a:pt x="6881443" y="3858877"/>
                  <a:pt x="6871675" y="3858877"/>
                </a:cubicBezTo>
                <a:cubicBezTo>
                  <a:pt x="6871675" y="3858877"/>
                  <a:pt x="6861906" y="3849107"/>
                  <a:pt x="6861906" y="3839338"/>
                </a:cubicBezTo>
                <a:close/>
                <a:moveTo>
                  <a:pt x="5220779" y="3810030"/>
                </a:moveTo>
                <a:cubicBezTo>
                  <a:pt x="5230548" y="3810030"/>
                  <a:pt x="5250085" y="3819799"/>
                  <a:pt x="5259854" y="3829569"/>
                </a:cubicBezTo>
                <a:cubicBezTo>
                  <a:pt x="5259854" y="3829569"/>
                  <a:pt x="5259854" y="3839338"/>
                  <a:pt x="5269622" y="3839338"/>
                </a:cubicBezTo>
                <a:cubicBezTo>
                  <a:pt x="5269622" y="3839338"/>
                  <a:pt x="5279391" y="3849107"/>
                  <a:pt x="5289160" y="3849107"/>
                </a:cubicBezTo>
                <a:cubicBezTo>
                  <a:pt x="5289160" y="3858877"/>
                  <a:pt x="5298928" y="3858877"/>
                  <a:pt x="5308697" y="3868646"/>
                </a:cubicBezTo>
                <a:cubicBezTo>
                  <a:pt x="5338003" y="3878415"/>
                  <a:pt x="5347771" y="3888185"/>
                  <a:pt x="5357540" y="3897954"/>
                </a:cubicBezTo>
                <a:cubicBezTo>
                  <a:pt x="5357540" y="3897954"/>
                  <a:pt x="5357540" y="3897954"/>
                  <a:pt x="5367308" y="3897954"/>
                </a:cubicBezTo>
                <a:cubicBezTo>
                  <a:pt x="5367308" y="3907723"/>
                  <a:pt x="5396614" y="3927262"/>
                  <a:pt x="5396614" y="3927262"/>
                </a:cubicBezTo>
                <a:cubicBezTo>
                  <a:pt x="5396614" y="3927262"/>
                  <a:pt x="5396614" y="3927262"/>
                  <a:pt x="5396614" y="3937031"/>
                </a:cubicBezTo>
                <a:cubicBezTo>
                  <a:pt x="5396614" y="3937031"/>
                  <a:pt x="5396614" y="3937031"/>
                  <a:pt x="5377077" y="3917493"/>
                </a:cubicBezTo>
                <a:cubicBezTo>
                  <a:pt x="5367308" y="3907723"/>
                  <a:pt x="5347771" y="3897954"/>
                  <a:pt x="5328234" y="3888185"/>
                </a:cubicBezTo>
                <a:cubicBezTo>
                  <a:pt x="5308697" y="3878415"/>
                  <a:pt x="5298928" y="3868646"/>
                  <a:pt x="5298928" y="3868646"/>
                </a:cubicBezTo>
                <a:cubicBezTo>
                  <a:pt x="5298928" y="3868646"/>
                  <a:pt x="5279391" y="3849107"/>
                  <a:pt x="5269622" y="3849107"/>
                </a:cubicBezTo>
                <a:cubicBezTo>
                  <a:pt x="5259854" y="3839338"/>
                  <a:pt x="5250085" y="3839338"/>
                  <a:pt x="5250085" y="3829569"/>
                </a:cubicBezTo>
                <a:cubicBezTo>
                  <a:pt x="5240316" y="3829569"/>
                  <a:pt x="5230548" y="3819799"/>
                  <a:pt x="5230548" y="3819799"/>
                </a:cubicBezTo>
                <a:cubicBezTo>
                  <a:pt x="5220779" y="3819799"/>
                  <a:pt x="5220779" y="3810030"/>
                  <a:pt x="5220779" y="3810030"/>
                </a:cubicBezTo>
                <a:close/>
                <a:moveTo>
                  <a:pt x="6207409" y="3790492"/>
                </a:moveTo>
                <a:cubicBezTo>
                  <a:pt x="6217178" y="3790492"/>
                  <a:pt x="6217178" y="3790492"/>
                  <a:pt x="6226946" y="3800261"/>
                </a:cubicBezTo>
                <a:cubicBezTo>
                  <a:pt x="6226946" y="3800261"/>
                  <a:pt x="6229388" y="3802704"/>
                  <a:pt x="6233052" y="3805146"/>
                </a:cubicBezTo>
                <a:lnTo>
                  <a:pt x="6236715" y="3806478"/>
                </a:lnTo>
                <a:lnTo>
                  <a:pt x="6246483" y="3810030"/>
                </a:lnTo>
                <a:cubicBezTo>
                  <a:pt x="6256252" y="3819799"/>
                  <a:pt x="6266021" y="3829569"/>
                  <a:pt x="6285558" y="3839338"/>
                </a:cubicBezTo>
                <a:cubicBezTo>
                  <a:pt x="6295327" y="3849107"/>
                  <a:pt x="6295327" y="3849107"/>
                  <a:pt x="6305095" y="3858877"/>
                </a:cubicBezTo>
                <a:cubicBezTo>
                  <a:pt x="6305095" y="3858877"/>
                  <a:pt x="6314864" y="3868646"/>
                  <a:pt x="6324632" y="3868646"/>
                </a:cubicBezTo>
                <a:cubicBezTo>
                  <a:pt x="6334401" y="3878415"/>
                  <a:pt x="6344170" y="3888185"/>
                  <a:pt x="6344170" y="3888185"/>
                </a:cubicBezTo>
                <a:cubicBezTo>
                  <a:pt x="6344170" y="3888185"/>
                  <a:pt x="6334401" y="3888185"/>
                  <a:pt x="6324632" y="3888185"/>
                </a:cubicBezTo>
                <a:cubicBezTo>
                  <a:pt x="6324632" y="3878415"/>
                  <a:pt x="6314864" y="3878415"/>
                  <a:pt x="6314864" y="3868646"/>
                </a:cubicBezTo>
                <a:cubicBezTo>
                  <a:pt x="6314864" y="3878415"/>
                  <a:pt x="6314864" y="3878415"/>
                  <a:pt x="6314864" y="3878415"/>
                </a:cubicBezTo>
                <a:cubicBezTo>
                  <a:pt x="6305095" y="3878415"/>
                  <a:pt x="6305095" y="3878415"/>
                  <a:pt x="6305095" y="3878415"/>
                </a:cubicBezTo>
                <a:cubicBezTo>
                  <a:pt x="6305095" y="3878415"/>
                  <a:pt x="6305095" y="3868646"/>
                  <a:pt x="6305095" y="3868646"/>
                </a:cubicBezTo>
                <a:cubicBezTo>
                  <a:pt x="6305095" y="3868646"/>
                  <a:pt x="6295327" y="3858877"/>
                  <a:pt x="6295327" y="3858877"/>
                </a:cubicBezTo>
                <a:cubicBezTo>
                  <a:pt x="6295327" y="3858877"/>
                  <a:pt x="6285558" y="3849107"/>
                  <a:pt x="6285558" y="3849107"/>
                </a:cubicBezTo>
                <a:cubicBezTo>
                  <a:pt x="6285558" y="3849107"/>
                  <a:pt x="6275789" y="3849107"/>
                  <a:pt x="6275789" y="3849107"/>
                </a:cubicBezTo>
                <a:cubicBezTo>
                  <a:pt x="6275789" y="3839338"/>
                  <a:pt x="6266021" y="3839338"/>
                  <a:pt x="6256252" y="3829569"/>
                </a:cubicBezTo>
                <a:cubicBezTo>
                  <a:pt x="6236715" y="3819799"/>
                  <a:pt x="6226946" y="3810030"/>
                  <a:pt x="6226946" y="3810030"/>
                </a:cubicBezTo>
                <a:cubicBezTo>
                  <a:pt x="6217178" y="3810030"/>
                  <a:pt x="6217178" y="3800261"/>
                  <a:pt x="6207409" y="3800261"/>
                </a:cubicBezTo>
                <a:cubicBezTo>
                  <a:pt x="6197640" y="3800261"/>
                  <a:pt x="6197640" y="3800261"/>
                  <a:pt x="6197640" y="3800261"/>
                </a:cubicBezTo>
                <a:cubicBezTo>
                  <a:pt x="6207409" y="3800261"/>
                  <a:pt x="6207409" y="3790492"/>
                  <a:pt x="6207409" y="3790492"/>
                </a:cubicBezTo>
                <a:close/>
                <a:moveTo>
                  <a:pt x="6642884" y="3783293"/>
                </a:moveTo>
                <a:lnTo>
                  <a:pt x="6650660" y="3786828"/>
                </a:lnTo>
                <a:cubicBezTo>
                  <a:pt x="6654323" y="3790492"/>
                  <a:pt x="6656765" y="3795376"/>
                  <a:pt x="6656765" y="3800261"/>
                </a:cubicBezTo>
                <a:cubicBezTo>
                  <a:pt x="6646997" y="3800261"/>
                  <a:pt x="6646997" y="3790492"/>
                  <a:pt x="6646997" y="3790492"/>
                </a:cubicBezTo>
                <a:close/>
                <a:moveTo>
                  <a:pt x="6637228" y="3780722"/>
                </a:moveTo>
                <a:cubicBezTo>
                  <a:pt x="6637228" y="3780722"/>
                  <a:pt x="6639670" y="3780722"/>
                  <a:pt x="6642112" y="3781943"/>
                </a:cubicBezTo>
                <a:lnTo>
                  <a:pt x="6642884" y="3783293"/>
                </a:lnTo>
                <a:close/>
                <a:moveTo>
                  <a:pt x="6217178" y="3780722"/>
                </a:moveTo>
                <a:cubicBezTo>
                  <a:pt x="6217178" y="3780722"/>
                  <a:pt x="6226946" y="3790492"/>
                  <a:pt x="6226946" y="3790492"/>
                </a:cubicBezTo>
                <a:cubicBezTo>
                  <a:pt x="6226946" y="3790492"/>
                  <a:pt x="6226946" y="3790492"/>
                  <a:pt x="6236715" y="3800261"/>
                </a:cubicBezTo>
                <a:cubicBezTo>
                  <a:pt x="6226946" y="3800261"/>
                  <a:pt x="6226946" y="3790492"/>
                  <a:pt x="6217178" y="3780722"/>
                </a:cubicBezTo>
                <a:close/>
                <a:moveTo>
                  <a:pt x="6634016" y="3771890"/>
                </a:moveTo>
                <a:lnTo>
                  <a:pt x="6636007" y="3772174"/>
                </a:lnTo>
                <a:cubicBezTo>
                  <a:pt x="6637228" y="3773396"/>
                  <a:pt x="6637228" y="3775838"/>
                  <a:pt x="6637228" y="3780722"/>
                </a:cubicBezTo>
                <a:close/>
                <a:moveTo>
                  <a:pt x="6216042" y="3770726"/>
                </a:moveTo>
                <a:lnTo>
                  <a:pt x="6217178" y="3770953"/>
                </a:lnTo>
                <a:lnTo>
                  <a:pt x="6218430" y="3772915"/>
                </a:lnTo>
                <a:close/>
                <a:moveTo>
                  <a:pt x="6197640" y="3761184"/>
                </a:moveTo>
                <a:cubicBezTo>
                  <a:pt x="6202525" y="3761184"/>
                  <a:pt x="6207409" y="3763626"/>
                  <a:pt x="6212293" y="3767290"/>
                </a:cubicBezTo>
                <a:lnTo>
                  <a:pt x="6216042" y="3770726"/>
                </a:lnTo>
                <a:lnTo>
                  <a:pt x="6211072" y="3769732"/>
                </a:lnTo>
                <a:cubicBezTo>
                  <a:pt x="6207409" y="3768511"/>
                  <a:pt x="6202525" y="3766068"/>
                  <a:pt x="6197640" y="3761184"/>
                </a:cubicBezTo>
                <a:close/>
                <a:moveTo>
                  <a:pt x="6148797" y="3712337"/>
                </a:moveTo>
                <a:cubicBezTo>
                  <a:pt x="6148797" y="3712337"/>
                  <a:pt x="6148797" y="3722106"/>
                  <a:pt x="6148797" y="3722106"/>
                </a:cubicBezTo>
                <a:cubicBezTo>
                  <a:pt x="6148797" y="3722106"/>
                  <a:pt x="6158566" y="3722106"/>
                  <a:pt x="6158566" y="3722106"/>
                </a:cubicBezTo>
                <a:cubicBezTo>
                  <a:pt x="6158566" y="3722106"/>
                  <a:pt x="6158566" y="3722106"/>
                  <a:pt x="6158566" y="3731876"/>
                </a:cubicBezTo>
                <a:cubicBezTo>
                  <a:pt x="6168335" y="3731876"/>
                  <a:pt x="6168335" y="3731876"/>
                  <a:pt x="6168335" y="3731876"/>
                </a:cubicBezTo>
                <a:cubicBezTo>
                  <a:pt x="6168335" y="3731876"/>
                  <a:pt x="6168335" y="3741645"/>
                  <a:pt x="6168335" y="3741645"/>
                </a:cubicBezTo>
                <a:cubicBezTo>
                  <a:pt x="6178103" y="3741645"/>
                  <a:pt x="6178103" y="3741645"/>
                  <a:pt x="6178103" y="3751414"/>
                </a:cubicBezTo>
                <a:cubicBezTo>
                  <a:pt x="6178103" y="3751414"/>
                  <a:pt x="6187872" y="3751414"/>
                  <a:pt x="6187872" y="3751414"/>
                </a:cubicBezTo>
                <a:cubicBezTo>
                  <a:pt x="6187872" y="3751414"/>
                  <a:pt x="6197640" y="3761184"/>
                  <a:pt x="6197640" y="3761184"/>
                </a:cubicBezTo>
                <a:cubicBezTo>
                  <a:pt x="6207409" y="3770953"/>
                  <a:pt x="6217178" y="3780722"/>
                  <a:pt x="6217178" y="3780722"/>
                </a:cubicBezTo>
                <a:cubicBezTo>
                  <a:pt x="6207409" y="3780722"/>
                  <a:pt x="6197640" y="3770953"/>
                  <a:pt x="6187872" y="3770953"/>
                </a:cubicBezTo>
                <a:cubicBezTo>
                  <a:pt x="6187872" y="3761184"/>
                  <a:pt x="6187872" y="3761184"/>
                  <a:pt x="6178103" y="3761184"/>
                </a:cubicBezTo>
                <a:cubicBezTo>
                  <a:pt x="6178103" y="3751414"/>
                  <a:pt x="6168335" y="3751414"/>
                  <a:pt x="6168335" y="3751414"/>
                </a:cubicBezTo>
                <a:cubicBezTo>
                  <a:pt x="6168335" y="3751414"/>
                  <a:pt x="6168335" y="3741645"/>
                  <a:pt x="6158566" y="3741645"/>
                </a:cubicBezTo>
                <a:cubicBezTo>
                  <a:pt x="6148797" y="3722106"/>
                  <a:pt x="6139029" y="3712337"/>
                  <a:pt x="6148797" y="3712337"/>
                </a:cubicBezTo>
                <a:close/>
                <a:moveTo>
                  <a:pt x="6593269" y="3698904"/>
                </a:moveTo>
                <a:cubicBezTo>
                  <a:pt x="6595711" y="3700125"/>
                  <a:pt x="6598153" y="3702568"/>
                  <a:pt x="6598153" y="3702568"/>
                </a:cubicBezTo>
                <a:lnTo>
                  <a:pt x="6591873" y="3699951"/>
                </a:lnTo>
                <a:close/>
                <a:moveTo>
                  <a:pt x="6617691" y="3692798"/>
                </a:moveTo>
                <a:cubicBezTo>
                  <a:pt x="6627459" y="3692798"/>
                  <a:pt x="6627459" y="3692798"/>
                  <a:pt x="6627459" y="3702568"/>
                </a:cubicBezTo>
                <a:cubicBezTo>
                  <a:pt x="6617691" y="3702568"/>
                  <a:pt x="6617691" y="3702568"/>
                  <a:pt x="6617691" y="3692798"/>
                </a:cubicBezTo>
                <a:close/>
                <a:moveTo>
                  <a:pt x="6637228" y="3653722"/>
                </a:moveTo>
                <a:lnTo>
                  <a:pt x="6648218" y="3663491"/>
                </a:lnTo>
                <a:cubicBezTo>
                  <a:pt x="6654323" y="3668375"/>
                  <a:pt x="6661650" y="3673260"/>
                  <a:pt x="6666534" y="3673260"/>
                </a:cubicBezTo>
                <a:cubicBezTo>
                  <a:pt x="6666534" y="3673260"/>
                  <a:pt x="6676302" y="3673260"/>
                  <a:pt x="6676302" y="3683029"/>
                </a:cubicBezTo>
                <a:lnTo>
                  <a:pt x="6675081" y="3683029"/>
                </a:lnTo>
                <a:lnTo>
                  <a:pt x="6671418" y="3683029"/>
                </a:lnTo>
                <a:lnTo>
                  <a:pt x="6667755" y="3683029"/>
                </a:lnTo>
                <a:cubicBezTo>
                  <a:pt x="6666534" y="3683029"/>
                  <a:pt x="6666534" y="3683029"/>
                  <a:pt x="6666534" y="3683029"/>
                </a:cubicBezTo>
                <a:cubicBezTo>
                  <a:pt x="6666534" y="3673260"/>
                  <a:pt x="6656765" y="3673260"/>
                  <a:pt x="6646997" y="3663491"/>
                </a:cubicBezTo>
                <a:close/>
                <a:moveTo>
                  <a:pt x="6637228" y="3653721"/>
                </a:moveTo>
                <a:lnTo>
                  <a:pt x="6637228" y="3653722"/>
                </a:lnTo>
                <a:lnTo>
                  <a:pt x="6637228" y="3653721"/>
                </a:lnTo>
                <a:close/>
                <a:moveTo>
                  <a:pt x="6637228" y="3643952"/>
                </a:moveTo>
                <a:lnTo>
                  <a:pt x="6639352" y="3645085"/>
                </a:lnTo>
                <a:lnTo>
                  <a:pt x="6642112" y="3647616"/>
                </a:lnTo>
                <a:lnTo>
                  <a:pt x="6651181" y="3651394"/>
                </a:lnTo>
                <a:lnTo>
                  <a:pt x="6655544" y="3653721"/>
                </a:lnTo>
                <a:lnTo>
                  <a:pt x="6658026" y="3655928"/>
                </a:lnTo>
                <a:lnTo>
                  <a:pt x="6661650" y="3662269"/>
                </a:lnTo>
                <a:cubicBezTo>
                  <a:pt x="6664092" y="3663491"/>
                  <a:pt x="6666534" y="3663491"/>
                  <a:pt x="6666534" y="3663491"/>
                </a:cubicBezTo>
                <a:cubicBezTo>
                  <a:pt x="6666534" y="3673260"/>
                  <a:pt x="6656765" y="3663491"/>
                  <a:pt x="6637228" y="3643952"/>
                </a:cubicBezTo>
                <a:close/>
                <a:moveTo>
                  <a:pt x="6627459" y="3634183"/>
                </a:moveTo>
                <a:lnTo>
                  <a:pt x="6637094" y="3643015"/>
                </a:lnTo>
                <a:lnTo>
                  <a:pt x="6637228" y="3643952"/>
                </a:lnTo>
                <a:cubicBezTo>
                  <a:pt x="6637228" y="3643952"/>
                  <a:pt x="6634786" y="3641510"/>
                  <a:pt x="6631122" y="3637846"/>
                </a:cubicBezTo>
                <a:close/>
                <a:moveTo>
                  <a:pt x="6627459" y="3634183"/>
                </a:moveTo>
                <a:lnTo>
                  <a:pt x="6627459" y="3634183"/>
                </a:lnTo>
                <a:lnTo>
                  <a:pt x="6627459" y="3634183"/>
                </a:lnTo>
                <a:close/>
                <a:moveTo>
                  <a:pt x="4439290" y="3624414"/>
                </a:moveTo>
                <a:lnTo>
                  <a:pt x="4451501" y="3636625"/>
                </a:lnTo>
                <a:cubicBezTo>
                  <a:pt x="4456385" y="3641510"/>
                  <a:pt x="4458828" y="3643952"/>
                  <a:pt x="4458828" y="3643952"/>
                </a:cubicBezTo>
                <a:cubicBezTo>
                  <a:pt x="4497902" y="3692798"/>
                  <a:pt x="4527208" y="3722106"/>
                  <a:pt x="4527208" y="3712337"/>
                </a:cubicBezTo>
                <a:cubicBezTo>
                  <a:pt x="4527208" y="3722106"/>
                  <a:pt x="4527208" y="3722106"/>
                  <a:pt x="4536976" y="3731876"/>
                </a:cubicBezTo>
                <a:cubicBezTo>
                  <a:pt x="4536976" y="3741645"/>
                  <a:pt x="4546745" y="3751414"/>
                  <a:pt x="4546745" y="3751414"/>
                </a:cubicBezTo>
                <a:cubicBezTo>
                  <a:pt x="4546745" y="3751414"/>
                  <a:pt x="4536976" y="3751414"/>
                  <a:pt x="4527208" y="3731876"/>
                </a:cubicBezTo>
                <a:cubicBezTo>
                  <a:pt x="4507671" y="3712337"/>
                  <a:pt x="4488133" y="3692798"/>
                  <a:pt x="4468596" y="3663491"/>
                </a:cubicBezTo>
                <a:cubicBezTo>
                  <a:pt x="4463712" y="3658606"/>
                  <a:pt x="4458828" y="3653721"/>
                  <a:pt x="4453943" y="3647616"/>
                </a:cubicBezTo>
                <a:close/>
                <a:moveTo>
                  <a:pt x="4439289" y="3624412"/>
                </a:moveTo>
                <a:lnTo>
                  <a:pt x="4439290" y="3624413"/>
                </a:lnTo>
                <a:lnTo>
                  <a:pt x="4439290" y="3624414"/>
                </a:lnTo>
                <a:close/>
                <a:moveTo>
                  <a:pt x="4380679" y="3556028"/>
                </a:moveTo>
                <a:cubicBezTo>
                  <a:pt x="4380679" y="3556028"/>
                  <a:pt x="4390447" y="3565797"/>
                  <a:pt x="4400216" y="3575567"/>
                </a:cubicBezTo>
                <a:cubicBezTo>
                  <a:pt x="4409985" y="3585336"/>
                  <a:pt x="4419753" y="3604875"/>
                  <a:pt x="4429522" y="3614644"/>
                </a:cubicBezTo>
                <a:lnTo>
                  <a:pt x="4439289" y="3624412"/>
                </a:lnTo>
                <a:lnTo>
                  <a:pt x="4420974" y="3609759"/>
                </a:lnTo>
                <a:cubicBezTo>
                  <a:pt x="4414869" y="3604875"/>
                  <a:pt x="4409985" y="3599990"/>
                  <a:pt x="4409985" y="3595105"/>
                </a:cubicBezTo>
                <a:cubicBezTo>
                  <a:pt x="4380679" y="3565797"/>
                  <a:pt x="4370910" y="3556028"/>
                  <a:pt x="4380679" y="3556028"/>
                </a:cubicBezTo>
                <a:close/>
                <a:moveTo>
                  <a:pt x="4766539" y="3536490"/>
                </a:moveTo>
                <a:lnTo>
                  <a:pt x="4771423" y="3536490"/>
                </a:lnTo>
                <a:lnTo>
                  <a:pt x="4770535" y="3539154"/>
                </a:lnTo>
                <a:close/>
                <a:moveTo>
                  <a:pt x="4488133" y="3536490"/>
                </a:moveTo>
                <a:lnTo>
                  <a:pt x="4496980" y="3539808"/>
                </a:lnTo>
                <a:lnTo>
                  <a:pt x="4497902" y="3546259"/>
                </a:lnTo>
                <a:cubicBezTo>
                  <a:pt x="4507671" y="3556028"/>
                  <a:pt x="4517439" y="3565797"/>
                  <a:pt x="4517439" y="3565797"/>
                </a:cubicBezTo>
                <a:cubicBezTo>
                  <a:pt x="4517439" y="3565797"/>
                  <a:pt x="4527208" y="3575567"/>
                  <a:pt x="4536976" y="3585336"/>
                </a:cubicBezTo>
                <a:cubicBezTo>
                  <a:pt x="4556514" y="3604875"/>
                  <a:pt x="4566282" y="3614644"/>
                  <a:pt x="4576051" y="3624413"/>
                </a:cubicBezTo>
                <a:cubicBezTo>
                  <a:pt x="4585820" y="3643952"/>
                  <a:pt x="4595588" y="3653721"/>
                  <a:pt x="4605357" y="3673260"/>
                </a:cubicBezTo>
                <a:cubicBezTo>
                  <a:pt x="4615125" y="3683029"/>
                  <a:pt x="4615125" y="3683029"/>
                  <a:pt x="4615125" y="3683029"/>
                </a:cubicBezTo>
                <a:cubicBezTo>
                  <a:pt x="4615125" y="3692798"/>
                  <a:pt x="4654200" y="3731876"/>
                  <a:pt x="4663968" y="3741645"/>
                </a:cubicBezTo>
                <a:cubicBezTo>
                  <a:pt x="4673737" y="3751414"/>
                  <a:pt x="4673737" y="3751414"/>
                  <a:pt x="4673737" y="3751414"/>
                </a:cubicBezTo>
                <a:cubicBezTo>
                  <a:pt x="4673737" y="3761184"/>
                  <a:pt x="4683506" y="3761184"/>
                  <a:pt x="4683506" y="3770953"/>
                </a:cubicBezTo>
                <a:cubicBezTo>
                  <a:pt x="4712811" y="3790492"/>
                  <a:pt x="4712811" y="3790492"/>
                  <a:pt x="4712811" y="3800261"/>
                </a:cubicBezTo>
                <a:cubicBezTo>
                  <a:pt x="4722580" y="3810030"/>
                  <a:pt x="4722580" y="3819799"/>
                  <a:pt x="4732349" y="3819799"/>
                </a:cubicBezTo>
                <a:cubicBezTo>
                  <a:pt x="4742117" y="3829569"/>
                  <a:pt x="4742117" y="3839338"/>
                  <a:pt x="4742117" y="3839338"/>
                </a:cubicBezTo>
                <a:cubicBezTo>
                  <a:pt x="4742117" y="3839338"/>
                  <a:pt x="4751886" y="3849107"/>
                  <a:pt x="4751886" y="3849107"/>
                </a:cubicBezTo>
                <a:cubicBezTo>
                  <a:pt x="4751886" y="3849107"/>
                  <a:pt x="4761655" y="3858877"/>
                  <a:pt x="4761655" y="3868646"/>
                </a:cubicBezTo>
                <a:cubicBezTo>
                  <a:pt x="4761655" y="3868646"/>
                  <a:pt x="4771423" y="3878415"/>
                  <a:pt x="4771423" y="3878415"/>
                </a:cubicBezTo>
                <a:cubicBezTo>
                  <a:pt x="4771423" y="3878415"/>
                  <a:pt x="4781192" y="3888185"/>
                  <a:pt x="4781192" y="3888185"/>
                </a:cubicBezTo>
                <a:cubicBezTo>
                  <a:pt x="4781192" y="3897954"/>
                  <a:pt x="4790960" y="3897954"/>
                  <a:pt x="4790960" y="3907723"/>
                </a:cubicBezTo>
                <a:cubicBezTo>
                  <a:pt x="4790960" y="3907723"/>
                  <a:pt x="4800729" y="3907723"/>
                  <a:pt x="4800729" y="3917493"/>
                </a:cubicBezTo>
                <a:cubicBezTo>
                  <a:pt x="4800729" y="3917493"/>
                  <a:pt x="4820266" y="3946800"/>
                  <a:pt x="4820266" y="3946800"/>
                </a:cubicBezTo>
                <a:cubicBezTo>
                  <a:pt x="4820266" y="3946800"/>
                  <a:pt x="4830035" y="3946800"/>
                  <a:pt x="4830035" y="3956570"/>
                </a:cubicBezTo>
                <a:cubicBezTo>
                  <a:pt x="4830035" y="3966339"/>
                  <a:pt x="4839803" y="3976108"/>
                  <a:pt x="4869109" y="4005416"/>
                </a:cubicBezTo>
                <a:cubicBezTo>
                  <a:pt x="4878878" y="4024955"/>
                  <a:pt x="4888646" y="4034724"/>
                  <a:pt x="4888646" y="4044494"/>
                </a:cubicBezTo>
                <a:cubicBezTo>
                  <a:pt x="4878878" y="4044494"/>
                  <a:pt x="4878878" y="4034724"/>
                  <a:pt x="4869109" y="4034724"/>
                </a:cubicBezTo>
                <a:cubicBezTo>
                  <a:pt x="4869109" y="4034724"/>
                  <a:pt x="4869109" y="4024955"/>
                  <a:pt x="4859341" y="4024955"/>
                </a:cubicBezTo>
                <a:cubicBezTo>
                  <a:pt x="4859341" y="4015186"/>
                  <a:pt x="4849572" y="4005416"/>
                  <a:pt x="4839803" y="3995647"/>
                </a:cubicBezTo>
                <a:cubicBezTo>
                  <a:pt x="4830035" y="3976108"/>
                  <a:pt x="4820266" y="3966339"/>
                  <a:pt x="4820266" y="3966339"/>
                </a:cubicBezTo>
                <a:cubicBezTo>
                  <a:pt x="4810498" y="3956570"/>
                  <a:pt x="4800729" y="3927262"/>
                  <a:pt x="4781192" y="3907723"/>
                </a:cubicBezTo>
                <a:cubicBezTo>
                  <a:pt x="4781192" y="3907723"/>
                  <a:pt x="4771423" y="3888185"/>
                  <a:pt x="4761655" y="3878415"/>
                </a:cubicBezTo>
                <a:cubicBezTo>
                  <a:pt x="4751886" y="3868646"/>
                  <a:pt x="4742117" y="3849107"/>
                  <a:pt x="4732349" y="3839338"/>
                </a:cubicBezTo>
                <a:cubicBezTo>
                  <a:pt x="4722580" y="3829569"/>
                  <a:pt x="4712811" y="3819799"/>
                  <a:pt x="4712811" y="3819799"/>
                </a:cubicBezTo>
                <a:cubicBezTo>
                  <a:pt x="4712811" y="3810030"/>
                  <a:pt x="4673737" y="3770953"/>
                  <a:pt x="4654200" y="3741645"/>
                </a:cubicBezTo>
                <a:cubicBezTo>
                  <a:pt x="4634663" y="3722106"/>
                  <a:pt x="4595588" y="3673260"/>
                  <a:pt x="4585820" y="3663491"/>
                </a:cubicBezTo>
                <a:cubicBezTo>
                  <a:pt x="4585820" y="3663491"/>
                  <a:pt x="4576051" y="3653721"/>
                  <a:pt x="4576051" y="3653721"/>
                </a:cubicBezTo>
                <a:cubicBezTo>
                  <a:pt x="4566282" y="3643952"/>
                  <a:pt x="4566282" y="3634183"/>
                  <a:pt x="4556514" y="3624413"/>
                </a:cubicBezTo>
                <a:cubicBezTo>
                  <a:pt x="4536976" y="3604875"/>
                  <a:pt x="4527208" y="3585336"/>
                  <a:pt x="4497902" y="3556028"/>
                </a:cubicBezTo>
                <a:cubicBezTo>
                  <a:pt x="4497902" y="3556028"/>
                  <a:pt x="4488133" y="3546259"/>
                  <a:pt x="4488133" y="3536490"/>
                </a:cubicBezTo>
                <a:close/>
                <a:moveTo>
                  <a:pt x="4762876" y="3534047"/>
                </a:moveTo>
                <a:lnTo>
                  <a:pt x="4766539" y="3536490"/>
                </a:lnTo>
                <a:lnTo>
                  <a:pt x="4761655" y="3536490"/>
                </a:lnTo>
                <a:cubicBezTo>
                  <a:pt x="4759212" y="3536490"/>
                  <a:pt x="4756770" y="3536490"/>
                  <a:pt x="4751886" y="3536490"/>
                </a:cubicBezTo>
                <a:cubicBezTo>
                  <a:pt x="4756770" y="3531605"/>
                  <a:pt x="4759212" y="3531605"/>
                  <a:pt x="4762876" y="3534047"/>
                </a:cubicBezTo>
                <a:close/>
                <a:moveTo>
                  <a:pt x="4820266" y="3526720"/>
                </a:moveTo>
                <a:cubicBezTo>
                  <a:pt x="4830035" y="3536490"/>
                  <a:pt x="4830035" y="3536490"/>
                  <a:pt x="4830035" y="3526720"/>
                </a:cubicBezTo>
                <a:cubicBezTo>
                  <a:pt x="4830035" y="3536490"/>
                  <a:pt x="4839803" y="3536490"/>
                  <a:pt x="4839803" y="3536490"/>
                </a:cubicBezTo>
                <a:cubicBezTo>
                  <a:pt x="4839803" y="3536490"/>
                  <a:pt x="4849572" y="3546259"/>
                  <a:pt x="4849572" y="3546259"/>
                </a:cubicBezTo>
                <a:cubicBezTo>
                  <a:pt x="4849572" y="3556028"/>
                  <a:pt x="4849572" y="3546259"/>
                  <a:pt x="4839803" y="3546259"/>
                </a:cubicBezTo>
                <a:cubicBezTo>
                  <a:pt x="4830035" y="3536490"/>
                  <a:pt x="4830035" y="3536490"/>
                  <a:pt x="4820266" y="3536490"/>
                </a:cubicBezTo>
                <a:cubicBezTo>
                  <a:pt x="4820266" y="3536490"/>
                  <a:pt x="4820266" y="3536490"/>
                  <a:pt x="4820266" y="3526720"/>
                </a:cubicBezTo>
                <a:close/>
                <a:moveTo>
                  <a:pt x="4292761" y="3497412"/>
                </a:moveTo>
                <a:cubicBezTo>
                  <a:pt x="4302530" y="3497412"/>
                  <a:pt x="4302530" y="3497412"/>
                  <a:pt x="4302530" y="3497412"/>
                </a:cubicBezTo>
                <a:cubicBezTo>
                  <a:pt x="4302530" y="3497412"/>
                  <a:pt x="4312298" y="3507182"/>
                  <a:pt x="4312298" y="3507182"/>
                </a:cubicBezTo>
                <a:cubicBezTo>
                  <a:pt x="4322067" y="3507182"/>
                  <a:pt x="4322067" y="3507182"/>
                  <a:pt x="4322067" y="3507182"/>
                </a:cubicBezTo>
                <a:cubicBezTo>
                  <a:pt x="4322067" y="3507182"/>
                  <a:pt x="4331836" y="3507182"/>
                  <a:pt x="4331836" y="3516951"/>
                </a:cubicBezTo>
                <a:lnTo>
                  <a:pt x="4324509" y="3516951"/>
                </a:lnTo>
                <a:cubicBezTo>
                  <a:pt x="4322067" y="3516951"/>
                  <a:pt x="4322067" y="3516951"/>
                  <a:pt x="4322067" y="3516951"/>
                </a:cubicBezTo>
                <a:cubicBezTo>
                  <a:pt x="4322067" y="3516951"/>
                  <a:pt x="4331836" y="3526720"/>
                  <a:pt x="4331836" y="3526720"/>
                </a:cubicBezTo>
                <a:cubicBezTo>
                  <a:pt x="4322067" y="3526720"/>
                  <a:pt x="4322067" y="3526720"/>
                  <a:pt x="4322067" y="3526720"/>
                </a:cubicBezTo>
                <a:cubicBezTo>
                  <a:pt x="4322067" y="3516951"/>
                  <a:pt x="4312298" y="3516951"/>
                  <a:pt x="4312298" y="3516951"/>
                </a:cubicBezTo>
                <a:cubicBezTo>
                  <a:pt x="4312298" y="3526720"/>
                  <a:pt x="4302530" y="3516951"/>
                  <a:pt x="4302530" y="3507182"/>
                </a:cubicBezTo>
                <a:cubicBezTo>
                  <a:pt x="4292761" y="3507182"/>
                  <a:pt x="4292761" y="3507182"/>
                  <a:pt x="4292761" y="3497412"/>
                </a:cubicBezTo>
                <a:close/>
                <a:moveTo>
                  <a:pt x="4253687" y="3487643"/>
                </a:moveTo>
                <a:cubicBezTo>
                  <a:pt x="4263455" y="3497412"/>
                  <a:pt x="4263455" y="3497412"/>
                  <a:pt x="4263455" y="3497412"/>
                </a:cubicBezTo>
                <a:cubicBezTo>
                  <a:pt x="4263455" y="3497412"/>
                  <a:pt x="4253687" y="3497412"/>
                  <a:pt x="4253687" y="3487643"/>
                </a:cubicBezTo>
                <a:close/>
                <a:moveTo>
                  <a:pt x="6959592" y="3458335"/>
                </a:moveTo>
                <a:cubicBezTo>
                  <a:pt x="6969361" y="3468104"/>
                  <a:pt x="6969361" y="3468104"/>
                  <a:pt x="6959592" y="3468104"/>
                </a:cubicBezTo>
                <a:cubicBezTo>
                  <a:pt x="6959592" y="3468104"/>
                  <a:pt x="6959592" y="3468104"/>
                  <a:pt x="6959592" y="3458335"/>
                </a:cubicBezTo>
                <a:close/>
                <a:moveTo>
                  <a:pt x="6979129" y="3389950"/>
                </a:moveTo>
                <a:cubicBezTo>
                  <a:pt x="6988898" y="3399719"/>
                  <a:pt x="7018204" y="3419258"/>
                  <a:pt x="7008435" y="3419258"/>
                </a:cubicBezTo>
                <a:cubicBezTo>
                  <a:pt x="7008435" y="3419258"/>
                  <a:pt x="6988898" y="3409489"/>
                  <a:pt x="6988898" y="3409489"/>
                </a:cubicBezTo>
                <a:cubicBezTo>
                  <a:pt x="6988898" y="3409489"/>
                  <a:pt x="6988898" y="3399719"/>
                  <a:pt x="6988898" y="3399719"/>
                </a:cubicBezTo>
                <a:cubicBezTo>
                  <a:pt x="6979129" y="3399719"/>
                  <a:pt x="6979129" y="3399719"/>
                  <a:pt x="6979129" y="3399719"/>
                </a:cubicBezTo>
                <a:cubicBezTo>
                  <a:pt x="6979129" y="3399719"/>
                  <a:pt x="6979129" y="3389950"/>
                  <a:pt x="6979129" y="3389950"/>
                </a:cubicBezTo>
                <a:close/>
                <a:moveTo>
                  <a:pt x="6933217" y="3370411"/>
                </a:moveTo>
                <a:lnTo>
                  <a:pt x="6938834" y="3370411"/>
                </a:lnTo>
                <a:cubicBezTo>
                  <a:pt x="6940055" y="3370411"/>
                  <a:pt x="6940055" y="3370411"/>
                  <a:pt x="6940055" y="3370411"/>
                </a:cubicBezTo>
                <a:lnTo>
                  <a:pt x="6945784" y="3371128"/>
                </a:lnTo>
                <a:lnTo>
                  <a:pt x="6950739" y="3379570"/>
                </a:lnTo>
                <a:cubicBezTo>
                  <a:pt x="6952266" y="3383844"/>
                  <a:pt x="6952265" y="3387508"/>
                  <a:pt x="6949823" y="3389950"/>
                </a:cubicBezTo>
                <a:cubicBezTo>
                  <a:pt x="6949823" y="3389950"/>
                  <a:pt x="6949823" y="3389950"/>
                  <a:pt x="6949823" y="3380181"/>
                </a:cubicBezTo>
                <a:cubicBezTo>
                  <a:pt x="6949823" y="3380181"/>
                  <a:pt x="6940055" y="3380181"/>
                  <a:pt x="6940055" y="3380181"/>
                </a:cubicBezTo>
                <a:close/>
                <a:moveTo>
                  <a:pt x="6931507" y="3367969"/>
                </a:moveTo>
                <a:lnTo>
                  <a:pt x="6933217" y="3370411"/>
                </a:lnTo>
                <a:lnTo>
                  <a:pt x="6930286" y="3370411"/>
                </a:lnTo>
                <a:cubicBezTo>
                  <a:pt x="6930286" y="3365527"/>
                  <a:pt x="6930286" y="3365527"/>
                  <a:pt x="6931507" y="3367969"/>
                </a:cubicBezTo>
                <a:close/>
                <a:moveTo>
                  <a:pt x="6783757" y="3350873"/>
                </a:moveTo>
                <a:cubicBezTo>
                  <a:pt x="6783757" y="3350873"/>
                  <a:pt x="6783757" y="3350873"/>
                  <a:pt x="6793526" y="3350873"/>
                </a:cubicBezTo>
                <a:cubicBezTo>
                  <a:pt x="6793526" y="3360642"/>
                  <a:pt x="6793526" y="3360642"/>
                  <a:pt x="6793526" y="3360642"/>
                </a:cubicBezTo>
                <a:cubicBezTo>
                  <a:pt x="6793526" y="3360642"/>
                  <a:pt x="6783757" y="3360642"/>
                  <a:pt x="6783757" y="3350873"/>
                </a:cubicBezTo>
                <a:close/>
                <a:moveTo>
                  <a:pt x="6861906" y="3331334"/>
                </a:moveTo>
                <a:cubicBezTo>
                  <a:pt x="6871675" y="3331334"/>
                  <a:pt x="6871675" y="3341103"/>
                  <a:pt x="6871675" y="3341103"/>
                </a:cubicBezTo>
                <a:cubicBezTo>
                  <a:pt x="6871675" y="3341103"/>
                  <a:pt x="6861906" y="3341103"/>
                  <a:pt x="6861906" y="3341103"/>
                </a:cubicBezTo>
                <a:cubicBezTo>
                  <a:pt x="6861906" y="3331334"/>
                  <a:pt x="6861906" y="3331334"/>
                  <a:pt x="6861906" y="3331334"/>
                </a:cubicBezTo>
                <a:close/>
                <a:moveTo>
                  <a:pt x="6861906" y="3321565"/>
                </a:moveTo>
                <a:cubicBezTo>
                  <a:pt x="6861906" y="3321565"/>
                  <a:pt x="6871675" y="3331334"/>
                  <a:pt x="6871675" y="3331334"/>
                </a:cubicBezTo>
                <a:cubicBezTo>
                  <a:pt x="6881443" y="3341103"/>
                  <a:pt x="6881443" y="3341103"/>
                  <a:pt x="6881443" y="3341103"/>
                </a:cubicBezTo>
                <a:cubicBezTo>
                  <a:pt x="6881443" y="3341103"/>
                  <a:pt x="6871675" y="3341103"/>
                  <a:pt x="6871675" y="3341103"/>
                </a:cubicBezTo>
                <a:cubicBezTo>
                  <a:pt x="6871675" y="3331334"/>
                  <a:pt x="6871675" y="3331334"/>
                  <a:pt x="6861906" y="3331334"/>
                </a:cubicBezTo>
                <a:cubicBezTo>
                  <a:pt x="6861906" y="3331334"/>
                  <a:pt x="6861906" y="3321565"/>
                  <a:pt x="6861906" y="3321565"/>
                </a:cubicBezTo>
                <a:close/>
                <a:moveTo>
                  <a:pt x="6715377" y="3145717"/>
                </a:moveTo>
                <a:cubicBezTo>
                  <a:pt x="6720261" y="3145717"/>
                  <a:pt x="6722703" y="3145717"/>
                  <a:pt x="6725145" y="3145717"/>
                </a:cubicBezTo>
                <a:lnTo>
                  <a:pt x="6731516" y="3145717"/>
                </a:lnTo>
                <a:lnTo>
                  <a:pt x="6737435" y="3150760"/>
                </a:lnTo>
                <a:lnTo>
                  <a:pt x="6742241" y="3160372"/>
                </a:lnTo>
                <a:cubicBezTo>
                  <a:pt x="6747125" y="3165256"/>
                  <a:pt x="6754451" y="3170141"/>
                  <a:pt x="6764220" y="3175025"/>
                </a:cubicBezTo>
                <a:cubicBezTo>
                  <a:pt x="6793526" y="3204333"/>
                  <a:pt x="6803294" y="3204333"/>
                  <a:pt x="6793526" y="3204333"/>
                </a:cubicBezTo>
                <a:cubicBezTo>
                  <a:pt x="6783757" y="3204333"/>
                  <a:pt x="6783757" y="3194564"/>
                  <a:pt x="6773988" y="3194564"/>
                </a:cubicBezTo>
                <a:cubicBezTo>
                  <a:pt x="6764220" y="3184794"/>
                  <a:pt x="6764220" y="3184794"/>
                  <a:pt x="6764220" y="3184794"/>
                </a:cubicBezTo>
                <a:cubicBezTo>
                  <a:pt x="6764220" y="3184794"/>
                  <a:pt x="6754451" y="3184794"/>
                  <a:pt x="6754451" y="3175025"/>
                </a:cubicBezTo>
                <a:cubicBezTo>
                  <a:pt x="6754451" y="3175025"/>
                  <a:pt x="6744683" y="3175025"/>
                  <a:pt x="6734914" y="3165256"/>
                </a:cubicBezTo>
                <a:cubicBezTo>
                  <a:pt x="6734914" y="3165256"/>
                  <a:pt x="6725145" y="3155487"/>
                  <a:pt x="6715377" y="3145717"/>
                </a:cubicBezTo>
                <a:close/>
                <a:moveTo>
                  <a:pt x="5929404" y="2375864"/>
                </a:moveTo>
                <a:lnTo>
                  <a:pt x="5937551" y="2378827"/>
                </a:lnTo>
                <a:cubicBezTo>
                  <a:pt x="5941214" y="2381269"/>
                  <a:pt x="5943657" y="2383711"/>
                  <a:pt x="5943657" y="2383711"/>
                </a:cubicBezTo>
                <a:cubicBezTo>
                  <a:pt x="5953425" y="2383711"/>
                  <a:pt x="5953425" y="2393481"/>
                  <a:pt x="5963194" y="2393481"/>
                </a:cubicBezTo>
                <a:cubicBezTo>
                  <a:pt x="5963194" y="2393481"/>
                  <a:pt x="5972962" y="2403250"/>
                  <a:pt x="5972962" y="2403250"/>
                </a:cubicBezTo>
                <a:cubicBezTo>
                  <a:pt x="5982731" y="2413019"/>
                  <a:pt x="5953425" y="2393481"/>
                  <a:pt x="5933888" y="2383711"/>
                </a:cubicBezTo>
                <a:close/>
                <a:moveTo>
                  <a:pt x="5924119" y="2373942"/>
                </a:moveTo>
                <a:cubicBezTo>
                  <a:pt x="5924119" y="2373942"/>
                  <a:pt x="5926561" y="2373942"/>
                  <a:pt x="5929003" y="2375163"/>
                </a:cubicBezTo>
                <a:lnTo>
                  <a:pt x="5929404" y="2375864"/>
                </a:lnTo>
                <a:close/>
                <a:moveTo>
                  <a:pt x="824904" y="2344634"/>
                </a:moveTo>
                <a:cubicBezTo>
                  <a:pt x="834673" y="2344634"/>
                  <a:pt x="834673" y="2344634"/>
                  <a:pt x="834673" y="2344634"/>
                </a:cubicBezTo>
                <a:cubicBezTo>
                  <a:pt x="834673" y="2344634"/>
                  <a:pt x="844441" y="2344634"/>
                  <a:pt x="844441" y="2344634"/>
                </a:cubicBezTo>
                <a:cubicBezTo>
                  <a:pt x="854210" y="2344634"/>
                  <a:pt x="863978" y="2344634"/>
                  <a:pt x="873747" y="2354403"/>
                </a:cubicBezTo>
                <a:cubicBezTo>
                  <a:pt x="873747" y="2354403"/>
                  <a:pt x="863978" y="2354403"/>
                  <a:pt x="863978" y="2354403"/>
                </a:cubicBezTo>
                <a:cubicBezTo>
                  <a:pt x="863978" y="2354403"/>
                  <a:pt x="844441" y="2354403"/>
                  <a:pt x="834673" y="2354403"/>
                </a:cubicBezTo>
                <a:cubicBezTo>
                  <a:pt x="824904" y="2344634"/>
                  <a:pt x="824904" y="2344634"/>
                  <a:pt x="824904" y="2344634"/>
                </a:cubicBezTo>
                <a:close/>
                <a:moveTo>
                  <a:pt x="1069119" y="2325095"/>
                </a:moveTo>
                <a:cubicBezTo>
                  <a:pt x="1069119" y="2325095"/>
                  <a:pt x="1078888" y="2325095"/>
                  <a:pt x="1078888" y="2325095"/>
                </a:cubicBezTo>
                <a:cubicBezTo>
                  <a:pt x="1078888" y="2325095"/>
                  <a:pt x="1078888" y="2334865"/>
                  <a:pt x="1069119" y="2325095"/>
                </a:cubicBezTo>
                <a:close/>
                <a:moveTo>
                  <a:pt x="346242" y="2237172"/>
                </a:moveTo>
                <a:cubicBezTo>
                  <a:pt x="356011" y="2237172"/>
                  <a:pt x="375548" y="2237172"/>
                  <a:pt x="385317" y="2237172"/>
                </a:cubicBezTo>
                <a:cubicBezTo>
                  <a:pt x="395085" y="2237172"/>
                  <a:pt x="404854" y="2237172"/>
                  <a:pt x="414622" y="2246941"/>
                </a:cubicBezTo>
                <a:cubicBezTo>
                  <a:pt x="404854" y="2246941"/>
                  <a:pt x="375548" y="2246941"/>
                  <a:pt x="365779" y="2246941"/>
                </a:cubicBezTo>
                <a:cubicBezTo>
                  <a:pt x="365779" y="2246941"/>
                  <a:pt x="346242" y="2246941"/>
                  <a:pt x="316936" y="2246941"/>
                </a:cubicBezTo>
                <a:cubicBezTo>
                  <a:pt x="316936" y="2246941"/>
                  <a:pt x="307168" y="2246941"/>
                  <a:pt x="297399" y="2246941"/>
                </a:cubicBezTo>
                <a:cubicBezTo>
                  <a:pt x="297399" y="2246941"/>
                  <a:pt x="287630" y="2246941"/>
                  <a:pt x="277862" y="2246941"/>
                </a:cubicBezTo>
                <a:cubicBezTo>
                  <a:pt x="277862" y="2246941"/>
                  <a:pt x="268093" y="2246941"/>
                  <a:pt x="268093" y="2246941"/>
                </a:cubicBezTo>
                <a:cubicBezTo>
                  <a:pt x="268093" y="2237172"/>
                  <a:pt x="297399" y="2237172"/>
                  <a:pt x="346242" y="2237172"/>
                </a:cubicBezTo>
                <a:close/>
                <a:moveTo>
                  <a:pt x="3608958" y="2012477"/>
                </a:moveTo>
                <a:lnTo>
                  <a:pt x="3618250" y="2015337"/>
                </a:lnTo>
                <a:lnTo>
                  <a:pt x="3617506" y="2019804"/>
                </a:lnTo>
                <a:cubicBezTo>
                  <a:pt x="3616285" y="2019804"/>
                  <a:pt x="3613843" y="2017362"/>
                  <a:pt x="3608958" y="2012477"/>
                </a:cubicBezTo>
                <a:close/>
                <a:moveTo>
                  <a:pt x="871305" y="1999045"/>
                </a:moveTo>
                <a:cubicBezTo>
                  <a:pt x="873747" y="1997823"/>
                  <a:pt x="878631" y="1997823"/>
                  <a:pt x="883516" y="2002708"/>
                </a:cubicBezTo>
                <a:lnTo>
                  <a:pt x="879852" y="2002708"/>
                </a:lnTo>
                <a:cubicBezTo>
                  <a:pt x="876189" y="2002708"/>
                  <a:pt x="873747" y="2002708"/>
                  <a:pt x="873747" y="2002708"/>
                </a:cubicBezTo>
                <a:cubicBezTo>
                  <a:pt x="868863" y="2002708"/>
                  <a:pt x="868863" y="2000266"/>
                  <a:pt x="871305" y="1999045"/>
                </a:cubicBezTo>
                <a:close/>
                <a:moveTo>
                  <a:pt x="990970" y="1905015"/>
                </a:moveTo>
                <a:cubicBezTo>
                  <a:pt x="990970" y="1905015"/>
                  <a:pt x="1000739" y="1905015"/>
                  <a:pt x="1000739" y="1905015"/>
                </a:cubicBezTo>
                <a:cubicBezTo>
                  <a:pt x="1000739" y="1914784"/>
                  <a:pt x="1010508" y="1914784"/>
                  <a:pt x="1010508" y="1914784"/>
                </a:cubicBezTo>
                <a:cubicBezTo>
                  <a:pt x="1010508" y="1914784"/>
                  <a:pt x="1010508" y="1914784"/>
                  <a:pt x="1000739" y="1914784"/>
                </a:cubicBezTo>
                <a:cubicBezTo>
                  <a:pt x="990970" y="1914784"/>
                  <a:pt x="990970" y="1914784"/>
                  <a:pt x="990970" y="1905015"/>
                </a:cubicBezTo>
                <a:close/>
                <a:moveTo>
                  <a:pt x="326705" y="1836630"/>
                </a:moveTo>
                <a:cubicBezTo>
                  <a:pt x="336473" y="1836630"/>
                  <a:pt x="346242" y="1836630"/>
                  <a:pt x="356011" y="1836630"/>
                </a:cubicBezTo>
                <a:cubicBezTo>
                  <a:pt x="365779" y="1836630"/>
                  <a:pt x="375548" y="1836630"/>
                  <a:pt x="385317" y="1836630"/>
                </a:cubicBezTo>
                <a:cubicBezTo>
                  <a:pt x="385317" y="1846399"/>
                  <a:pt x="395085" y="1846399"/>
                  <a:pt x="395085" y="1846399"/>
                </a:cubicBezTo>
                <a:lnTo>
                  <a:pt x="388980" y="1846399"/>
                </a:lnTo>
                <a:cubicBezTo>
                  <a:pt x="380432" y="1846399"/>
                  <a:pt x="370664" y="1846399"/>
                  <a:pt x="365779" y="1846399"/>
                </a:cubicBezTo>
                <a:cubicBezTo>
                  <a:pt x="356011" y="1846399"/>
                  <a:pt x="346242" y="1846399"/>
                  <a:pt x="326705" y="1836630"/>
                </a:cubicBezTo>
                <a:close/>
                <a:moveTo>
                  <a:pt x="3091222" y="1787783"/>
                </a:moveTo>
                <a:cubicBezTo>
                  <a:pt x="3091222" y="1787783"/>
                  <a:pt x="3100991" y="1787783"/>
                  <a:pt x="3100991" y="1787783"/>
                </a:cubicBezTo>
                <a:cubicBezTo>
                  <a:pt x="3100991" y="1787783"/>
                  <a:pt x="3100991" y="1787783"/>
                  <a:pt x="3110759" y="1797552"/>
                </a:cubicBezTo>
                <a:cubicBezTo>
                  <a:pt x="3110759" y="1797552"/>
                  <a:pt x="3110759" y="1797552"/>
                  <a:pt x="3100991" y="1797552"/>
                </a:cubicBezTo>
                <a:cubicBezTo>
                  <a:pt x="3100991" y="1797552"/>
                  <a:pt x="3100991" y="1787783"/>
                  <a:pt x="3091222" y="1787783"/>
                </a:cubicBezTo>
                <a:close/>
                <a:moveTo>
                  <a:pt x="2612560" y="1748706"/>
                </a:moveTo>
                <a:cubicBezTo>
                  <a:pt x="2622329" y="1748706"/>
                  <a:pt x="2641866" y="1748706"/>
                  <a:pt x="2641866" y="1758475"/>
                </a:cubicBezTo>
                <a:lnTo>
                  <a:pt x="2622214" y="1754338"/>
                </a:lnTo>
                <a:close/>
                <a:moveTo>
                  <a:pt x="2475799" y="1729168"/>
                </a:moveTo>
                <a:cubicBezTo>
                  <a:pt x="2475799" y="1729168"/>
                  <a:pt x="2485568" y="1738937"/>
                  <a:pt x="2514874" y="1748706"/>
                </a:cubicBezTo>
                <a:cubicBezTo>
                  <a:pt x="2495337" y="1748706"/>
                  <a:pt x="2475799" y="1738937"/>
                  <a:pt x="2475799" y="1729168"/>
                </a:cubicBezTo>
                <a:close/>
                <a:moveTo>
                  <a:pt x="4341" y="1719398"/>
                </a:moveTo>
                <a:cubicBezTo>
                  <a:pt x="4341" y="1719398"/>
                  <a:pt x="23878" y="1719398"/>
                  <a:pt x="33646" y="1719398"/>
                </a:cubicBezTo>
                <a:cubicBezTo>
                  <a:pt x="43415" y="1719398"/>
                  <a:pt x="53184" y="1729168"/>
                  <a:pt x="62952" y="1729168"/>
                </a:cubicBezTo>
                <a:lnTo>
                  <a:pt x="62036" y="1729168"/>
                </a:lnTo>
                <a:cubicBezTo>
                  <a:pt x="37310" y="1729168"/>
                  <a:pt x="4341" y="1729168"/>
                  <a:pt x="4341" y="1729168"/>
                </a:cubicBezTo>
                <a:cubicBezTo>
                  <a:pt x="4341" y="1719398"/>
                  <a:pt x="-5428" y="1719398"/>
                  <a:pt x="4341" y="1719398"/>
                </a:cubicBezTo>
                <a:close/>
                <a:moveTo>
                  <a:pt x="72721" y="1686427"/>
                </a:moveTo>
                <a:cubicBezTo>
                  <a:pt x="75163" y="1685206"/>
                  <a:pt x="82489" y="1685206"/>
                  <a:pt x="92258" y="1690090"/>
                </a:cubicBezTo>
                <a:cubicBezTo>
                  <a:pt x="111795" y="1699859"/>
                  <a:pt x="160638" y="1709629"/>
                  <a:pt x="180176" y="1709629"/>
                </a:cubicBezTo>
                <a:cubicBezTo>
                  <a:pt x="189944" y="1709629"/>
                  <a:pt x="209482" y="1709629"/>
                  <a:pt x="219250" y="1709629"/>
                </a:cubicBezTo>
                <a:cubicBezTo>
                  <a:pt x="238787" y="1709629"/>
                  <a:pt x="287630" y="1719398"/>
                  <a:pt x="297399" y="1719398"/>
                </a:cubicBezTo>
                <a:cubicBezTo>
                  <a:pt x="297399" y="1719398"/>
                  <a:pt x="307168" y="1719398"/>
                  <a:pt x="307168" y="1719398"/>
                </a:cubicBezTo>
                <a:cubicBezTo>
                  <a:pt x="307168" y="1719398"/>
                  <a:pt x="326705" y="1719398"/>
                  <a:pt x="356011" y="1719398"/>
                </a:cubicBezTo>
                <a:cubicBezTo>
                  <a:pt x="375548" y="1719398"/>
                  <a:pt x="404854" y="1719398"/>
                  <a:pt x="414622" y="1729168"/>
                </a:cubicBezTo>
                <a:lnTo>
                  <a:pt x="399969" y="1729168"/>
                </a:lnTo>
                <a:cubicBezTo>
                  <a:pt x="390201" y="1729168"/>
                  <a:pt x="380432" y="1729168"/>
                  <a:pt x="375548" y="1729168"/>
                </a:cubicBezTo>
                <a:cubicBezTo>
                  <a:pt x="316936" y="1729168"/>
                  <a:pt x="258325" y="1719398"/>
                  <a:pt x="209482" y="1719398"/>
                </a:cubicBezTo>
                <a:cubicBezTo>
                  <a:pt x="131332" y="1709629"/>
                  <a:pt x="102027" y="1699859"/>
                  <a:pt x="82489" y="1690090"/>
                </a:cubicBezTo>
                <a:cubicBezTo>
                  <a:pt x="72721" y="1690090"/>
                  <a:pt x="70279" y="1687648"/>
                  <a:pt x="72721" y="1686427"/>
                </a:cubicBezTo>
                <a:close/>
                <a:moveTo>
                  <a:pt x="2426956" y="1647350"/>
                </a:moveTo>
                <a:cubicBezTo>
                  <a:pt x="2429399" y="1648571"/>
                  <a:pt x="2431841" y="1651013"/>
                  <a:pt x="2436725" y="1651013"/>
                </a:cubicBezTo>
                <a:cubicBezTo>
                  <a:pt x="2446494" y="1660782"/>
                  <a:pt x="2446494" y="1660782"/>
                  <a:pt x="2495337" y="1670551"/>
                </a:cubicBezTo>
                <a:cubicBezTo>
                  <a:pt x="2514874" y="1680321"/>
                  <a:pt x="2534411" y="1690090"/>
                  <a:pt x="2593023" y="1709629"/>
                </a:cubicBezTo>
                <a:cubicBezTo>
                  <a:pt x="2583254" y="1709629"/>
                  <a:pt x="2573485" y="1709629"/>
                  <a:pt x="2563717" y="1699859"/>
                </a:cubicBezTo>
                <a:cubicBezTo>
                  <a:pt x="2553948" y="1699859"/>
                  <a:pt x="2534411" y="1699859"/>
                  <a:pt x="2534411" y="1690090"/>
                </a:cubicBezTo>
                <a:cubicBezTo>
                  <a:pt x="2524642" y="1690090"/>
                  <a:pt x="2524642" y="1690090"/>
                  <a:pt x="2514874" y="1690090"/>
                </a:cubicBezTo>
                <a:cubicBezTo>
                  <a:pt x="2514874" y="1690090"/>
                  <a:pt x="2514874" y="1690090"/>
                  <a:pt x="2505105" y="1690090"/>
                </a:cubicBezTo>
                <a:cubicBezTo>
                  <a:pt x="2495337" y="1680321"/>
                  <a:pt x="2485568" y="1680321"/>
                  <a:pt x="2485568" y="1680321"/>
                </a:cubicBezTo>
                <a:cubicBezTo>
                  <a:pt x="2475799" y="1680321"/>
                  <a:pt x="2466031" y="1680321"/>
                  <a:pt x="2456262" y="1680321"/>
                </a:cubicBezTo>
                <a:cubicBezTo>
                  <a:pt x="2436725" y="1670551"/>
                  <a:pt x="2436725" y="1670551"/>
                  <a:pt x="2426956" y="1660782"/>
                </a:cubicBezTo>
                <a:cubicBezTo>
                  <a:pt x="2417188" y="1660782"/>
                  <a:pt x="2417188" y="1651013"/>
                  <a:pt x="2417188" y="1651013"/>
                </a:cubicBezTo>
                <a:cubicBezTo>
                  <a:pt x="2422072" y="1646128"/>
                  <a:pt x="2424514" y="1646128"/>
                  <a:pt x="2426956" y="1647350"/>
                </a:cubicBezTo>
                <a:close/>
                <a:moveTo>
                  <a:pt x="2319502" y="1631475"/>
                </a:moveTo>
                <a:cubicBezTo>
                  <a:pt x="2319502" y="1631475"/>
                  <a:pt x="2329270" y="1631475"/>
                  <a:pt x="2339039" y="1641244"/>
                </a:cubicBezTo>
                <a:cubicBezTo>
                  <a:pt x="2368345" y="1651013"/>
                  <a:pt x="2378113" y="1660782"/>
                  <a:pt x="2397650" y="1660782"/>
                </a:cubicBezTo>
                <a:cubicBezTo>
                  <a:pt x="2407419" y="1660782"/>
                  <a:pt x="2407419" y="1660782"/>
                  <a:pt x="2407419" y="1660782"/>
                </a:cubicBezTo>
                <a:cubicBezTo>
                  <a:pt x="2407419" y="1670551"/>
                  <a:pt x="2426956" y="1670551"/>
                  <a:pt x="2436725" y="1680321"/>
                </a:cubicBezTo>
                <a:cubicBezTo>
                  <a:pt x="2466031" y="1690090"/>
                  <a:pt x="2475799" y="1699859"/>
                  <a:pt x="2524642" y="1709629"/>
                </a:cubicBezTo>
                <a:cubicBezTo>
                  <a:pt x="2534411" y="1719398"/>
                  <a:pt x="2553948" y="1719398"/>
                  <a:pt x="2563717" y="1729168"/>
                </a:cubicBezTo>
                <a:cubicBezTo>
                  <a:pt x="2563717" y="1729168"/>
                  <a:pt x="2573485" y="1729168"/>
                  <a:pt x="2583254" y="1738937"/>
                </a:cubicBezTo>
                <a:cubicBezTo>
                  <a:pt x="2593023" y="1738937"/>
                  <a:pt x="2602791" y="1738937"/>
                  <a:pt x="2612560" y="1748706"/>
                </a:cubicBezTo>
                <a:lnTo>
                  <a:pt x="2602791" y="1748706"/>
                </a:lnTo>
                <a:cubicBezTo>
                  <a:pt x="2593023" y="1748706"/>
                  <a:pt x="2583254" y="1738937"/>
                  <a:pt x="2553948" y="1729168"/>
                </a:cubicBezTo>
                <a:cubicBezTo>
                  <a:pt x="2544180" y="1729168"/>
                  <a:pt x="2534411" y="1719398"/>
                  <a:pt x="2524642" y="1719398"/>
                </a:cubicBezTo>
                <a:cubicBezTo>
                  <a:pt x="2524642" y="1719398"/>
                  <a:pt x="2505105" y="1709629"/>
                  <a:pt x="2485568" y="1709629"/>
                </a:cubicBezTo>
                <a:cubicBezTo>
                  <a:pt x="2466031" y="1699859"/>
                  <a:pt x="2446494" y="1699859"/>
                  <a:pt x="2446494" y="1699859"/>
                </a:cubicBezTo>
                <a:cubicBezTo>
                  <a:pt x="2446494" y="1699859"/>
                  <a:pt x="2397650" y="1680321"/>
                  <a:pt x="2358576" y="1660782"/>
                </a:cubicBezTo>
                <a:cubicBezTo>
                  <a:pt x="2348807" y="1651013"/>
                  <a:pt x="2339039" y="1651013"/>
                  <a:pt x="2329270" y="1651013"/>
                </a:cubicBezTo>
                <a:cubicBezTo>
                  <a:pt x="2329270" y="1651013"/>
                  <a:pt x="2319502" y="1641244"/>
                  <a:pt x="2319502" y="1631475"/>
                </a:cubicBezTo>
                <a:close/>
                <a:moveTo>
                  <a:pt x="1508707" y="1631475"/>
                </a:moveTo>
                <a:cubicBezTo>
                  <a:pt x="1508707" y="1631475"/>
                  <a:pt x="1508707" y="1631475"/>
                  <a:pt x="1518475" y="1641244"/>
                </a:cubicBezTo>
                <a:cubicBezTo>
                  <a:pt x="1508707" y="1641244"/>
                  <a:pt x="1508707" y="1641244"/>
                  <a:pt x="1508707" y="1631475"/>
                </a:cubicBezTo>
                <a:close/>
                <a:moveTo>
                  <a:pt x="2700477" y="1611936"/>
                </a:moveTo>
                <a:cubicBezTo>
                  <a:pt x="2710246" y="1611936"/>
                  <a:pt x="2720015" y="1611936"/>
                  <a:pt x="2720015" y="1611936"/>
                </a:cubicBezTo>
                <a:cubicBezTo>
                  <a:pt x="2710246" y="1611936"/>
                  <a:pt x="2720015" y="1611936"/>
                  <a:pt x="2720015" y="1621705"/>
                </a:cubicBezTo>
                <a:cubicBezTo>
                  <a:pt x="2710246" y="1621705"/>
                  <a:pt x="2700477" y="1621705"/>
                  <a:pt x="2700477" y="1611936"/>
                </a:cubicBezTo>
                <a:close/>
                <a:moveTo>
                  <a:pt x="2426956" y="1611936"/>
                </a:moveTo>
                <a:cubicBezTo>
                  <a:pt x="2436725" y="1611936"/>
                  <a:pt x="2436725" y="1611936"/>
                  <a:pt x="2436725" y="1611936"/>
                </a:cubicBezTo>
                <a:cubicBezTo>
                  <a:pt x="2436725" y="1611936"/>
                  <a:pt x="2475799" y="1621705"/>
                  <a:pt x="2475799" y="1621705"/>
                </a:cubicBezTo>
                <a:cubicBezTo>
                  <a:pt x="2475799" y="1621705"/>
                  <a:pt x="2475799" y="1621705"/>
                  <a:pt x="2485568" y="1621705"/>
                </a:cubicBezTo>
                <a:cubicBezTo>
                  <a:pt x="2495337" y="1621705"/>
                  <a:pt x="2505105" y="1621705"/>
                  <a:pt x="2534411" y="1631475"/>
                </a:cubicBezTo>
                <a:cubicBezTo>
                  <a:pt x="2544180" y="1641244"/>
                  <a:pt x="2553948" y="1641244"/>
                  <a:pt x="2563717" y="1641244"/>
                </a:cubicBezTo>
                <a:cubicBezTo>
                  <a:pt x="2573485" y="1651013"/>
                  <a:pt x="2583254" y="1651013"/>
                  <a:pt x="2583254" y="1651013"/>
                </a:cubicBezTo>
                <a:cubicBezTo>
                  <a:pt x="2593023" y="1651013"/>
                  <a:pt x="2593023" y="1651013"/>
                  <a:pt x="2593023" y="1651013"/>
                </a:cubicBezTo>
                <a:cubicBezTo>
                  <a:pt x="2612560" y="1651013"/>
                  <a:pt x="2632097" y="1660782"/>
                  <a:pt x="2641866" y="1670551"/>
                </a:cubicBezTo>
                <a:cubicBezTo>
                  <a:pt x="2632097" y="1670551"/>
                  <a:pt x="2632097" y="1670551"/>
                  <a:pt x="2622329" y="1670551"/>
                </a:cubicBezTo>
                <a:cubicBezTo>
                  <a:pt x="2622329" y="1670551"/>
                  <a:pt x="2612560" y="1660782"/>
                  <a:pt x="2602791" y="1660782"/>
                </a:cubicBezTo>
                <a:cubicBezTo>
                  <a:pt x="2593023" y="1660782"/>
                  <a:pt x="2583254" y="1660782"/>
                  <a:pt x="2583254" y="1660782"/>
                </a:cubicBezTo>
                <a:cubicBezTo>
                  <a:pt x="2563717" y="1651013"/>
                  <a:pt x="2544180" y="1641244"/>
                  <a:pt x="2544180" y="1641244"/>
                </a:cubicBezTo>
                <a:cubicBezTo>
                  <a:pt x="2544180" y="1641244"/>
                  <a:pt x="2534411" y="1641244"/>
                  <a:pt x="2514874" y="1631475"/>
                </a:cubicBezTo>
                <a:cubicBezTo>
                  <a:pt x="2495337" y="1631475"/>
                  <a:pt x="2466031" y="1621705"/>
                  <a:pt x="2456262" y="1621705"/>
                </a:cubicBezTo>
                <a:cubicBezTo>
                  <a:pt x="2426956" y="1611936"/>
                  <a:pt x="2426956" y="1611936"/>
                  <a:pt x="2426956" y="1611936"/>
                </a:cubicBezTo>
                <a:close/>
                <a:moveTo>
                  <a:pt x="2251121" y="1611936"/>
                </a:moveTo>
                <a:cubicBezTo>
                  <a:pt x="2251121" y="1621705"/>
                  <a:pt x="2260890" y="1621705"/>
                  <a:pt x="2260890" y="1621705"/>
                </a:cubicBezTo>
                <a:cubicBezTo>
                  <a:pt x="2270659" y="1611936"/>
                  <a:pt x="2290196" y="1621705"/>
                  <a:pt x="2299964" y="1621705"/>
                </a:cubicBezTo>
                <a:cubicBezTo>
                  <a:pt x="2299964" y="1621705"/>
                  <a:pt x="2309733" y="1621705"/>
                  <a:pt x="2319502" y="1631475"/>
                </a:cubicBezTo>
                <a:cubicBezTo>
                  <a:pt x="2319502" y="1631475"/>
                  <a:pt x="2299964" y="1631475"/>
                  <a:pt x="2290196" y="1631475"/>
                </a:cubicBezTo>
                <a:cubicBezTo>
                  <a:pt x="2280427" y="1621705"/>
                  <a:pt x="2251121" y="1631475"/>
                  <a:pt x="2251121" y="1631475"/>
                </a:cubicBezTo>
                <a:cubicBezTo>
                  <a:pt x="2251121" y="1641244"/>
                  <a:pt x="2251121" y="1641244"/>
                  <a:pt x="2251121" y="1641244"/>
                </a:cubicBezTo>
                <a:cubicBezTo>
                  <a:pt x="2251121" y="1641244"/>
                  <a:pt x="2251121" y="1641244"/>
                  <a:pt x="2241353" y="1641244"/>
                </a:cubicBezTo>
                <a:cubicBezTo>
                  <a:pt x="2231584" y="1641244"/>
                  <a:pt x="2231584" y="1641244"/>
                  <a:pt x="2231584" y="1641244"/>
                </a:cubicBezTo>
                <a:cubicBezTo>
                  <a:pt x="2221815" y="1641244"/>
                  <a:pt x="2221815" y="1631475"/>
                  <a:pt x="2221815" y="1631475"/>
                </a:cubicBezTo>
                <a:cubicBezTo>
                  <a:pt x="2221815" y="1631475"/>
                  <a:pt x="2221815" y="1621705"/>
                  <a:pt x="2241353" y="1621705"/>
                </a:cubicBezTo>
                <a:cubicBezTo>
                  <a:pt x="2251121" y="1621705"/>
                  <a:pt x="2251121" y="1621705"/>
                  <a:pt x="2251121" y="1611936"/>
                </a:cubicBezTo>
                <a:close/>
                <a:moveTo>
                  <a:pt x="1215648" y="1572858"/>
                </a:moveTo>
                <a:cubicBezTo>
                  <a:pt x="1215648" y="1572858"/>
                  <a:pt x="1225417" y="1582628"/>
                  <a:pt x="1225417" y="1582628"/>
                </a:cubicBezTo>
                <a:cubicBezTo>
                  <a:pt x="1225417" y="1582628"/>
                  <a:pt x="1235186" y="1582628"/>
                  <a:pt x="1235186" y="1582628"/>
                </a:cubicBezTo>
                <a:cubicBezTo>
                  <a:pt x="1235186" y="1582628"/>
                  <a:pt x="1235186" y="1582628"/>
                  <a:pt x="1244954" y="1582628"/>
                </a:cubicBezTo>
                <a:cubicBezTo>
                  <a:pt x="1244954" y="1582628"/>
                  <a:pt x="1235186" y="1592397"/>
                  <a:pt x="1235186" y="1592397"/>
                </a:cubicBezTo>
                <a:cubicBezTo>
                  <a:pt x="1235186" y="1592397"/>
                  <a:pt x="1235186" y="1592397"/>
                  <a:pt x="1225417" y="1592397"/>
                </a:cubicBezTo>
                <a:cubicBezTo>
                  <a:pt x="1225417" y="1592397"/>
                  <a:pt x="1205880" y="1582628"/>
                  <a:pt x="1205880" y="1582628"/>
                </a:cubicBezTo>
                <a:cubicBezTo>
                  <a:pt x="1205880" y="1582628"/>
                  <a:pt x="1215648" y="1582628"/>
                  <a:pt x="1215648" y="1582628"/>
                </a:cubicBezTo>
                <a:cubicBezTo>
                  <a:pt x="1215648" y="1572858"/>
                  <a:pt x="1215648" y="1572858"/>
                  <a:pt x="1215648" y="1572858"/>
                </a:cubicBezTo>
                <a:close/>
                <a:moveTo>
                  <a:pt x="512461" y="1441736"/>
                </a:moveTo>
                <a:cubicBezTo>
                  <a:pt x="514140" y="1442194"/>
                  <a:pt x="517193" y="1443415"/>
                  <a:pt x="522077" y="1445857"/>
                </a:cubicBezTo>
                <a:cubicBezTo>
                  <a:pt x="514751" y="1445857"/>
                  <a:pt x="507424" y="1440362"/>
                  <a:pt x="512461" y="1441736"/>
                </a:cubicBezTo>
                <a:close/>
                <a:moveTo>
                  <a:pt x="1918988" y="1299318"/>
                </a:moveTo>
                <a:cubicBezTo>
                  <a:pt x="1918988" y="1299318"/>
                  <a:pt x="1928757" y="1299318"/>
                  <a:pt x="1928757" y="1309087"/>
                </a:cubicBezTo>
                <a:cubicBezTo>
                  <a:pt x="1928757" y="1309087"/>
                  <a:pt x="1918988" y="1309087"/>
                  <a:pt x="1918988" y="1309087"/>
                </a:cubicBezTo>
                <a:cubicBezTo>
                  <a:pt x="1909220" y="1299318"/>
                  <a:pt x="1909220" y="1299318"/>
                  <a:pt x="1918988" y="1299318"/>
                </a:cubicBezTo>
                <a:close/>
                <a:moveTo>
                  <a:pt x="1860377" y="1230933"/>
                </a:moveTo>
                <a:cubicBezTo>
                  <a:pt x="1870145" y="1230933"/>
                  <a:pt x="1870145" y="1230933"/>
                  <a:pt x="1879914" y="1240702"/>
                </a:cubicBezTo>
                <a:cubicBezTo>
                  <a:pt x="1860377" y="1240702"/>
                  <a:pt x="1860377" y="1230933"/>
                  <a:pt x="1860377" y="1230933"/>
                </a:cubicBezTo>
                <a:close/>
                <a:moveTo>
                  <a:pt x="4175538" y="1191855"/>
                </a:moveTo>
                <a:cubicBezTo>
                  <a:pt x="4185306" y="1201625"/>
                  <a:pt x="4204844" y="1201625"/>
                  <a:pt x="4195075" y="1201625"/>
                </a:cubicBezTo>
                <a:cubicBezTo>
                  <a:pt x="4195075" y="1201625"/>
                  <a:pt x="4192633" y="1200404"/>
                  <a:pt x="4188817" y="1198572"/>
                </a:cubicBezTo>
                <a:lnTo>
                  <a:pt x="4174339" y="1191866"/>
                </a:lnTo>
                <a:close/>
                <a:moveTo>
                  <a:pt x="1767575" y="1077066"/>
                </a:moveTo>
                <a:cubicBezTo>
                  <a:pt x="1765133" y="1077066"/>
                  <a:pt x="1762691" y="1079508"/>
                  <a:pt x="1762691" y="1084393"/>
                </a:cubicBezTo>
                <a:cubicBezTo>
                  <a:pt x="1772459" y="1084393"/>
                  <a:pt x="1772459" y="1084393"/>
                  <a:pt x="1772459" y="1084393"/>
                </a:cubicBezTo>
                <a:cubicBezTo>
                  <a:pt x="1772459" y="1079508"/>
                  <a:pt x="1770017" y="1077066"/>
                  <a:pt x="1767575" y="1077066"/>
                </a:cubicBezTo>
                <a:close/>
                <a:moveTo>
                  <a:pt x="1612498" y="1070960"/>
                </a:moveTo>
                <a:cubicBezTo>
                  <a:pt x="1616162" y="1069739"/>
                  <a:pt x="1621046" y="1069739"/>
                  <a:pt x="1625930" y="1074624"/>
                </a:cubicBezTo>
                <a:lnTo>
                  <a:pt x="1635699" y="1074624"/>
                </a:lnTo>
                <a:cubicBezTo>
                  <a:pt x="1635699" y="1084393"/>
                  <a:pt x="1645467" y="1084393"/>
                  <a:pt x="1655236" y="1084393"/>
                </a:cubicBezTo>
                <a:cubicBezTo>
                  <a:pt x="1665005" y="1084393"/>
                  <a:pt x="1665005" y="1084393"/>
                  <a:pt x="1665005" y="1084393"/>
                </a:cubicBezTo>
                <a:cubicBezTo>
                  <a:pt x="1665005" y="1084393"/>
                  <a:pt x="1674773" y="1084393"/>
                  <a:pt x="1674773" y="1084393"/>
                </a:cubicBezTo>
                <a:cubicBezTo>
                  <a:pt x="1684542" y="1084393"/>
                  <a:pt x="1713848" y="1084393"/>
                  <a:pt x="1713848" y="1084393"/>
                </a:cubicBezTo>
                <a:cubicBezTo>
                  <a:pt x="1723616" y="1094162"/>
                  <a:pt x="1723616" y="1094162"/>
                  <a:pt x="1723616" y="1094162"/>
                </a:cubicBezTo>
                <a:cubicBezTo>
                  <a:pt x="1713848" y="1094162"/>
                  <a:pt x="1733385" y="1103932"/>
                  <a:pt x="1762691" y="1113701"/>
                </a:cubicBezTo>
                <a:cubicBezTo>
                  <a:pt x="1752922" y="1113701"/>
                  <a:pt x="1723616" y="1113701"/>
                  <a:pt x="1713848" y="1103932"/>
                </a:cubicBezTo>
                <a:cubicBezTo>
                  <a:pt x="1713848" y="1103932"/>
                  <a:pt x="1713848" y="1103932"/>
                  <a:pt x="1704079" y="1103932"/>
                </a:cubicBezTo>
                <a:cubicBezTo>
                  <a:pt x="1704079" y="1113701"/>
                  <a:pt x="1704079" y="1113701"/>
                  <a:pt x="1694310" y="1103932"/>
                </a:cubicBezTo>
                <a:cubicBezTo>
                  <a:pt x="1684542" y="1103932"/>
                  <a:pt x="1665005" y="1103932"/>
                  <a:pt x="1665005" y="1103932"/>
                </a:cubicBezTo>
                <a:cubicBezTo>
                  <a:pt x="1655236" y="1103932"/>
                  <a:pt x="1645467" y="1103932"/>
                  <a:pt x="1645467" y="1094162"/>
                </a:cubicBezTo>
                <a:cubicBezTo>
                  <a:pt x="1635699" y="1094162"/>
                  <a:pt x="1625930" y="1094162"/>
                  <a:pt x="1625930" y="1094162"/>
                </a:cubicBezTo>
                <a:cubicBezTo>
                  <a:pt x="1625930" y="1094162"/>
                  <a:pt x="1616162" y="1094162"/>
                  <a:pt x="1616162" y="1084393"/>
                </a:cubicBezTo>
                <a:cubicBezTo>
                  <a:pt x="1606393" y="1084393"/>
                  <a:pt x="1596624" y="1084393"/>
                  <a:pt x="1596624" y="1084393"/>
                </a:cubicBezTo>
                <a:cubicBezTo>
                  <a:pt x="1586856" y="1084393"/>
                  <a:pt x="1577087" y="1084393"/>
                  <a:pt x="1577087" y="1084393"/>
                </a:cubicBezTo>
                <a:cubicBezTo>
                  <a:pt x="1586856" y="1074624"/>
                  <a:pt x="1596624" y="1074624"/>
                  <a:pt x="1596624" y="1074624"/>
                </a:cubicBezTo>
                <a:cubicBezTo>
                  <a:pt x="1606393" y="1074624"/>
                  <a:pt x="1606393" y="1074624"/>
                  <a:pt x="1606393" y="1074624"/>
                </a:cubicBezTo>
                <a:cubicBezTo>
                  <a:pt x="1606393" y="1074624"/>
                  <a:pt x="1608835" y="1072182"/>
                  <a:pt x="1612498" y="1070960"/>
                </a:cubicBezTo>
                <a:close/>
                <a:moveTo>
                  <a:pt x="4400216" y="986700"/>
                </a:moveTo>
                <a:cubicBezTo>
                  <a:pt x="4409985" y="986700"/>
                  <a:pt x="4400216" y="996469"/>
                  <a:pt x="4400216" y="996469"/>
                </a:cubicBezTo>
                <a:cubicBezTo>
                  <a:pt x="4400216" y="996469"/>
                  <a:pt x="4400216" y="996469"/>
                  <a:pt x="4400216" y="986700"/>
                </a:cubicBezTo>
                <a:close/>
                <a:moveTo>
                  <a:pt x="1586856" y="976931"/>
                </a:moveTo>
                <a:cubicBezTo>
                  <a:pt x="1586856" y="976931"/>
                  <a:pt x="1645467" y="986700"/>
                  <a:pt x="1655236" y="996469"/>
                </a:cubicBezTo>
                <a:cubicBezTo>
                  <a:pt x="1665005" y="996469"/>
                  <a:pt x="1665005" y="996469"/>
                  <a:pt x="1665005" y="996469"/>
                </a:cubicBezTo>
                <a:cubicBezTo>
                  <a:pt x="1674773" y="996469"/>
                  <a:pt x="1694310" y="996469"/>
                  <a:pt x="1704079" y="1006239"/>
                </a:cubicBezTo>
                <a:cubicBezTo>
                  <a:pt x="1694310" y="1006239"/>
                  <a:pt x="1694310" y="1006239"/>
                  <a:pt x="1684542" y="1006239"/>
                </a:cubicBezTo>
                <a:cubicBezTo>
                  <a:pt x="1684542" y="1006239"/>
                  <a:pt x="1674773" y="1006239"/>
                  <a:pt x="1665005" y="1006239"/>
                </a:cubicBezTo>
                <a:cubicBezTo>
                  <a:pt x="1635699" y="996469"/>
                  <a:pt x="1635699" y="996469"/>
                  <a:pt x="1625930" y="996469"/>
                </a:cubicBezTo>
                <a:cubicBezTo>
                  <a:pt x="1625930" y="986700"/>
                  <a:pt x="1616162" y="986700"/>
                  <a:pt x="1606393" y="986700"/>
                </a:cubicBezTo>
                <a:cubicBezTo>
                  <a:pt x="1596624" y="986700"/>
                  <a:pt x="1586856" y="976931"/>
                  <a:pt x="1586856" y="976931"/>
                </a:cubicBezTo>
                <a:close/>
                <a:moveTo>
                  <a:pt x="1860377" y="859699"/>
                </a:moveTo>
                <a:cubicBezTo>
                  <a:pt x="1860377" y="859699"/>
                  <a:pt x="1870145" y="859699"/>
                  <a:pt x="1879914" y="859699"/>
                </a:cubicBezTo>
                <a:cubicBezTo>
                  <a:pt x="1889683" y="869468"/>
                  <a:pt x="1899451" y="869468"/>
                  <a:pt x="1899451" y="869468"/>
                </a:cubicBezTo>
                <a:cubicBezTo>
                  <a:pt x="1899451" y="869468"/>
                  <a:pt x="1899451" y="869468"/>
                  <a:pt x="1909220" y="869468"/>
                </a:cubicBezTo>
                <a:cubicBezTo>
                  <a:pt x="1909220" y="869468"/>
                  <a:pt x="1918988" y="869468"/>
                  <a:pt x="1928757" y="879238"/>
                </a:cubicBezTo>
                <a:cubicBezTo>
                  <a:pt x="1928757" y="879238"/>
                  <a:pt x="1928757" y="879238"/>
                  <a:pt x="1918988" y="879238"/>
                </a:cubicBezTo>
                <a:cubicBezTo>
                  <a:pt x="1918988" y="879238"/>
                  <a:pt x="1909220" y="879238"/>
                  <a:pt x="1909220" y="879238"/>
                </a:cubicBezTo>
                <a:cubicBezTo>
                  <a:pt x="1899451" y="879238"/>
                  <a:pt x="1889683" y="869468"/>
                  <a:pt x="1889683" y="869468"/>
                </a:cubicBezTo>
                <a:cubicBezTo>
                  <a:pt x="1879914" y="869468"/>
                  <a:pt x="1870145" y="869468"/>
                  <a:pt x="1870145" y="869468"/>
                </a:cubicBezTo>
                <a:cubicBezTo>
                  <a:pt x="1860377" y="869468"/>
                  <a:pt x="1860377" y="859699"/>
                  <a:pt x="1860377" y="859699"/>
                </a:cubicBezTo>
                <a:close/>
                <a:moveTo>
                  <a:pt x="2329270" y="644774"/>
                </a:moveTo>
                <a:cubicBezTo>
                  <a:pt x="2329270" y="644774"/>
                  <a:pt x="2329270" y="644774"/>
                  <a:pt x="2330491" y="645995"/>
                </a:cubicBezTo>
                <a:lnTo>
                  <a:pt x="2336872" y="652377"/>
                </a:lnTo>
                <a:lnTo>
                  <a:pt x="2337818" y="653322"/>
                </a:lnTo>
                <a:cubicBezTo>
                  <a:pt x="2339039" y="654543"/>
                  <a:pt x="2339039" y="654543"/>
                  <a:pt x="2339039" y="654543"/>
                </a:cubicBezTo>
                <a:lnTo>
                  <a:pt x="2336872" y="652377"/>
                </a:lnTo>
                <a:close/>
                <a:moveTo>
                  <a:pt x="1577087" y="644774"/>
                </a:moveTo>
                <a:cubicBezTo>
                  <a:pt x="1577087" y="644774"/>
                  <a:pt x="1586856" y="644774"/>
                  <a:pt x="1596624" y="644774"/>
                </a:cubicBezTo>
                <a:cubicBezTo>
                  <a:pt x="1606393" y="644774"/>
                  <a:pt x="1616162" y="644774"/>
                  <a:pt x="1625930" y="644774"/>
                </a:cubicBezTo>
                <a:cubicBezTo>
                  <a:pt x="1635699" y="644774"/>
                  <a:pt x="1645467" y="644774"/>
                  <a:pt x="1655236" y="654543"/>
                </a:cubicBezTo>
                <a:cubicBezTo>
                  <a:pt x="1645467" y="654543"/>
                  <a:pt x="1645467" y="654543"/>
                  <a:pt x="1645467" y="654543"/>
                </a:cubicBezTo>
                <a:cubicBezTo>
                  <a:pt x="1645467" y="654543"/>
                  <a:pt x="1616162" y="654543"/>
                  <a:pt x="1596624" y="654543"/>
                </a:cubicBezTo>
                <a:cubicBezTo>
                  <a:pt x="1586856" y="654543"/>
                  <a:pt x="1577087" y="644774"/>
                  <a:pt x="1577087" y="644774"/>
                </a:cubicBezTo>
                <a:close/>
                <a:moveTo>
                  <a:pt x="1928757" y="635005"/>
                </a:moveTo>
                <a:cubicBezTo>
                  <a:pt x="1928757" y="635005"/>
                  <a:pt x="1928757" y="635005"/>
                  <a:pt x="1948294" y="635005"/>
                </a:cubicBezTo>
                <a:cubicBezTo>
                  <a:pt x="1958063" y="644774"/>
                  <a:pt x="1997137" y="644774"/>
                  <a:pt x="2006906" y="654543"/>
                </a:cubicBezTo>
                <a:cubicBezTo>
                  <a:pt x="2016675" y="654543"/>
                  <a:pt x="2016675" y="654543"/>
                  <a:pt x="2016675" y="654543"/>
                </a:cubicBezTo>
                <a:cubicBezTo>
                  <a:pt x="2006906" y="654543"/>
                  <a:pt x="2016675" y="664313"/>
                  <a:pt x="2026443" y="664313"/>
                </a:cubicBezTo>
                <a:cubicBezTo>
                  <a:pt x="2036212" y="674082"/>
                  <a:pt x="2036212" y="674082"/>
                  <a:pt x="2026443" y="674082"/>
                </a:cubicBezTo>
                <a:cubicBezTo>
                  <a:pt x="2026443" y="674082"/>
                  <a:pt x="2016675" y="664313"/>
                  <a:pt x="2016675" y="664313"/>
                </a:cubicBezTo>
                <a:cubicBezTo>
                  <a:pt x="2006906" y="664313"/>
                  <a:pt x="2006906" y="664313"/>
                  <a:pt x="2006906" y="664313"/>
                </a:cubicBezTo>
                <a:cubicBezTo>
                  <a:pt x="1997137" y="664313"/>
                  <a:pt x="1967832" y="654543"/>
                  <a:pt x="1958063" y="654543"/>
                </a:cubicBezTo>
                <a:lnTo>
                  <a:pt x="1987369" y="654543"/>
                </a:lnTo>
                <a:cubicBezTo>
                  <a:pt x="1958063" y="644774"/>
                  <a:pt x="1928757" y="635005"/>
                  <a:pt x="1928757" y="635005"/>
                </a:cubicBezTo>
                <a:close/>
                <a:moveTo>
                  <a:pt x="1811534" y="625236"/>
                </a:moveTo>
                <a:cubicBezTo>
                  <a:pt x="1811534" y="625236"/>
                  <a:pt x="1821302" y="625236"/>
                  <a:pt x="1821302" y="625236"/>
                </a:cubicBezTo>
                <a:cubicBezTo>
                  <a:pt x="1831071" y="625236"/>
                  <a:pt x="1831071" y="625236"/>
                  <a:pt x="1840840" y="625236"/>
                </a:cubicBezTo>
                <a:cubicBezTo>
                  <a:pt x="1850608" y="625236"/>
                  <a:pt x="1850608" y="625236"/>
                  <a:pt x="1850608" y="625236"/>
                </a:cubicBezTo>
                <a:cubicBezTo>
                  <a:pt x="1860377" y="625236"/>
                  <a:pt x="1860377" y="625236"/>
                  <a:pt x="1860377" y="635005"/>
                </a:cubicBezTo>
                <a:cubicBezTo>
                  <a:pt x="1870145" y="635005"/>
                  <a:pt x="1879914" y="635005"/>
                  <a:pt x="1889683" y="635005"/>
                </a:cubicBezTo>
                <a:cubicBezTo>
                  <a:pt x="1899451" y="635005"/>
                  <a:pt x="1909220" y="644774"/>
                  <a:pt x="1918988" y="644774"/>
                </a:cubicBezTo>
                <a:cubicBezTo>
                  <a:pt x="1918988" y="644774"/>
                  <a:pt x="1928757" y="644774"/>
                  <a:pt x="1928757" y="644774"/>
                </a:cubicBezTo>
                <a:cubicBezTo>
                  <a:pt x="1928757" y="644774"/>
                  <a:pt x="1938526" y="644774"/>
                  <a:pt x="1958063" y="654543"/>
                </a:cubicBezTo>
                <a:cubicBezTo>
                  <a:pt x="1948294" y="654543"/>
                  <a:pt x="1938526" y="654543"/>
                  <a:pt x="1938526" y="654543"/>
                </a:cubicBezTo>
                <a:cubicBezTo>
                  <a:pt x="1938526" y="654543"/>
                  <a:pt x="1909220" y="644774"/>
                  <a:pt x="1889683" y="644774"/>
                </a:cubicBezTo>
                <a:cubicBezTo>
                  <a:pt x="1860377" y="635005"/>
                  <a:pt x="1840840" y="635005"/>
                  <a:pt x="1840840" y="635005"/>
                </a:cubicBezTo>
                <a:cubicBezTo>
                  <a:pt x="1831071" y="635005"/>
                  <a:pt x="1821302" y="635005"/>
                  <a:pt x="1811534" y="625236"/>
                </a:cubicBezTo>
                <a:close/>
                <a:moveTo>
                  <a:pt x="1752922" y="615466"/>
                </a:moveTo>
                <a:lnTo>
                  <a:pt x="1762691" y="615466"/>
                </a:lnTo>
                <a:cubicBezTo>
                  <a:pt x="1772459" y="615466"/>
                  <a:pt x="1772459" y="615466"/>
                  <a:pt x="1772459" y="615466"/>
                </a:cubicBezTo>
                <a:cubicBezTo>
                  <a:pt x="1772459" y="615466"/>
                  <a:pt x="1791997" y="615466"/>
                  <a:pt x="1791997" y="615466"/>
                </a:cubicBezTo>
                <a:cubicBezTo>
                  <a:pt x="1791997" y="615466"/>
                  <a:pt x="1791997" y="625236"/>
                  <a:pt x="1801765" y="615466"/>
                </a:cubicBezTo>
                <a:cubicBezTo>
                  <a:pt x="1801765" y="615466"/>
                  <a:pt x="1801765" y="615466"/>
                  <a:pt x="1811534" y="625236"/>
                </a:cubicBezTo>
                <a:cubicBezTo>
                  <a:pt x="1801765" y="625236"/>
                  <a:pt x="1782228" y="625236"/>
                  <a:pt x="1772459" y="625236"/>
                </a:cubicBezTo>
                <a:cubicBezTo>
                  <a:pt x="1762691" y="625236"/>
                  <a:pt x="1752922" y="615466"/>
                  <a:pt x="1752922" y="615466"/>
                </a:cubicBezTo>
                <a:close/>
                <a:moveTo>
                  <a:pt x="1971495" y="500677"/>
                </a:moveTo>
                <a:cubicBezTo>
                  <a:pt x="1967832" y="500677"/>
                  <a:pt x="1967832" y="503119"/>
                  <a:pt x="1967832" y="508004"/>
                </a:cubicBezTo>
                <a:cubicBezTo>
                  <a:pt x="1958063" y="508004"/>
                  <a:pt x="1958063" y="508004"/>
                  <a:pt x="1948294" y="508004"/>
                </a:cubicBezTo>
                <a:cubicBezTo>
                  <a:pt x="1948294" y="508004"/>
                  <a:pt x="1967832" y="517773"/>
                  <a:pt x="1987369" y="517773"/>
                </a:cubicBezTo>
                <a:cubicBezTo>
                  <a:pt x="1997137" y="517773"/>
                  <a:pt x="2006906" y="517773"/>
                  <a:pt x="2016675" y="517773"/>
                </a:cubicBezTo>
                <a:cubicBezTo>
                  <a:pt x="2026443" y="517773"/>
                  <a:pt x="2026443" y="517773"/>
                  <a:pt x="2026443" y="517773"/>
                </a:cubicBezTo>
                <a:cubicBezTo>
                  <a:pt x="2026443" y="517773"/>
                  <a:pt x="2036212" y="517773"/>
                  <a:pt x="2036212" y="517773"/>
                </a:cubicBezTo>
                <a:cubicBezTo>
                  <a:pt x="2045980" y="517773"/>
                  <a:pt x="2026443" y="508004"/>
                  <a:pt x="1997137" y="508004"/>
                </a:cubicBezTo>
                <a:cubicBezTo>
                  <a:pt x="1982484" y="503119"/>
                  <a:pt x="1975158" y="500677"/>
                  <a:pt x="1971495" y="500677"/>
                </a:cubicBezTo>
                <a:close/>
                <a:moveTo>
                  <a:pt x="1489170" y="381003"/>
                </a:moveTo>
                <a:cubicBezTo>
                  <a:pt x="1489170" y="381003"/>
                  <a:pt x="1498938" y="381003"/>
                  <a:pt x="1508707" y="381003"/>
                </a:cubicBezTo>
                <a:cubicBezTo>
                  <a:pt x="1547781" y="381003"/>
                  <a:pt x="1547781" y="381003"/>
                  <a:pt x="1567319" y="390772"/>
                </a:cubicBezTo>
                <a:cubicBezTo>
                  <a:pt x="1567319" y="400542"/>
                  <a:pt x="1557550" y="390772"/>
                  <a:pt x="1557550" y="390772"/>
                </a:cubicBezTo>
                <a:cubicBezTo>
                  <a:pt x="1547781" y="390772"/>
                  <a:pt x="1508707" y="390772"/>
                  <a:pt x="1498938" y="390772"/>
                </a:cubicBezTo>
                <a:cubicBezTo>
                  <a:pt x="1498938" y="390772"/>
                  <a:pt x="1489170" y="381003"/>
                  <a:pt x="1489170" y="381003"/>
                </a:cubicBezTo>
                <a:close/>
                <a:moveTo>
                  <a:pt x="3237751" y="341926"/>
                </a:moveTo>
                <a:cubicBezTo>
                  <a:pt x="3247520" y="341926"/>
                  <a:pt x="3247520" y="351695"/>
                  <a:pt x="3247520" y="351695"/>
                </a:cubicBezTo>
                <a:cubicBezTo>
                  <a:pt x="3247520" y="351695"/>
                  <a:pt x="3237751" y="341926"/>
                  <a:pt x="3237751" y="341926"/>
                </a:cubicBezTo>
                <a:close/>
                <a:moveTo>
                  <a:pt x="1538013" y="322387"/>
                </a:moveTo>
                <a:cubicBezTo>
                  <a:pt x="1547781" y="332156"/>
                  <a:pt x="1567319" y="332156"/>
                  <a:pt x="1567319" y="322387"/>
                </a:cubicBezTo>
                <a:cubicBezTo>
                  <a:pt x="1567319" y="322387"/>
                  <a:pt x="1567319" y="322387"/>
                  <a:pt x="1577087" y="322387"/>
                </a:cubicBezTo>
                <a:cubicBezTo>
                  <a:pt x="1577087" y="332156"/>
                  <a:pt x="1586856" y="332156"/>
                  <a:pt x="1586856" y="332156"/>
                </a:cubicBezTo>
                <a:cubicBezTo>
                  <a:pt x="1577087" y="332156"/>
                  <a:pt x="1567319" y="332156"/>
                  <a:pt x="1557550" y="332156"/>
                </a:cubicBezTo>
                <a:cubicBezTo>
                  <a:pt x="1557550" y="332156"/>
                  <a:pt x="1547781" y="332156"/>
                  <a:pt x="1547781" y="332156"/>
                </a:cubicBezTo>
                <a:cubicBezTo>
                  <a:pt x="1538013" y="332156"/>
                  <a:pt x="1528244" y="332156"/>
                  <a:pt x="1528244" y="332156"/>
                </a:cubicBezTo>
                <a:cubicBezTo>
                  <a:pt x="1528244" y="332156"/>
                  <a:pt x="1528244" y="322387"/>
                  <a:pt x="1538013" y="322387"/>
                </a:cubicBezTo>
                <a:close/>
                <a:moveTo>
                  <a:pt x="1541676" y="308954"/>
                </a:moveTo>
                <a:cubicBezTo>
                  <a:pt x="1545339" y="310176"/>
                  <a:pt x="1547781" y="312618"/>
                  <a:pt x="1547781" y="312618"/>
                </a:cubicBezTo>
                <a:lnTo>
                  <a:pt x="1539234" y="312618"/>
                </a:lnTo>
                <a:cubicBezTo>
                  <a:pt x="1533128" y="312618"/>
                  <a:pt x="1528244" y="312618"/>
                  <a:pt x="1528244" y="312618"/>
                </a:cubicBezTo>
                <a:cubicBezTo>
                  <a:pt x="1533128" y="307733"/>
                  <a:pt x="1538013" y="307733"/>
                  <a:pt x="1541676" y="308954"/>
                </a:cubicBezTo>
                <a:close/>
                <a:moveTo>
                  <a:pt x="1518475" y="302849"/>
                </a:moveTo>
                <a:cubicBezTo>
                  <a:pt x="1518475" y="312618"/>
                  <a:pt x="1528244" y="312618"/>
                  <a:pt x="1528244" y="312618"/>
                </a:cubicBezTo>
                <a:cubicBezTo>
                  <a:pt x="1518475" y="312618"/>
                  <a:pt x="1518475" y="312618"/>
                  <a:pt x="1518475" y="312618"/>
                </a:cubicBezTo>
                <a:cubicBezTo>
                  <a:pt x="1508707" y="312618"/>
                  <a:pt x="1518475" y="302849"/>
                  <a:pt x="1518475" y="302849"/>
                </a:cubicBezTo>
                <a:close/>
                <a:moveTo>
                  <a:pt x="1453758" y="221031"/>
                </a:moveTo>
                <a:cubicBezTo>
                  <a:pt x="1459864" y="219809"/>
                  <a:pt x="1469632" y="219809"/>
                  <a:pt x="1479401" y="224694"/>
                </a:cubicBezTo>
                <a:cubicBezTo>
                  <a:pt x="1479401" y="224694"/>
                  <a:pt x="1479401" y="224694"/>
                  <a:pt x="1469632" y="224694"/>
                </a:cubicBezTo>
                <a:cubicBezTo>
                  <a:pt x="1459864" y="224694"/>
                  <a:pt x="1459864" y="224694"/>
                  <a:pt x="1469632" y="234463"/>
                </a:cubicBezTo>
                <a:cubicBezTo>
                  <a:pt x="1469632" y="234463"/>
                  <a:pt x="1430558" y="234463"/>
                  <a:pt x="1430558" y="234463"/>
                </a:cubicBezTo>
                <a:cubicBezTo>
                  <a:pt x="1420789" y="224694"/>
                  <a:pt x="1420789" y="224694"/>
                  <a:pt x="1440327" y="224694"/>
                </a:cubicBezTo>
                <a:cubicBezTo>
                  <a:pt x="1450095" y="234463"/>
                  <a:pt x="1459864" y="224694"/>
                  <a:pt x="1450095" y="224694"/>
                </a:cubicBezTo>
                <a:cubicBezTo>
                  <a:pt x="1445211" y="224694"/>
                  <a:pt x="1447653" y="222252"/>
                  <a:pt x="1453758" y="221031"/>
                </a:cubicBezTo>
                <a:close/>
                <a:moveTo>
                  <a:pt x="2165775" y="188188"/>
                </a:moveTo>
                <a:lnTo>
                  <a:pt x="2192510" y="195386"/>
                </a:lnTo>
                <a:cubicBezTo>
                  <a:pt x="2182741" y="195386"/>
                  <a:pt x="2172972" y="195386"/>
                  <a:pt x="2172972" y="195386"/>
                </a:cubicBezTo>
                <a:cubicBezTo>
                  <a:pt x="2172972" y="195386"/>
                  <a:pt x="2170530" y="192944"/>
                  <a:pt x="2168088" y="190502"/>
                </a:cubicBezTo>
                <a:close/>
                <a:moveTo>
                  <a:pt x="2163204" y="185617"/>
                </a:moveTo>
                <a:lnTo>
                  <a:pt x="2165775" y="188188"/>
                </a:lnTo>
                <a:lnTo>
                  <a:pt x="2163483" y="187571"/>
                </a:lnTo>
                <a:close/>
                <a:moveTo>
                  <a:pt x="1635699" y="127001"/>
                </a:moveTo>
                <a:cubicBezTo>
                  <a:pt x="1645467" y="127001"/>
                  <a:pt x="1645467" y="127001"/>
                  <a:pt x="1645467" y="127001"/>
                </a:cubicBezTo>
                <a:cubicBezTo>
                  <a:pt x="1645467" y="127001"/>
                  <a:pt x="1655236" y="127001"/>
                  <a:pt x="1655236" y="127001"/>
                </a:cubicBezTo>
                <a:cubicBezTo>
                  <a:pt x="1665005" y="136770"/>
                  <a:pt x="1665005" y="136770"/>
                  <a:pt x="1674773" y="136770"/>
                </a:cubicBezTo>
                <a:lnTo>
                  <a:pt x="1661341" y="136770"/>
                </a:lnTo>
                <a:cubicBezTo>
                  <a:pt x="1655236" y="136770"/>
                  <a:pt x="1650352" y="136770"/>
                  <a:pt x="1645467" y="136770"/>
                </a:cubicBezTo>
                <a:cubicBezTo>
                  <a:pt x="1635699" y="127001"/>
                  <a:pt x="1635699" y="127001"/>
                  <a:pt x="1635699" y="127001"/>
                </a:cubicBezTo>
                <a:close/>
                <a:moveTo>
                  <a:pt x="1977600" y="117232"/>
                </a:moveTo>
                <a:lnTo>
                  <a:pt x="1987369" y="117232"/>
                </a:lnTo>
                <a:cubicBezTo>
                  <a:pt x="1987369" y="127001"/>
                  <a:pt x="1987369" y="117232"/>
                  <a:pt x="1977600" y="117232"/>
                </a:cubicBezTo>
                <a:close/>
                <a:moveTo>
                  <a:pt x="1909220" y="107462"/>
                </a:moveTo>
                <a:cubicBezTo>
                  <a:pt x="1918988" y="107462"/>
                  <a:pt x="1928757" y="107462"/>
                  <a:pt x="1938526" y="107462"/>
                </a:cubicBezTo>
                <a:cubicBezTo>
                  <a:pt x="1938526" y="107462"/>
                  <a:pt x="1948294" y="107462"/>
                  <a:pt x="1948294" y="107462"/>
                </a:cubicBezTo>
                <a:cubicBezTo>
                  <a:pt x="1948294" y="107462"/>
                  <a:pt x="1958063" y="107462"/>
                  <a:pt x="1967832" y="117232"/>
                </a:cubicBezTo>
                <a:cubicBezTo>
                  <a:pt x="1967832" y="117232"/>
                  <a:pt x="1958063" y="117232"/>
                  <a:pt x="1958063" y="117232"/>
                </a:cubicBezTo>
                <a:cubicBezTo>
                  <a:pt x="1958063" y="117232"/>
                  <a:pt x="1948294" y="117232"/>
                  <a:pt x="1948294" y="117232"/>
                </a:cubicBezTo>
                <a:cubicBezTo>
                  <a:pt x="1948294" y="117232"/>
                  <a:pt x="1938526" y="117232"/>
                  <a:pt x="1928757" y="117232"/>
                </a:cubicBezTo>
                <a:cubicBezTo>
                  <a:pt x="1918988" y="107462"/>
                  <a:pt x="1909220" y="107462"/>
                  <a:pt x="1909220" y="107462"/>
                </a:cubicBezTo>
                <a:close/>
                <a:moveTo>
                  <a:pt x="1704079" y="107462"/>
                </a:moveTo>
                <a:cubicBezTo>
                  <a:pt x="1713848" y="107462"/>
                  <a:pt x="1713848" y="107462"/>
                  <a:pt x="1713848" y="107462"/>
                </a:cubicBezTo>
                <a:cubicBezTo>
                  <a:pt x="1723616" y="107462"/>
                  <a:pt x="1733385" y="107462"/>
                  <a:pt x="1743154" y="107462"/>
                </a:cubicBezTo>
                <a:cubicBezTo>
                  <a:pt x="1752922" y="107462"/>
                  <a:pt x="1762691" y="107462"/>
                  <a:pt x="1762691" y="107462"/>
                </a:cubicBezTo>
                <a:cubicBezTo>
                  <a:pt x="1762691" y="107462"/>
                  <a:pt x="1772459" y="117232"/>
                  <a:pt x="1772459" y="117232"/>
                </a:cubicBezTo>
                <a:cubicBezTo>
                  <a:pt x="1801765" y="127001"/>
                  <a:pt x="1801765" y="127001"/>
                  <a:pt x="1801765" y="117232"/>
                </a:cubicBezTo>
                <a:cubicBezTo>
                  <a:pt x="1801765" y="117232"/>
                  <a:pt x="1811534" y="117232"/>
                  <a:pt x="1821302" y="117232"/>
                </a:cubicBezTo>
                <a:cubicBezTo>
                  <a:pt x="1821302" y="117232"/>
                  <a:pt x="1831071" y="117232"/>
                  <a:pt x="1831071" y="117232"/>
                </a:cubicBezTo>
                <a:cubicBezTo>
                  <a:pt x="1831071" y="117232"/>
                  <a:pt x="1840840" y="127001"/>
                  <a:pt x="1840840" y="117232"/>
                </a:cubicBezTo>
                <a:cubicBezTo>
                  <a:pt x="1850608" y="117232"/>
                  <a:pt x="1860377" y="127001"/>
                  <a:pt x="1870145" y="127001"/>
                </a:cubicBezTo>
                <a:cubicBezTo>
                  <a:pt x="1889683" y="127001"/>
                  <a:pt x="1899451" y="127001"/>
                  <a:pt x="1899451" y="127001"/>
                </a:cubicBezTo>
                <a:cubicBezTo>
                  <a:pt x="1899451" y="127001"/>
                  <a:pt x="1909220" y="127001"/>
                  <a:pt x="1909220" y="127001"/>
                </a:cubicBezTo>
                <a:cubicBezTo>
                  <a:pt x="1909220" y="136770"/>
                  <a:pt x="1918988" y="136770"/>
                  <a:pt x="1918988" y="136770"/>
                </a:cubicBezTo>
                <a:cubicBezTo>
                  <a:pt x="1918988" y="136770"/>
                  <a:pt x="1928757" y="146540"/>
                  <a:pt x="1928757" y="136770"/>
                </a:cubicBezTo>
                <a:cubicBezTo>
                  <a:pt x="1928757" y="136770"/>
                  <a:pt x="1928757" y="136770"/>
                  <a:pt x="1938526" y="136770"/>
                </a:cubicBezTo>
                <a:cubicBezTo>
                  <a:pt x="1938526" y="136770"/>
                  <a:pt x="1938526" y="146540"/>
                  <a:pt x="1938526" y="146540"/>
                </a:cubicBezTo>
                <a:cubicBezTo>
                  <a:pt x="1938526" y="146540"/>
                  <a:pt x="1948294" y="146540"/>
                  <a:pt x="1948294" y="146540"/>
                </a:cubicBezTo>
                <a:cubicBezTo>
                  <a:pt x="1958063" y="156309"/>
                  <a:pt x="1977600" y="156309"/>
                  <a:pt x="2006906" y="166078"/>
                </a:cubicBezTo>
                <a:cubicBezTo>
                  <a:pt x="2016675" y="166078"/>
                  <a:pt x="2036212" y="166078"/>
                  <a:pt x="2036212" y="166078"/>
                </a:cubicBezTo>
                <a:cubicBezTo>
                  <a:pt x="2045980" y="166078"/>
                  <a:pt x="2045980" y="166078"/>
                  <a:pt x="2045980" y="175848"/>
                </a:cubicBezTo>
                <a:cubicBezTo>
                  <a:pt x="2045980" y="175848"/>
                  <a:pt x="2055749" y="175848"/>
                  <a:pt x="2055749" y="175848"/>
                </a:cubicBezTo>
                <a:cubicBezTo>
                  <a:pt x="2065518" y="175848"/>
                  <a:pt x="2065518" y="175848"/>
                  <a:pt x="2065518" y="175848"/>
                </a:cubicBezTo>
                <a:cubicBezTo>
                  <a:pt x="2075286" y="175848"/>
                  <a:pt x="2075286" y="175848"/>
                  <a:pt x="2075286" y="175848"/>
                </a:cubicBezTo>
                <a:cubicBezTo>
                  <a:pt x="2085055" y="175848"/>
                  <a:pt x="2094824" y="175848"/>
                  <a:pt x="2114361" y="185617"/>
                </a:cubicBezTo>
                <a:cubicBezTo>
                  <a:pt x="2133898" y="185617"/>
                  <a:pt x="2143667" y="185617"/>
                  <a:pt x="2143667" y="185617"/>
                </a:cubicBezTo>
                <a:cubicBezTo>
                  <a:pt x="2148551" y="185617"/>
                  <a:pt x="2153435" y="185617"/>
                  <a:pt x="2160762" y="186838"/>
                </a:cubicBezTo>
                <a:lnTo>
                  <a:pt x="2163483" y="187571"/>
                </a:lnTo>
                <a:lnTo>
                  <a:pt x="2164425" y="194165"/>
                </a:lnTo>
                <a:cubicBezTo>
                  <a:pt x="2165646" y="195386"/>
                  <a:pt x="2168088" y="195386"/>
                  <a:pt x="2172972" y="195386"/>
                </a:cubicBezTo>
                <a:cubicBezTo>
                  <a:pt x="2172972" y="205156"/>
                  <a:pt x="2153435" y="195386"/>
                  <a:pt x="2143667" y="195386"/>
                </a:cubicBezTo>
                <a:cubicBezTo>
                  <a:pt x="2143667" y="195386"/>
                  <a:pt x="2133898" y="195386"/>
                  <a:pt x="2133898" y="195386"/>
                </a:cubicBezTo>
                <a:cubicBezTo>
                  <a:pt x="2133898" y="195386"/>
                  <a:pt x="2124129" y="195386"/>
                  <a:pt x="2124129" y="195386"/>
                </a:cubicBezTo>
                <a:cubicBezTo>
                  <a:pt x="2114361" y="195386"/>
                  <a:pt x="2104592" y="185617"/>
                  <a:pt x="2094824" y="185617"/>
                </a:cubicBezTo>
                <a:cubicBezTo>
                  <a:pt x="2094824" y="185617"/>
                  <a:pt x="2085055" y="185617"/>
                  <a:pt x="2085055" y="185617"/>
                </a:cubicBezTo>
                <a:cubicBezTo>
                  <a:pt x="2085055" y="185617"/>
                  <a:pt x="2075286" y="185617"/>
                  <a:pt x="2075286" y="185617"/>
                </a:cubicBezTo>
                <a:cubicBezTo>
                  <a:pt x="2065518" y="185617"/>
                  <a:pt x="2055749" y="185617"/>
                  <a:pt x="2055749" y="185617"/>
                </a:cubicBezTo>
                <a:cubicBezTo>
                  <a:pt x="2036212" y="185617"/>
                  <a:pt x="2016675" y="175848"/>
                  <a:pt x="2016675" y="175848"/>
                </a:cubicBezTo>
                <a:cubicBezTo>
                  <a:pt x="2016675" y="175848"/>
                  <a:pt x="2016675" y="166078"/>
                  <a:pt x="1997137" y="166078"/>
                </a:cubicBezTo>
                <a:cubicBezTo>
                  <a:pt x="1997137" y="166078"/>
                  <a:pt x="1987369" y="166078"/>
                  <a:pt x="1987369" y="166078"/>
                </a:cubicBezTo>
                <a:cubicBezTo>
                  <a:pt x="1977600" y="166078"/>
                  <a:pt x="1977600" y="166078"/>
                  <a:pt x="1967832" y="166078"/>
                </a:cubicBezTo>
                <a:cubicBezTo>
                  <a:pt x="1967832" y="166078"/>
                  <a:pt x="1958063" y="166078"/>
                  <a:pt x="1958063" y="166078"/>
                </a:cubicBezTo>
                <a:cubicBezTo>
                  <a:pt x="1948294" y="166078"/>
                  <a:pt x="1948294" y="156309"/>
                  <a:pt x="1938526" y="156309"/>
                </a:cubicBezTo>
                <a:cubicBezTo>
                  <a:pt x="1938526" y="156309"/>
                  <a:pt x="1938526" y="156309"/>
                  <a:pt x="1928757" y="156309"/>
                </a:cubicBezTo>
                <a:cubicBezTo>
                  <a:pt x="1918988" y="156309"/>
                  <a:pt x="1918988" y="156309"/>
                  <a:pt x="1909220" y="156309"/>
                </a:cubicBezTo>
                <a:cubicBezTo>
                  <a:pt x="1899451" y="156309"/>
                  <a:pt x="1899451" y="156309"/>
                  <a:pt x="1870145" y="146540"/>
                </a:cubicBezTo>
                <a:cubicBezTo>
                  <a:pt x="1860377" y="146540"/>
                  <a:pt x="1850608" y="146540"/>
                  <a:pt x="1850608" y="146540"/>
                </a:cubicBezTo>
                <a:cubicBezTo>
                  <a:pt x="1840840" y="136770"/>
                  <a:pt x="1831071" y="136770"/>
                  <a:pt x="1821302" y="136770"/>
                </a:cubicBezTo>
                <a:cubicBezTo>
                  <a:pt x="1801765" y="136770"/>
                  <a:pt x="1791997" y="136770"/>
                  <a:pt x="1782228" y="127001"/>
                </a:cubicBezTo>
                <a:cubicBezTo>
                  <a:pt x="1772459" y="127001"/>
                  <a:pt x="1762691" y="127001"/>
                  <a:pt x="1743154" y="127001"/>
                </a:cubicBezTo>
                <a:cubicBezTo>
                  <a:pt x="1704079" y="117232"/>
                  <a:pt x="1704079" y="117232"/>
                  <a:pt x="1694310" y="117232"/>
                </a:cubicBezTo>
                <a:cubicBezTo>
                  <a:pt x="1694310" y="117232"/>
                  <a:pt x="1704079" y="107462"/>
                  <a:pt x="1704079" y="107462"/>
                </a:cubicBezTo>
                <a:close/>
                <a:moveTo>
                  <a:pt x="1674773" y="78155"/>
                </a:moveTo>
                <a:cubicBezTo>
                  <a:pt x="1684542" y="78155"/>
                  <a:pt x="1684542" y="78155"/>
                  <a:pt x="1684542" y="78155"/>
                </a:cubicBezTo>
                <a:cubicBezTo>
                  <a:pt x="1684542" y="78155"/>
                  <a:pt x="1694310" y="78155"/>
                  <a:pt x="1694310" y="78155"/>
                </a:cubicBezTo>
                <a:cubicBezTo>
                  <a:pt x="1704079" y="78155"/>
                  <a:pt x="1713848" y="78155"/>
                  <a:pt x="1723616" y="78155"/>
                </a:cubicBezTo>
                <a:cubicBezTo>
                  <a:pt x="1733385" y="78155"/>
                  <a:pt x="1743154" y="87924"/>
                  <a:pt x="1743154" y="87924"/>
                </a:cubicBezTo>
                <a:cubicBezTo>
                  <a:pt x="1743154" y="87924"/>
                  <a:pt x="1752922" y="87924"/>
                  <a:pt x="1752922" y="87924"/>
                </a:cubicBezTo>
                <a:cubicBezTo>
                  <a:pt x="1762691" y="87924"/>
                  <a:pt x="1772459" y="87924"/>
                  <a:pt x="1772459" y="87924"/>
                </a:cubicBezTo>
                <a:cubicBezTo>
                  <a:pt x="1782228" y="87924"/>
                  <a:pt x="1782228" y="87924"/>
                  <a:pt x="1782228" y="87924"/>
                </a:cubicBezTo>
                <a:cubicBezTo>
                  <a:pt x="1782228" y="87924"/>
                  <a:pt x="1782228" y="87924"/>
                  <a:pt x="1791997" y="87924"/>
                </a:cubicBezTo>
                <a:cubicBezTo>
                  <a:pt x="1791997" y="87924"/>
                  <a:pt x="1801765" y="87924"/>
                  <a:pt x="1801765" y="87924"/>
                </a:cubicBezTo>
                <a:cubicBezTo>
                  <a:pt x="1801765" y="87924"/>
                  <a:pt x="1811534" y="87924"/>
                  <a:pt x="1811534" y="87924"/>
                </a:cubicBezTo>
                <a:cubicBezTo>
                  <a:pt x="1821302" y="87924"/>
                  <a:pt x="1831071" y="87924"/>
                  <a:pt x="1840840" y="87924"/>
                </a:cubicBezTo>
                <a:cubicBezTo>
                  <a:pt x="1850608" y="87924"/>
                  <a:pt x="1860377" y="87924"/>
                  <a:pt x="1860377" y="97693"/>
                </a:cubicBezTo>
                <a:cubicBezTo>
                  <a:pt x="1870145" y="97693"/>
                  <a:pt x="1870145" y="97693"/>
                  <a:pt x="1879914" y="97693"/>
                </a:cubicBezTo>
                <a:cubicBezTo>
                  <a:pt x="1889683" y="97693"/>
                  <a:pt x="1899451" y="107462"/>
                  <a:pt x="1909220" y="107462"/>
                </a:cubicBezTo>
                <a:cubicBezTo>
                  <a:pt x="1899451" y="107462"/>
                  <a:pt x="1899451" y="107462"/>
                  <a:pt x="1889683" y="107462"/>
                </a:cubicBezTo>
                <a:cubicBezTo>
                  <a:pt x="1889683" y="107462"/>
                  <a:pt x="1889683" y="107462"/>
                  <a:pt x="1889683" y="117232"/>
                </a:cubicBezTo>
                <a:cubicBezTo>
                  <a:pt x="1889683" y="117232"/>
                  <a:pt x="1889683" y="117232"/>
                  <a:pt x="1879914" y="117232"/>
                </a:cubicBezTo>
                <a:cubicBezTo>
                  <a:pt x="1870145" y="117232"/>
                  <a:pt x="1860377" y="117232"/>
                  <a:pt x="1860377" y="117232"/>
                </a:cubicBezTo>
                <a:cubicBezTo>
                  <a:pt x="1840840" y="107462"/>
                  <a:pt x="1801765" y="107462"/>
                  <a:pt x="1772459" y="97693"/>
                </a:cubicBezTo>
                <a:cubicBezTo>
                  <a:pt x="1762691" y="97693"/>
                  <a:pt x="1752922" y="97693"/>
                  <a:pt x="1743154" y="97693"/>
                </a:cubicBezTo>
                <a:cubicBezTo>
                  <a:pt x="1733385" y="97693"/>
                  <a:pt x="1733385" y="97693"/>
                  <a:pt x="1723616" y="87924"/>
                </a:cubicBezTo>
                <a:cubicBezTo>
                  <a:pt x="1713848" y="87924"/>
                  <a:pt x="1694310" y="87924"/>
                  <a:pt x="1684542" y="87924"/>
                </a:cubicBezTo>
                <a:cubicBezTo>
                  <a:pt x="1674773" y="78155"/>
                  <a:pt x="1674773" y="78155"/>
                  <a:pt x="1674773" y="78155"/>
                </a:cubicBezTo>
                <a:close/>
                <a:moveTo>
                  <a:pt x="1782228" y="48846"/>
                </a:moveTo>
                <a:cubicBezTo>
                  <a:pt x="1782228" y="48846"/>
                  <a:pt x="1811534" y="48846"/>
                  <a:pt x="1821302" y="48846"/>
                </a:cubicBezTo>
                <a:cubicBezTo>
                  <a:pt x="1831071" y="48846"/>
                  <a:pt x="1831071" y="48846"/>
                  <a:pt x="1831071" y="48846"/>
                </a:cubicBezTo>
                <a:cubicBezTo>
                  <a:pt x="1831071" y="48846"/>
                  <a:pt x="1840840" y="48846"/>
                  <a:pt x="1850608" y="48846"/>
                </a:cubicBezTo>
                <a:cubicBezTo>
                  <a:pt x="1860377" y="58616"/>
                  <a:pt x="1870145" y="58616"/>
                  <a:pt x="1870145" y="58616"/>
                </a:cubicBezTo>
                <a:cubicBezTo>
                  <a:pt x="1860377" y="68385"/>
                  <a:pt x="1860377" y="58616"/>
                  <a:pt x="1850608" y="58616"/>
                </a:cubicBezTo>
                <a:cubicBezTo>
                  <a:pt x="1850608" y="58616"/>
                  <a:pt x="1840840" y="58616"/>
                  <a:pt x="1840840" y="58616"/>
                </a:cubicBezTo>
                <a:cubicBezTo>
                  <a:pt x="1831071" y="58616"/>
                  <a:pt x="1831071" y="58616"/>
                  <a:pt x="1831071" y="58616"/>
                </a:cubicBezTo>
                <a:cubicBezTo>
                  <a:pt x="1821302" y="58616"/>
                  <a:pt x="1821302" y="58616"/>
                  <a:pt x="1821302" y="58616"/>
                </a:cubicBezTo>
                <a:cubicBezTo>
                  <a:pt x="1821302" y="58616"/>
                  <a:pt x="1811534" y="58616"/>
                  <a:pt x="1811534" y="58616"/>
                </a:cubicBezTo>
                <a:cubicBezTo>
                  <a:pt x="1801765" y="58616"/>
                  <a:pt x="1782228" y="48846"/>
                  <a:pt x="1782228" y="48846"/>
                </a:cubicBezTo>
                <a:close/>
                <a:moveTo>
                  <a:pt x="1876251" y="6106"/>
                </a:moveTo>
                <a:cubicBezTo>
                  <a:pt x="1882356" y="7327"/>
                  <a:pt x="1889683" y="9769"/>
                  <a:pt x="1899451" y="9769"/>
                </a:cubicBezTo>
                <a:cubicBezTo>
                  <a:pt x="1899451" y="9769"/>
                  <a:pt x="1909220" y="9769"/>
                  <a:pt x="1909220" y="9769"/>
                </a:cubicBezTo>
                <a:cubicBezTo>
                  <a:pt x="1909220" y="9769"/>
                  <a:pt x="1928757" y="9769"/>
                  <a:pt x="1938526" y="9769"/>
                </a:cubicBezTo>
                <a:cubicBezTo>
                  <a:pt x="1948294" y="9769"/>
                  <a:pt x="1958063" y="9769"/>
                  <a:pt x="1977600" y="9769"/>
                </a:cubicBezTo>
                <a:cubicBezTo>
                  <a:pt x="1977600" y="9769"/>
                  <a:pt x="1987369" y="19539"/>
                  <a:pt x="1987369" y="19539"/>
                </a:cubicBezTo>
                <a:cubicBezTo>
                  <a:pt x="1987369" y="19539"/>
                  <a:pt x="2016675" y="29308"/>
                  <a:pt x="2026443" y="19539"/>
                </a:cubicBezTo>
                <a:cubicBezTo>
                  <a:pt x="2026443" y="19539"/>
                  <a:pt x="2026443" y="19539"/>
                  <a:pt x="2026443" y="29308"/>
                </a:cubicBezTo>
                <a:cubicBezTo>
                  <a:pt x="2036212" y="29308"/>
                  <a:pt x="2036212" y="29308"/>
                  <a:pt x="2036212" y="29308"/>
                </a:cubicBezTo>
                <a:cubicBezTo>
                  <a:pt x="2045980" y="29308"/>
                  <a:pt x="2045980" y="29308"/>
                  <a:pt x="2055749" y="29308"/>
                </a:cubicBezTo>
                <a:cubicBezTo>
                  <a:pt x="2055749" y="29308"/>
                  <a:pt x="2065518" y="29308"/>
                  <a:pt x="2065518" y="29308"/>
                </a:cubicBezTo>
                <a:cubicBezTo>
                  <a:pt x="2065518" y="29308"/>
                  <a:pt x="2065518" y="29308"/>
                  <a:pt x="2075286" y="29308"/>
                </a:cubicBezTo>
                <a:cubicBezTo>
                  <a:pt x="2075286" y="39077"/>
                  <a:pt x="2085055" y="39077"/>
                  <a:pt x="2085055" y="29308"/>
                </a:cubicBezTo>
                <a:cubicBezTo>
                  <a:pt x="2085055" y="29308"/>
                  <a:pt x="2085055" y="29308"/>
                  <a:pt x="2094824" y="39077"/>
                </a:cubicBezTo>
                <a:cubicBezTo>
                  <a:pt x="2104592" y="39077"/>
                  <a:pt x="2114361" y="39077"/>
                  <a:pt x="2114361" y="39077"/>
                </a:cubicBezTo>
                <a:cubicBezTo>
                  <a:pt x="2114361" y="39077"/>
                  <a:pt x="2124129" y="39077"/>
                  <a:pt x="2124129" y="39077"/>
                </a:cubicBezTo>
                <a:cubicBezTo>
                  <a:pt x="2133898" y="48846"/>
                  <a:pt x="2143667" y="48846"/>
                  <a:pt x="2153435" y="48846"/>
                </a:cubicBezTo>
                <a:cubicBezTo>
                  <a:pt x="2163204" y="48846"/>
                  <a:pt x="2172972" y="48846"/>
                  <a:pt x="2172972" y="48846"/>
                </a:cubicBezTo>
                <a:cubicBezTo>
                  <a:pt x="2172972" y="48846"/>
                  <a:pt x="2182741" y="48846"/>
                  <a:pt x="2182741" y="48846"/>
                </a:cubicBezTo>
                <a:cubicBezTo>
                  <a:pt x="2192510" y="48846"/>
                  <a:pt x="2192510" y="48846"/>
                  <a:pt x="2192510" y="48846"/>
                </a:cubicBezTo>
                <a:cubicBezTo>
                  <a:pt x="2202278" y="58616"/>
                  <a:pt x="2202278" y="58616"/>
                  <a:pt x="2212047" y="48846"/>
                </a:cubicBezTo>
                <a:cubicBezTo>
                  <a:pt x="2221815" y="48846"/>
                  <a:pt x="2221815" y="48846"/>
                  <a:pt x="2221815" y="48846"/>
                </a:cubicBezTo>
                <a:cubicBezTo>
                  <a:pt x="2231584" y="58616"/>
                  <a:pt x="2260890" y="68385"/>
                  <a:pt x="2270659" y="58616"/>
                </a:cubicBezTo>
                <a:cubicBezTo>
                  <a:pt x="2270659" y="58616"/>
                  <a:pt x="2280427" y="68385"/>
                  <a:pt x="2290196" y="68385"/>
                </a:cubicBezTo>
                <a:cubicBezTo>
                  <a:pt x="2290196" y="68385"/>
                  <a:pt x="2299964" y="68385"/>
                  <a:pt x="2299964" y="68385"/>
                </a:cubicBezTo>
                <a:cubicBezTo>
                  <a:pt x="2319502" y="78155"/>
                  <a:pt x="2329270" y="78155"/>
                  <a:pt x="2348807" y="78155"/>
                </a:cubicBezTo>
                <a:cubicBezTo>
                  <a:pt x="2348807" y="78155"/>
                  <a:pt x="2358576" y="78155"/>
                  <a:pt x="2358576" y="78155"/>
                </a:cubicBezTo>
                <a:cubicBezTo>
                  <a:pt x="2368345" y="78155"/>
                  <a:pt x="2368345" y="87924"/>
                  <a:pt x="2378113" y="87924"/>
                </a:cubicBezTo>
                <a:cubicBezTo>
                  <a:pt x="2378113" y="87924"/>
                  <a:pt x="2387882" y="87924"/>
                  <a:pt x="2387882" y="87924"/>
                </a:cubicBezTo>
                <a:cubicBezTo>
                  <a:pt x="2387882" y="87924"/>
                  <a:pt x="2387882" y="87924"/>
                  <a:pt x="2397650" y="87924"/>
                </a:cubicBezTo>
                <a:cubicBezTo>
                  <a:pt x="2407419" y="87924"/>
                  <a:pt x="2407419" y="87924"/>
                  <a:pt x="2407419" y="87924"/>
                </a:cubicBezTo>
                <a:cubicBezTo>
                  <a:pt x="2407419" y="97693"/>
                  <a:pt x="2426956" y="97693"/>
                  <a:pt x="2436725" y="97693"/>
                </a:cubicBezTo>
                <a:cubicBezTo>
                  <a:pt x="2436725" y="97693"/>
                  <a:pt x="2436725" y="97693"/>
                  <a:pt x="2446494" y="97693"/>
                </a:cubicBezTo>
                <a:cubicBezTo>
                  <a:pt x="2446494" y="97693"/>
                  <a:pt x="2446494" y="97693"/>
                  <a:pt x="2456262" y="97693"/>
                </a:cubicBezTo>
                <a:cubicBezTo>
                  <a:pt x="2456262" y="97693"/>
                  <a:pt x="2466031" y="97693"/>
                  <a:pt x="2466031" y="97693"/>
                </a:cubicBezTo>
                <a:cubicBezTo>
                  <a:pt x="2475799" y="97693"/>
                  <a:pt x="2475799" y="107462"/>
                  <a:pt x="2475799" y="107462"/>
                </a:cubicBezTo>
                <a:cubicBezTo>
                  <a:pt x="2485568" y="107462"/>
                  <a:pt x="2485568" y="107462"/>
                  <a:pt x="2495337" y="107462"/>
                </a:cubicBezTo>
                <a:cubicBezTo>
                  <a:pt x="2495337" y="107462"/>
                  <a:pt x="2505105" y="107462"/>
                  <a:pt x="2505105" y="117232"/>
                </a:cubicBezTo>
                <a:cubicBezTo>
                  <a:pt x="2505105" y="117232"/>
                  <a:pt x="2505105" y="117232"/>
                  <a:pt x="2514874" y="117232"/>
                </a:cubicBezTo>
                <a:cubicBezTo>
                  <a:pt x="2514874" y="107462"/>
                  <a:pt x="2514874" y="117232"/>
                  <a:pt x="2524642" y="117232"/>
                </a:cubicBezTo>
                <a:cubicBezTo>
                  <a:pt x="2524642" y="117232"/>
                  <a:pt x="2534411" y="117232"/>
                  <a:pt x="2534411" y="117232"/>
                </a:cubicBezTo>
                <a:cubicBezTo>
                  <a:pt x="2534411" y="117232"/>
                  <a:pt x="2544180" y="117232"/>
                  <a:pt x="2544180" y="117232"/>
                </a:cubicBezTo>
                <a:cubicBezTo>
                  <a:pt x="2553948" y="127001"/>
                  <a:pt x="2553948" y="127001"/>
                  <a:pt x="2563717" y="127001"/>
                </a:cubicBezTo>
                <a:cubicBezTo>
                  <a:pt x="2573485" y="127001"/>
                  <a:pt x="2583254" y="127001"/>
                  <a:pt x="2602791" y="136770"/>
                </a:cubicBezTo>
                <a:cubicBezTo>
                  <a:pt x="2612560" y="136770"/>
                  <a:pt x="2612560" y="136770"/>
                  <a:pt x="2612560" y="136770"/>
                </a:cubicBezTo>
                <a:cubicBezTo>
                  <a:pt x="2612560" y="136770"/>
                  <a:pt x="2622329" y="136770"/>
                  <a:pt x="2632097" y="136770"/>
                </a:cubicBezTo>
                <a:cubicBezTo>
                  <a:pt x="2641866" y="146540"/>
                  <a:pt x="2651634" y="146540"/>
                  <a:pt x="2661403" y="146540"/>
                </a:cubicBezTo>
                <a:cubicBezTo>
                  <a:pt x="2671172" y="146540"/>
                  <a:pt x="2680940" y="156309"/>
                  <a:pt x="2700477" y="156309"/>
                </a:cubicBezTo>
                <a:cubicBezTo>
                  <a:pt x="2700477" y="156309"/>
                  <a:pt x="2710246" y="156309"/>
                  <a:pt x="2710246" y="156309"/>
                </a:cubicBezTo>
                <a:cubicBezTo>
                  <a:pt x="2710246" y="156309"/>
                  <a:pt x="2710246" y="156309"/>
                  <a:pt x="2720015" y="166078"/>
                </a:cubicBezTo>
                <a:cubicBezTo>
                  <a:pt x="2720015" y="166078"/>
                  <a:pt x="2729783" y="166078"/>
                  <a:pt x="2729783" y="166078"/>
                </a:cubicBezTo>
                <a:cubicBezTo>
                  <a:pt x="2739552" y="166078"/>
                  <a:pt x="2759089" y="166078"/>
                  <a:pt x="2759089" y="175848"/>
                </a:cubicBezTo>
                <a:cubicBezTo>
                  <a:pt x="2768858" y="175848"/>
                  <a:pt x="2768858" y="175848"/>
                  <a:pt x="2778626" y="175848"/>
                </a:cubicBezTo>
                <a:cubicBezTo>
                  <a:pt x="2788395" y="175848"/>
                  <a:pt x="2798164" y="175848"/>
                  <a:pt x="2798164" y="175848"/>
                </a:cubicBezTo>
                <a:cubicBezTo>
                  <a:pt x="2798164" y="185617"/>
                  <a:pt x="2807932" y="185617"/>
                  <a:pt x="2807932" y="185617"/>
                </a:cubicBezTo>
                <a:cubicBezTo>
                  <a:pt x="2807932" y="185617"/>
                  <a:pt x="2807932" y="185617"/>
                  <a:pt x="2817701" y="185617"/>
                </a:cubicBezTo>
                <a:cubicBezTo>
                  <a:pt x="2817701" y="185617"/>
                  <a:pt x="2827469" y="185617"/>
                  <a:pt x="2837238" y="195386"/>
                </a:cubicBezTo>
                <a:cubicBezTo>
                  <a:pt x="2847007" y="195386"/>
                  <a:pt x="2866544" y="205156"/>
                  <a:pt x="2886081" y="205156"/>
                </a:cubicBezTo>
                <a:cubicBezTo>
                  <a:pt x="2895850" y="214925"/>
                  <a:pt x="2915387" y="214925"/>
                  <a:pt x="2915387" y="214925"/>
                </a:cubicBezTo>
                <a:cubicBezTo>
                  <a:pt x="2925156" y="214925"/>
                  <a:pt x="2925156" y="214925"/>
                  <a:pt x="2925156" y="224694"/>
                </a:cubicBezTo>
                <a:cubicBezTo>
                  <a:pt x="2934924" y="224694"/>
                  <a:pt x="2934924" y="224694"/>
                  <a:pt x="2934924" y="224694"/>
                </a:cubicBezTo>
                <a:cubicBezTo>
                  <a:pt x="2934924" y="224694"/>
                  <a:pt x="2934924" y="224694"/>
                  <a:pt x="2944693" y="224694"/>
                </a:cubicBezTo>
                <a:cubicBezTo>
                  <a:pt x="2954461" y="234463"/>
                  <a:pt x="2964230" y="234463"/>
                  <a:pt x="2964230" y="234463"/>
                </a:cubicBezTo>
                <a:cubicBezTo>
                  <a:pt x="2964230" y="234463"/>
                  <a:pt x="2973999" y="234463"/>
                  <a:pt x="2983767" y="234463"/>
                </a:cubicBezTo>
                <a:cubicBezTo>
                  <a:pt x="2993536" y="234463"/>
                  <a:pt x="3003304" y="244233"/>
                  <a:pt x="3003304" y="244233"/>
                </a:cubicBezTo>
                <a:cubicBezTo>
                  <a:pt x="3013073" y="244233"/>
                  <a:pt x="3022842" y="244233"/>
                  <a:pt x="3022842" y="244233"/>
                </a:cubicBezTo>
                <a:cubicBezTo>
                  <a:pt x="3022842" y="254002"/>
                  <a:pt x="3032610" y="254002"/>
                  <a:pt x="3042379" y="254002"/>
                </a:cubicBezTo>
                <a:cubicBezTo>
                  <a:pt x="3042379" y="254002"/>
                  <a:pt x="3052147" y="263771"/>
                  <a:pt x="3052147" y="263771"/>
                </a:cubicBezTo>
                <a:cubicBezTo>
                  <a:pt x="3061916" y="263771"/>
                  <a:pt x="3061916" y="263771"/>
                  <a:pt x="3061916" y="263771"/>
                </a:cubicBezTo>
                <a:cubicBezTo>
                  <a:pt x="3061916" y="263771"/>
                  <a:pt x="3071685" y="263771"/>
                  <a:pt x="3071685" y="263771"/>
                </a:cubicBezTo>
                <a:cubicBezTo>
                  <a:pt x="3071685" y="263771"/>
                  <a:pt x="3071685" y="263771"/>
                  <a:pt x="3081453" y="263771"/>
                </a:cubicBezTo>
                <a:cubicBezTo>
                  <a:pt x="3081453" y="263771"/>
                  <a:pt x="3100991" y="273541"/>
                  <a:pt x="3120528" y="283310"/>
                </a:cubicBezTo>
                <a:cubicBezTo>
                  <a:pt x="3130296" y="283310"/>
                  <a:pt x="3149834" y="293079"/>
                  <a:pt x="3159602" y="293079"/>
                </a:cubicBezTo>
                <a:cubicBezTo>
                  <a:pt x="3169371" y="293079"/>
                  <a:pt x="3179139" y="302849"/>
                  <a:pt x="3188908" y="302849"/>
                </a:cubicBezTo>
                <a:cubicBezTo>
                  <a:pt x="3198677" y="312618"/>
                  <a:pt x="3208445" y="312618"/>
                  <a:pt x="3208445" y="312618"/>
                </a:cubicBezTo>
                <a:cubicBezTo>
                  <a:pt x="3218214" y="312618"/>
                  <a:pt x="3227982" y="322387"/>
                  <a:pt x="3237751" y="322387"/>
                </a:cubicBezTo>
                <a:cubicBezTo>
                  <a:pt x="3247520" y="322387"/>
                  <a:pt x="3257288" y="332156"/>
                  <a:pt x="3267057" y="332156"/>
                </a:cubicBezTo>
                <a:cubicBezTo>
                  <a:pt x="3267057" y="332156"/>
                  <a:pt x="3276826" y="332156"/>
                  <a:pt x="3276826" y="332156"/>
                </a:cubicBezTo>
                <a:cubicBezTo>
                  <a:pt x="3286594" y="341926"/>
                  <a:pt x="3286594" y="341926"/>
                  <a:pt x="3296363" y="341926"/>
                </a:cubicBezTo>
                <a:cubicBezTo>
                  <a:pt x="3296363" y="341926"/>
                  <a:pt x="3296363" y="341926"/>
                  <a:pt x="3286594" y="341926"/>
                </a:cubicBezTo>
                <a:cubicBezTo>
                  <a:pt x="3276826" y="341926"/>
                  <a:pt x="3276826" y="341926"/>
                  <a:pt x="3296363" y="351695"/>
                </a:cubicBezTo>
                <a:cubicBezTo>
                  <a:pt x="3296363" y="351695"/>
                  <a:pt x="3286594" y="351695"/>
                  <a:pt x="3276826" y="351695"/>
                </a:cubicBezTo>
                <a:cubicBezTo>
                  <a:pt x="3276826" y="341926"/>
                  <a:pt x="3267057" y="341926"/>
                  <a:pt x="3257288" y="341926"/>
                </a:cubicBezTo>
                <a:cubicBezTo>
                  <a:pt x="3257288" y="341926"/>
                  <a:pt x="3227982" y="332156"/>
                  <a:pt x="3227982" y="332156"/>
                </a:cubicBezTo>
                <a:cubicBezTo>
                  <a:pt x="3227982" y="332156"/>
                  <a:pt x="3227982" y="341926"/>
                  <a:pt x="3237751" y="341926"/>
                </a:cubicBezTo>
                <a:cubicBezTo>
                  <a:pt x="3227982" y="341926"/>
                  <a:pt x="3227982" y="341926"/>
                  <a:pt x="3227982" y="341926"/>
                </a:cubicBezTo>
                <a:cubicBezTo>
                  <a:pt x="3218214" y="341926"/>
                  <a:pt x="3227982" y="351695"/>
                  <a:pt x="3227982" y="351695"/>
                </a:cubicBezTo>
                <a:cubicBezTo>
                  <a:pt x="3247520" y="351695"/>
                  <a:pt x="3247520" y="351695"/>
                  <a:pt x="3247520" y="351695"/>
                </a:cubicBezTo>
                <a:cubicBezTo>
                  <a:pt x="3247520" y="351695"/>
                  <a:pt x="3257288" y="351695"/>
                  <a:pt x="3257288" y="351695"/>
                </a:cubicBezTo>
                <a:cubicBezTo>
                  <a:pt x="3257288" y="351695"/>
                  <a:pt x="3257288" y="361464"/>
                  <a:pt x="3267057" y="361464"/>
                </a:cubicBezTo>
                <a:cubicBezTo>
                  <a:pt x="3267057" y="361464"/>
                  <a:pt x="3276826" y="361464"/>
                  <a:pt x="3276826" y="361464"/>
                </a:cubicBezTo>
                <a:cubicBezTo>
                  <a:pt x="3286594" y="361464"/>
                  <a:pt x="3286594" y="371234"/>
                  <a:pt x="3296363" y="371234"/>
                </a:cubicBezTo>
                <a:cubicBezTo>
                  <a:pt x="3296363" y="371234"/>
                  <a:pt x="3306131" y="371234"/>
                  <a:pt x="3306131" y="371234"/>
                </a:cubicBezTo>
                <a:cubicBezTo>
                  <a:pt x="3315900" y="381003"/>
                  <a:pt x="3315900" y="381003"/>
                  <a:pt x="3315900" y="371234"/>
                </a:cubicBezTo>
                <a:cubicBezTo>
                  <a:pt x="3315900" y="371234"/>
                  <a:pt x="3345206" y="371234"/>
                  <a:pt x="3354974" y="371234"/>
                </a:cubicBezTo>
                <a:cubicBezTo>
                  <a:pt x="3354974" y="371234"/>
                  <a:pt x="3364743" y="381003"/>
                  <a:pt x="3374512" y="381003"/>
                </a:cubicBezTo>
                <a:cubicBezTo>
                  <a:pt x="3403817" y="390772"/>
                  <a:pt x="3433123" y="400542"/>
                  <a:pt x="3442892" y="410311"/>
                </a:cubicBezTo>
                <a:cubicBezTo>
                  <a:pt x="3462429" y="420080"/>
                  <a:pt x="3481966" y="420080"/>
                  <a:pt x="3481966" y="420080"/>
                </a:cubicBezTo>
                <a:cubicBezTo>
                  <a:pt x="3481966" y="420080"/>
                  <a:pt x="3491735" y="420080"/>
                  <a:pt x="3491735" y="429849"/>
                </a:cubicBezTo>
                <a:cubicBezTo>
                  <a:pt x="3501504" y="429849"/>
                  <a:pt x="3501504" y="429849"/>
                  <a:pt x="3511272" y="429849"/>
                </a:cubicBezTo>
                <a:cubicBezTo>
                  <a:pt x="3511272" y="429849"/>
                  <a:pt x="3521041" y="429849"/>
                  <a:pt x="3521041" y="429849"/>
                </a:cubicBezTo>
                <a:cubicBezTo>
                  <a:pt x="3530809" y="439619"/>
                  <a:pt x="3530809" y="439619"/>
                  <a:pt x="3530809" y="439619"/>
                </a:cubicBezTo>
                <a:cubicBezTo>
                  <a:pt x="3530809" y="449388"/>
                  <a:pt x="3540578" y="449388"/>
                  <a:pt x="3540578" y="439619"/>
                </a:cubicBezTo>
                <a:cubicBezTo>
                  <a:pt x="3550347" y="439619"/>
                  <a:pt x="3550347" y="449388"/>
                  <a:pt x="3540578" y="449388"/>
                </a:cubicBezTo>
                <a:cubicBezTo>
                  <a:pt x="3540578" y="449388"/>
                  <a:pt x="3540578" y="449388"/>
                  <a:pt x="3550347" y="459158"/>
                </a:cubicBezTo>
                <a:cubicBezTo>
                  <a:pt x="3540578" y="459158"/>
                  <a:pt x="3540578" y="449388"/>
                  <a:pt x="3530809" y="449388"/>
                </a:cubicBezTo>
                <a:cubicBezTo>
                  <a:pt x="3521041" y="449388"/>
                  <a:pt x="3511272" y="449388"/>
                  <a:pt x="3511272" y="449388"/>
                </a:cubicBezTo>
                <a:cubicBezTo>
                  <a:pt x="3511272" y="449388"/>
                  <a:pt x="3501504" y="439619"/>
                  <a:pt x="3501504" y="439619"/>
                </a:cubicBezTo>
                <a:cubicBezTo>
                  <a:pt x="3501504" y="449388"/>
                  <a:pt x="3501504" y="449388"/>
                  <a:pt x="3501504" y="449388"/>
                </a:cubicBezTo>
                <a:cubicBezTo>
                  <a:pt x="3501504" y="449388"/>
                  <a:pt x="3511272" y="449388"/>
                  <a:pt x="3511272" y="449388"/>
                </a:cubicBezTo>
                <a:cubicBezTo>
                  <a:pt x="3511272" y="449388"/>
                  <a:pt x="3521041" y="459158"/>
                  <a:pt x="3521041" y="459158"/>
                </a:cubicBezTo>
                <a:cubicBezTo>
                  <a:pt x="3521041" y="459158"/>
                  <a:pt x="3560115" y="468927"/>
                  <a:pt x="3569884" y="468927"/>
                </a:cubicBezTo>
                <a:cubicBezTo>
                  <a:pt x="3579652" y="468927"/>
                  <a:pt x="3579652" y="468927"/>
                  <a:pt x="3569884" y="478696"/>
                </a:cubicBezTo>
                <a:cubicBezTo>
                  <a:pt x="3569884" y="478696"/>
                  <a:pt x="3569884" y="478696"/>
                  <a:pt x="3589421" y="488465"/>
                </a:cubicBezTo>
                <a:cubicBezTo>
                  <a:pt x="3608958" y="498235"/>
                  <a:pt x="3618727" y="498235"/>
                  <a:pt x="3628496" y="508004"/>
                </a:cubicBezTo>
                <a:cubicBezTo>
                  <a:pt x="3638264" y="508004"/>
                  <a:pt x="3648033" y="517773"/>
                  <a:pt x="3657801" y="517773"/>
                </a:cubicBezTo>
                <a:cubicBezTo>
                  <a:pt x="3667570" y="527543"/>
                  <a:pt x="3687107" y="527543"/>
                  <a:pt x="3687107" y="527543"/>
                </a:cubicBezTo>
                <a:cubicBezTo>
                  <a:pt x="3696876" y="537312"/>
                  <a:pt x="3706644" y="537312"/>
                  <a:pt x="3706644" y="537312"/>
                </a:cubicBezTo>
                <a:cubicBezTo>
                  <a:pt x="3716413" y="537312"/>
                  <a:pt x="3726182" y="547081"/>
                  <a:pt x="3726182" y="547081"/>
                </a:cubicBezTo>
                <a:cubicBezTo>
                  <a:pt x="3735950" y="547081"/>
                  <a:pt x="3755487" y="556851"/>
                  <a:pt x="3775025" y="566620"/>
                </a:cubicBezTo>
                <a:cubicBezTo>
                  <a:pt x="3794562" y="576389"/>
                  <a:pt x="3814099" y="586159"/>
                  <a:pt x="3823868" y="586159"/>
                </a:cubicBezTo>
                <a:cubicBezTo>
                  <a:pt x="3823868" y="586159"/>
                  <a:pt x="3833636" y="586159"/>
                  <a:pt x="3833636" y="595928"/>
                </a:cubicBezTo>
                <a:cubicBezTo>
                  <a:pt x="3843405" y="595928"/>
                  <a:pt x="3853174" y="595928"/>
                  <a:pt x="3853174" y="595928"/>
                </a:cubicBezTo>
                <a:cubicBezTo>
                  <a:pt x="3853174" y="595928"/>
                  <a:pt x="3882479" y="605697"/>
                  <a:pt x="3892248" y="615466"/>
                </a:cubicBezTo>
                <a:cubicBezTo>
                  <a:pt x="3902017" y="615466"/>
                  <a:pt x="3902017" y="625236"/>
                  <a:pt x="3902017" y="615466"/>
                </a:cubicBezTo>
                <a:cubicBezTo>
                  <a:pt x="3902017" y="615466"/>
                  <a:pt x="3911785" y="625236"/>
                  <a:pt x="3921554" y="625236"/>
                </a:cubicBezTo>
                <a:cubicBezTo>
                  <a:pt x="3941091" y="635005"/>
                  <a:pt x="3941091" y="635005"/>
                  <a:pt x="3941091" y="635005"/>
                </a:cubicBezTo>
                <a:cubicBezTo>
                  <a:pt x="3941091" y="644774"/>
                  <a:pt x="3941091" y="654543"/>
                  <a:pt x="3941091" y="654543"/>
                </a:cubicBezTo>
                <a:cubicBezTo>
                  <a:pt x="3931322" y="654543"/>
                  <a:pt x="3921554" y="664313"/>
                  <a:pt x="3921554" y="664313"/>
                </a:cubicBezTo>
                <a:cubicBezTo>
                  <a:pt x="3921554" y="664313"/>
                  <a:pt x="3931322" y="674082"/>
                  <a:pt x="3941091" y="674082"/>
                </a:cubicBezTo>
                <a:cubicBezTo>
                  <a:pt x="3941091" y="664313"/>
                  <a:pt x="3970397" y="683851"/>
                  <a:pt x="3989934" y="693621"/>
                </a:cubicBezTo>
                <a:cubicBezTo>
                  <a:pt x="3999703" y="703390"/>
                  <a:pt x="4019240" y="713160"/>
                  <a:pt x="4029009" y="722929"/>
                </a:cubicBezTo>
                <a:cubicBezTo>
                  <a:pt x="4038777" y="722929"/>
                  <a:pt x="4077852" y="742467"/>
                  <a:pt x="4097389" y="762006"/>
                </a:cubicBezTo>
                <a:cubicBezTo>
                  <a:pt x="4116926" y="771775"/>
                  <a:pt x="4116926" y="771775"/>
                  <a:pt x="4185306" y="801083"/>
                </a:cubicBezTo>
                <a:cubicBezTo>
                  <a:pt x="4204844" y="810853"/>
                  <a:pt x="4292761" y="859699"/>
                  <a:pt x="4331836" y="869468"/>
                </a:cubicBezTo>
                <a:cubicBezTo>
                  <a:pt x="4341604" y="879238"/>
                  <a:pt x="4351373" y="879238"/>
                  <a:pt x="4351373" y="889007"/>
                </a:cubicBezTo>
                <a:cubicBezTo>
                  <a:pt x="4361141" y="889007"/>
                  <a:pt x="4380679" y="889007"/>
                  <a:pt x="4380679" y="889007"/>
                </a:cubicBezTo>
                <a:cubicBezTo>
                  <a:pt x="4380679" y="889007"/>
                  <a:pt x="4380679" y="879238"/>
                  <a:pt x="4380679" y="879238"/>
                </a:cubicBezTo>
                <a:cubicBezTo>
                  <a:pt x="4390447" y="879238"/>
                  <a:pt x="4390447" y="879238"/>
                  <a:pt x="4390447" y="879238"/>
                </a:cubicBezTo>
                <a:cubicBezTo>
                  <a:pt x="4400216" y="879238"/>
                  <a:pt x="4400216" y="889007"/>
                  <a:pt x="4409985" y="889007"/>
                </a:cubicBezTo>
                <a:cubicBezTo>
                  <a:pt x="4429522" y="879238"/>
                  <a:pt x="4429522" y="889007"/>
                  <a:pt x="4439290" y="889007"/>
                </a:cubicBezTo>
                <a:cubicBezTo>
                  <a:pt x="4439290" y="889007"/>
                  <a:pt x="4449059" y="889007"/>
                  <a:pt x="4458828" y="889007"/>
                </a:cubicBezTo>
                <a:cubicBezTo>
                  <a:pt x="4458828" y="898776"/>
                  <a:pt x="4468596" y="898776"/>
                  <a:pt x="4468596" y="898776"/>
                </a:cubicBezTo>
                <a:cubicBezTo>
                  <a:pt x="4478365" y="898776"/>
                  <a:pt x="4478365" y="908546"/>
                  <a:pt x="4478365" y="908546"/>
                </a:cubicBezTo>
                <a:cubicBezTo>
                  <a:pt x="4478365" y="908546"/>
                  <a:pt x="4468596" y="918315"/>
                  <a:pt x="4468596" y="918315"/>
                </a:cubicBezTo>
                <a:cubicBezTo>
                  <a:pt x="4458828" y="918315"/>
                  <a:pt x="4449059" y="918315"/>
                  <a:pt x="4449059" y="918315"/>
                </a:cubicBezTo>
                <a:cubicBezTo>
                  <a:pt x="4449059" y="928084"/>
                  <a:pt x="4458828" y="928084"/>
                  <a:pt x="4458828" y="928084"/>
                </a:cubicBezTo>
                <a:cubicBezTo>
                  <a:pt x="4468596" y="928084"/>
                  <a:pt x="4478365" y="937853"/>
                  <a:pt x="4488133" y="937853"/>
                </a:cubicBezTo>
                <a:cubicBezTo>
                  <a:pt x="4488133" y="937853"/>
                  <a:pt x="4488133" y="947623"/>
                  <a:pt x="4488133" y="947623"/>
                </a:cubicBezTo>
                <a:cubicBezTo>
                  <a:pt x="4488133" y="947623"/>
                  <a:pt x="4488133" y="947623"/>
                  <a:pt x="4478365" y="947623"/>
                </a:cubicBezTo>
                <a:cubicBezTo>
                  <a:pt x="4478365" y="947623"/>
                  <a:pt x="4468596" y="937853"/>
                  <a:pt x="4468596" y="937853"/>
                </a:cubicBezTo>
                <a:cubicBezTo>
                  <a:pt x="4458828" y="947623"/>
                  <a:pt x="4458828" y="967161"/>
                  <a:pt x="4449059" y="967161"/>
                </a:cubicBezTo>
                <a:cubicBezTo>
                  <a:pt x="4449059" y="967161"/>
                  <a:pt x="4449059" y="967161"/>
                  <a:pt x="4439290" y="967161"/>
                </a:cubicBezTo>
                <a:cubicBezTo>
                  <a:pt x="4429522" y="967161"/>
                  <a:pt x="4429522" y="967161"/>
                  <a:pt x="4429522" y="976931"/>
                </a:cubicBezTo>
                <a:cubicBezTo>
                  <a:pt x="4429522" y="986700"/>
                  <a:pt x="4429522" y="986700"/>
                  <a:pt x="4429522" y="986700"/>
                </a:cubicBezTo>
                <a:cubicBezTo>
                  <a:pt x="4419753" y="996469"/>
                  <a:pt x="4419753" y="996469"/>
                  <a:pt x="4409985" y="986700"/>
                </a:cubicBezTo>
                <a:cubicBezTo>
                  <a:pt x="4409985" y="976931"/>
                  <a:pt x="4400216" y="976931"/>
                  <a:pt x="4400216" y="976931"/>
                </a:cubicBezTo>
                <a:cubicBezTo>
                  <a:pt x="4390447" y="967161"/>
                  <a:pt x="4380679" y="967161"/>
                  <a:pt x="4380679" y="957392"/>
                </a:cubicBezTo>
                <a:cubicBezTo>
                  <a:pt x="4380679" y="957392"/>
                  <a:pt x="4370910" y="947623"/>
                  <a:pt x="4351373" y="937853"/>
                </a:cubicBezTo>
                <a:cubicBezTo>
                  <a:pt x="4341604" y="928084"/>
                  <a:pt x="4331836" y="928084"/>
                  <a:pt x="4331836" y="918315"/>
                </a:cubicBezTo>
                <a:cubicBezTo>
                  <a:pt x="4322067" y="918315"/>
                  <a:pt x="4322067" y="908546"/>
                  <a:pt x="4322067" y="908546"/>
                </a:cubicBezTo>
                <a:cubicBezTo>
                  <a:pt x="4312298" y="898776"/>
                  <a:pt x="4312298" y="898776"/>
                  <a:pt x="4312298" y="898776"/>
                </a:cubicBezTo>
                <a:cubicBezTo>
                  <a:pt x="4312298" y="889007"/>
                  <a:pt x="4322067" y="889007"/>
                  <a:pt x="4312298" y="879238"/>
                </a:cubicBezTo>
                <a:cubicBezTo>
                  <a:pt x="4312298" y="869468"/>
                  <a:pt x="4312298" y="869468"/>
                  <a:pt x="4302530" y="869468"/>
                </a:cubicBezTo>
                <a:cubicBezTo>
                  <a:pt x="4302530" y="869468"/>
                  <a:pt x="4273224" y="849930"/>
                  <a:pt x="4243918" y="840160"/>
                </a:cubicBezTo>
                <a:cubicBezTo>
                  <a:pt x="4224381" y="830391"/>
                  <a:pt x="4195075" y="810853"/>
                  <a:pt x="4185306" y="810853"/>
                </a:cubicBezTo>
                <a:cubicBezTo>
                  <a:pt x="4175538" y="801083"/>
                  <a:pt x="4165769" y="801083"/>
                  <a:pt x="4156001" y="801083"/>
                </a:cubicBezTo>
                <a:cubicBezTo>
                  <a:pt x="4156001" y="791314"/>
                  <a:pt x="4146232" y="791314"/>
                  <a:pt x="4136463" y="791314"/>
                </a:cubicBezTo>
                <a:cubicBezTo>
                  <a:pt x="4126695" y="781544"/>
                  <a:pt x="4126695" y="781544"/>
                  <a:pt x="4126695" y="781544"/>
                </a:cubicBezTo>
                <a:cubicBezTo>
                  <a:pt x="4126695" y="791314"/>
                  <a:pt x="4126695" y="791314"/>
                  <a:pt x="4126695" y="791314"/>
                </a:cubicBezTo>
                <a:cubicBezTo>
                  <a:pt x="4116926" y="801083"/>
                  <a:pt x="4116926" y="801083"/>
                  <a:pt x="4107157" y="801083"/>
                </a:cubicBezTo>
                <a:cubicBezTo>
                  <a:pt x="4097389" y="810853"/>
                  <a:pt x="4097389" y="810853"/>
                  <a:pt x="4087620" y="801083"/>
                </a:cubicBezTo>
                <a:cubicBezTo>
                  <a:pt x="4077852" y="801083"/>
                  <a:pt x="4058314" y="791314"/>
                  <a:pt x="4048546" y="781544"/>
                </a:cubicBezTo>
                <a:cubicBezTo>
                  <a:pt x="4029009" y="771775"/>
                  <a:pt x="4019240" y="762006"/>
                  <a:pt x="4009471" y="762006"/>
                </a:cubicBezTo>
                <a:cubicBezTo>
                  <a:pt x="3999703" y="762006"/>
                  <a:pt x="3989934" y="752237"/>
                  <a:pt x="3989934" y="752237"/>
                </a:cubicBezTo>
                <a:cubicBezTo>
                  <a:pt x="3980166" y="752237"/>
                  <a:pt x="3970397" y="742467"/>
                  <a:pt x="3950860" y="732698"/>
                </a:cubicBezTo>
                <a:cubicBezTo>
                  <a:pt x="3950860" y="732698"/>
                  <a:pt x="3950860" y="732698"/>
                  <a:pt x="3941091" y="742467"/>
                </a:cubicBezTo>
                <a:cubicBezTo>
                  <a:pt x="3941091" y="742467"/>
                  <a:pt x="3941091" y="742467"/>
                  <a:pt x="3950860" y="752237"/>
                </a:cubicBezTo>
                <a:cubicBezTo>
                  <a:pt x="3960628" y="752237"/>
                  <a:pt x="3960628" y="752237"/>
                  <a:pt x="3970397" y="762006"/>
                </a:cubicBezTo>
                <a:cubicBezTo>
                  <a:pt x="3970397" y="762006"/>
                  <a:pt x="3970397" y="762006"/>
                  <a:pt x="3980166" y="762006"/>
                </a:cubicBezTo>
                <a:cubicBezTo>
                  <a:pt x="3980166" y="762006"/>
                  <a:pt x="4009471" y="771775"/>
                  <a:pt x="4038777" y="791314"/>
                </a:cubicBezTo>
                <a:cubicBezTo>
                  <a:pt x="4077852" y="810853"/>
                  <a:pt x="4097389" y="830391"/>
                  <a:pt x="4107157" y="820622"/>
                </a:cubicBezTo>
                <a:cubicBezTo>
                  <a:pt x="4107157" y="820622"/>
                  <a:pt x="4116926" y="830391"/>
                  <a:pt x="4116926" y="830391"/>
                </a:cubicBezTo>
                <a:cubicBezTo>
                  <a:pt x="4126695" y="840160"/>
                  <a:pt x="4146232" y="840160"/>
                  <a:pt x="4146232" y="840160"/>
                </a:cubicBezTo>
                <a:cubicBezTo>
                  <a:pt x="4165769" y="849930"/>
                  <a:pt x="4165769" y="849930"/>
                  <a:pt x="4185306" y="859699"/>
                </a:cubicBezTo>
                <a:cubicBezTo>
                  <a:pt x="4185306" y="869468"/>
                  <a:pt x="4204844" y="869468"/>
                  <a:pt x="4214612" y="879238"/>
                </a:cubicBezTo>
                <a:cubicBezTo>
                  <a:pt x="4234150" y="879238"/>
                  <a:pt x="4253687" y="889007"/>
                  <a:pt x="4253687" y="898776"/>
                </a:cubicBezTo>
                <a:cubicBezTo>
                  <a:pt x="4253687" y="898776"/>
                  <a:pt x="4253687" y="898776"/>
                  <a:pt x="4243918" y="889007"/>
                </a:cubicBezTo>
                <a:cubicBezTo>
                  <a:pt x="4234150" y="889007"/>
                  <a:pt x="4224381" y="879238"/>
                  <a:pt x="4204844" y="879238"/>
                </a:cubicBezTo>
                <a:cubicBezTo>
                  <a:pt x="4185306" y="869468"/>
                  <a:pt x="4175538" y="869468"/>
                  <a:pt x="4165769" y="869468"/>
                </a:cubicBezTo>
                <a:cubicBezTo>
                  <a:pt x="4165769" y="869468"/>
                  <a:pt x="4195075" y="889007"/>
                  <a:pt x="4214612" y="889007"/>
                </a:cubicBezTo>
                <a:cubicBezTo>
                  <a:pt x="4224381" y="898776"/>
                  <a:pt x="4234150" y="898776"/>
                  <a:pt x="4234150" y="898776"/>
                </a:cubicBezTo>
                <a:cubicBezTo>
                  <a:pt x="4243918" y="908546"/>
                  <a:pt x="4243918" y="908546"/>
                  <a:pt x="4243918" y="908546"/>
                </a:cubicBezTo>
                <a:cubicBezTo>
                  <a:pt x="4243918" y="918315"/>
                  <a:pt x="4253687" y="918315"/>
                  <a:pt x="4273224" y="928084"/>
                </a:cubicBezTo>
                <a:cubicBezTo>
                  <a:pt x="4302530" y="937853"/>
                  <a:pt x="4302530" y="947623"/>
                  <a:pt x="4302530" y="947623"/>
                </a:cubicBezTo>
                <a:cubicBezTo>
                  <a:pt x="4312298" y="947623"/>
                  <a:pt x="4312298" y="957392"/>
                  <a:pt x="4312298" y="957392"/>
                </a:cubicBezTo>
                <a:cubicBezTo>
                  <a:pt x="4322067" y="957392"/>
                  <a:pt x="4322067" y="947623"/>
                  <a:pt x="4322067" y="947623"/>
                </a:cubicBezTo>
                <a:cubicBezTo>
                  <a:pt x="4322067" y="947623"/>
                  <a:pt x="4322067" y="947623"/>
                  <a:pt x="4331836" y="947623"/>
                </a:cubicBezTo>
                <a:cubicBezTo>
                  <a:pt x="4341604" y="957392"/>
                  <a:pt x="4351373" y="957392"/>
                  <a:pt x="4351373" y="957392"/>
                </a:cubicBezTo>
                <a:cubicBezTo>
                  <a:pt x="4351373" y="957392"/>
                  <a:pt x="4361141" y="957392"/>
                  <a:pt x="4380679" y="976931"/>
                </a:cubicBezTo>
                <a:cubicBezTo>
                  <a:pt x="4390447" y="976931"/>
                  <a:pt x="4400216" y="976931"/>
                  <a:pt x="4400216" y="986700"/>
                </a:cubicBezTo>
                <a:cubicBezTo>
                  <a:pt x="4400216" y="986700"/>
                  <a:pt x="4361141" y="976931"/>
                  <a:pt x="4361141" y="976931"/>
                </a:cubicBezTo>
                <a:cubicBezTo>
                  <a:pt x="4361141" y="976931"/>
                  <a:pt x="4361141" y="986700"/>
                  <a:pt x="4370910" y="986700"/>
                </a:cubicBezTo>
                <a:cubicBezTo>
                  <a:pt x="4390447" y="996469"/>
                  <a:pt x="4390447" y="996469"/>
                  <a:pt x="4390447" y="996469"/>
                </a:cubicBezTo>
                <a:cubicBezTo>
                  <a:pt x="4390447" y="1006239"/>
                  <a:pt x="4380679" y="1006239"/>
                  <a:pt x="4370910" y="1006239"/>
                </a:cubicBezTo>
                <a:cubicBezTo>
                  <a:pt x="4370910" y="996469"/>
                  <a:pt x="4361141" y="996469"/>
                  <a:pt x="4361141" y="996469"/>
                </a:cubicBezTo>
                <a:cubicBezTo>
                  <a:pt x="4361141" y="996469"/>
                  <a:pt x="4351373" y="996469"/>
                  <a:pt x="4351373" y="986700"/>
                </a:cubicBezTo>
                <a:cubicBezTo>
                  <a:pt x="4341604" y="986700"/>
                  <a:pt x="4341604" y="986700"/>
                  <a:pt x="4331836" y="986700"/>
                </a:cubicBezTo>
                <a:cubicBezTo>
                  <a:pt x="4322067" y="986700"/>
                  <a:pt x="4322067" y="986700"/>
                  <a:pt x="4322067" y="986700"/>
                </a:cubicBezTo>
                <a:cubicBezTo>
                  <a:pt x="4312298" y="976931"/>
                  <a:pt x="4312298" y="976931"/>
                  <a:pt x="4302530" y="976931"/>
                </a:cubicBezTo>
                <a:cubicBezTo>
                  <a:pt x="4282993" y="976931"/>
                  <a:pt x="4273224" y="967161"/>
                  <a:pt x="4273224" y="967161"/>
                </a:cubicBezTo>
                <a:cubicBezTo>
                  <a:pt x="4273224" y="957392"/>
                  <a:pt x="4263455" y="957392"/>
                  <a:pt x="4263455" y="957392"/>
                </a:cubicBezTo>
                <a:cubicBezTo>
                  <a:pt x="4263455" y="967161"/>
                  <a:pt x="4263455" y="967161"/>
                  <a:pt x="4253687" y="967161"/>
                </a:cubicBezTo>
                <a:cubicBezTo>
                  <a:pt x="4253687" y="967161"/>
                  <a:pt x="4243918" y="957392"/>
                  <a:pt x="4243918" y="957392"/>
                </a:cubicBezTo>
                <a:cubicBezTo>
                  <a:pt x="4253687" y="947623"/>
                  <a:pt x="4243918" y="937853"/>
                  <a:pt x="4224381" y="928084"/>
                </a:cubicBezTo>
                <a:cubicBezTo>
                  <a:pt x="4204844" y="918315"/>
                  <a:pt x="4195075" y="918315"/>
                  <a:pt x="4185306" y="918315"/>
                </a:cubicBezTo>
                <a:cubicBezTo>
                  <a:pt x="4175538" y="908546"/>
                  <a:pt x="4175538" y="908546"/>
                  <a:pt x="4165769" y="908546"/>
                </a:cubicBezTo>
                <a:cubicBezTo>
                  <a:pt x="4165769" y="918315"/>
                  <a:pt x="4165769" y="918315"/>
                  <a:pt x="4175538" y="918315"/>
                </a:cubicBezTo>
                <a:cubicBezTo>
                  <a:pt x="4185306" y="928084"/>
                  <a:pt x="4214612" y="937853"/>
                  <a:pt x="4214612" y="937853"/>
                </a:cubicBezTo>
                <a:cubicBezTo>
                  <a:pt x="4214612" y="947623"/>
                  <a:pt x="4224381" y="947623"/>
                  <a:pt x="4224381" y="947623"/>
                </a:cubicBezTo>
                <a:cubicBezTo>
                  <a:pt x="4224381" y="947623"/>
                  <a:pt x="4224381" y="947623"/>
                  <a:pt x="4234150" y="957392"/>
                </a:cubicBezTo>
                <a:cubicBezTo>
                  <a:pt x="4234150" y="957392"/>
                  <a:pt x="4224381" y="957392"/>
                  <a:pt x="4214612" y="947623"/>
                </a:cubicBezTo>
                <a:cubicBezTo>
                  <a:pt x="4195075" y="928084"/>
                  <a:pt x="4195075" y="928084"/>
                  <a:pt x="4175538" y="928084"/>
                </a:cubicBezTo>
                <a:cubicBezTo>
                  <a:pt x="4156001" y="918315"/>
                  <a:pt x="4146232" y="918315"/>
                  <a:pt x="4146232" y="918315"/>
                </a:cubicBezTo>
                <a:cubicBezTo>
                  <a:pt x="4146232" y="918315"/>
                  <a:pt x="4146232" y="918315"/>
                  <a:pt x="4185306" y="937853"/>
                </a:cubicBezTo>
                <a:cubicBezTo>
                  <a:pt x="4204844" y="947623"/>
                  <a:pt x="4214612" y="947623"/>
                  <a:pt x="4214612" y="947623"/>
                </a:cubicBezTo>
                <a:cubicBezTo>
                  <a:pt x="4214612" y="957392"/>
                  <a:pt x="4204844" y="957392"/>
                  <a:pt x="4195075" y="957392"/>
                </a:cubicBezTo>
                <a:cubicBezTo>
                  <a:pt x="4195075" y="957392"/>
                  <a:pt x="4185306" y="947623"/>
                  <a:pt x="4175538" y="947623"/>
                </a:cubicBezTo>
                <a:cubicBezTo>
                  <a:pt x="4175538" y="947623"/>
                  <a:pt x="4156001" y="937853"/>
                  <a:pt x="4146232" y="937853"/>
                </a:cubicBezTo>
                <a:cubicBezTo>
                  <a:pt x="4116926" y="928084"/>
                  <a:pt x="4116926" y="918315"/>
                  <a:pt x="4116926" y="928084"/>
                </a:cubicBezTo>
                <a:cubicBezTo>
                  <a:pt x="4116926" y="928084"/>
                  <a:pt x="4116926" y="928084"/>
                  <a:pt x="4107157" y="928084"/>
                </a:cubicBezTo>
                <a:cubicBezTo>
                  <a:pt x="4107157" y="928084"/>
                  <a:pt x="4107157" y="937853"/>
                  <a:pt x="4107157" y="937853"/>
                </a:cubicBezTo>
                <a:cubicBezTo>
                  <a:pt x="4116926" y="937853"/>
                  <a:pt x="4146232" y="947623"/>
                  <a:pt x="4156001" y="947623"/>
                </a:cubicBezTo>
                <a:cubicBezTo>
                  <a:pt x="4165769" y="947623"/>
                  <a:pt x="4165769" y="957392"/>
                  <a:pt x="4165769" y="957392"/>
                </a:cubicBezTo>
                <a:cubicBezTo>
                  <a:pt x="4175538" y="957392"/>
                  <a:pt x="4234150" y="986700"/>
                  <a:pt x="4253687" y="996469"/>
                </a:cubicBezTo>
                <a:cubicBezTo>
                  <a:pt x="4282993" y="1016008"/>
                  <a:pt x="4282993" y="1016008"/>
                  <a:pt x="4292761" y="1016008"/>
                </a:cubicBezTo>
                <a:cubicBezTo>
                  <a:pt x="4302530" y="1016008"/>
                  <a:pt x="4302530" y="1016008"/>
                  <a:pt x="4312298" y="1016008"/>
                </a:cubicBezTo>
                <a:cubicBezTo>
                  <a:pt x="4322067" y="1016008"/>
                  <a:pt x="4322067" y="1016008"/>
                  <a:pt x="4312298" y="1025777"/>
                </a:cubicBezTo>
                <a:cubicBezTo>
                  <a:pt x="4322067" y="1035546"/>
                  <a:pt x="4312298" y="1035546"/>
                  <a:pt x="4263455" y="1006239"/>
                </a:cubicBezTo>
                <a:cubicBezTo>
                  <a:pt x="4214612" y="986700"/>
                  <a:pt x="4214612" y="986700"/>
                  <a:pt x="4214612" y="986700"/>
                </a:cubicBezTo>
                <a:cubicBezTo>
                  <a:pt x="4214612" y="996469"/>
                  <a:pt x="4214612" y="996469"/>
                  <a:pt x="4214612" y="996469"/>
                </a:cubicBezTo>
                <a:cubicBezTo>
                  <a:pt x="4214612" y="996469"/>
                  <a:pt x="4224381" y="996469"/>
                  <a:pt x="4234150" y="1006239"/>
                </a:cubicBezTo>
                <a:cubicBezTo>
                  <a:pt x="4243918" y="1016008"/>
                  <a:pt x="4253687" y="1016008"/>
                  <a:pt x="4253687" y="1016008"/>
                </a:cubicBezTo>
                <a:cubicBezTo>
                  <a:pt x="4263455" y="1016008"/>
                  <a:pt x="4263455" y="1016008"/>
                  <a:pt x="4263455" y="1016008"/>
                </a:cubicBezTo>
                <a:cubicBezTo>
                  <a:pt x="4263455" y="1016008"/>
                  <a:pt x="4263455" y="1025777"/>
                  <a:pt x="4282993" y="1025777"/>
                </a:cubicBezTo>
                <a:cubicBezTo>
                  <a:pt x="4312298" y="1045316"/>
                  <a:pt x="4312298" y="1045316"/>
                  <a:pt x="4312298" y="1045316"/>
                </a:cubicBezTo>
                <a:cubicBezTo>
                  <a:pt x="4312298" y="1045316"/>
                  <a:pt x="4312298" y="1045316"/>
                  <a:pt x="4322067" y="1045316"/>
                </a:cubicBezTo>
                <a:cubicBezTo>
                  <a:pt x="4322067" y="1055085"/>
                  <a:pt x="4351373" y="1064854"/>
                  <a:pt x="4351373" y="1064854"/>
                </a:cubicBezTo>
                <a:cubicBezTo>
                  <a:pt x="4361141" y="1074624"/>
                  <a:pt x="4361141" y="1074624"/>
                  <a:pt x="4351373" y="1074624"/>
                </a:cubicBezTo>
                <a:cubicBezTo>
                  <a:pt x="4351373" y="1074624"/>
                  <a:pt x="4341604" y="1064854"/>
                  <a:pt x="4322067" y="1064854"/>
                </a:cubicBezTo>
                <a:cubicBezTo>
                  <a:pt x="4322067" y="1064854"/>
                  <a:pt x="4312298" y="1064854"/>
                  <a:pt x="4312298" y="1064854"/>
                </a:cubicBezTo>
                <a:cubicBezTo>
                  <a:pt x="4312298" y="1074624"/>
                  <a:pt x="4302530" y="1074624"/>
                  <a:pt x="4292761" y="1074624"/>
                </a:cubicBezTo>
                <a:cubicBezTo>
                  <a:pt x="4282993" y="1074624"/>
                  <a:pt x="4312298" y="1094162"/>
                  <a:pt x="4312298" y="1094162"/>
                </a:cubicBezTo>
                <a:cubicBezTo>
                  <a:pt x="4312298" y="1103932"/>
                  <a:pt x="4312298" y="1103932"/>
                  <a:pt x="4312298" y="1103932"/>
                </a:cubicBezTo>
                <a:cubicBezTo>
                  <a:pt x="4312298" y="1103932"/>
                  <a:pt x="4312298" y="1113701"/>
                  <a:pt x="4322067" y="1113701"/>
                </a:cubicBezTo>
                <a:cubicBezTo>
                  <a:pt x="4331836" y="1123471"/>
                  <a:pt x="4331836" y="1123471"/>
                  <a:pt x="4331836" y="1123471"/>
                </a:cubicBezTo>
                <a:cubicBezTo>
                  <a:pt x="4331836" y="1123471"/>
                  <a:pt x="4322067" y="1123471"/>
                  <a:pt x="4322067" y="1123471"/>
                </a:cubicBezTo>
                <a:cubicBezTo>
                  <a:pt x="4312298" y="1113701"/>
                  <a:pt x="4312298" y="1113701"/>
                  <a:pt x="4312298" y="1113701"/>
                </a:cubicBezTo>
                <a:cubicBezTo>
                  <a:pt x="4312298" y="1123471"/>
                  <a:pt x="4312298" y="1123471"/>
                  <a:pt x="4312298" y="1123471"/>
                </a:cubicBezTo>
                <a:cubicBezTo>
                  <a:pt x="4302530" y="1133240"/>
                  <a:pt x="4302530" y="1133240"/>
                  <a:pt x="4302530" y="1133240"/>
                </a:cubicBezTo>
                <a:cubicBezTo>
                  <a:pt x="4302530" y="1133240"/>
                  <a:pt x="4282993" y="1123471"/>
                  <a:pt x="4273224" y="1123471"/>
                </a:cubicBezTo>
                <a:cubicBezTo>
                  <a:pt x="4273224" y="1123471"/>
                  <a:pt x="4263455" y="1123471"/>
                  <a:pt x="4263455" y="1123471"/>
                </a:cubicBezTo>
                <a:cubicBezTo>
                  <a:pt x="4253687" y="1123471"/>
                  <a:pt x="4292761" y="1143009"/>
                  <a:pt x="4302530" y="1143009"/>
                </a:cubicBezTo>
                <a:cubicBezTo>
                  <a:pt x="4302530" y="1143009"/>
                  <a:pt x="4312298" y="1162547"/>
                  <a:pt x="4312298" y="1162547"/>
                </a:cubicBezTo>
                <a:cubicBezTo>
                  <a:pt x="4292761" y="1162547"/>
                  <a:pt x="4273224" y="1143009"/>
                  <a:pt x="4263455" y="1133240"/>
                </a:cubicBezTo>
                <a:cubicBezTo>
                  <a:pt x="4253687" y="1133240"/>
                  <a:pt x="4253687" y="1133240"/>
                  <a:pt x="4253687" y="1133240"/>
                </a:cubicBezTo>
                <a:cubicBezTo>
                  <a:pt x="4253687" y="1143009"/>
                  <a:pt x="4243918" y="1143009"/>
                  <a:pt x="4234150" y="1143009"/>
                </a:cubicBezTo>
                <a:cubicBezTo>
                  <a:pt x="4224381" y="1143009"/>
                  <a:pt x="4224381" y="1143009"/>
                  <a:pt x="4204844" y="1133240"/>
                </a:cubicBezTo>
                <a:cubicBezTo>
                  <a:pt x="4185306" y="1123471"/>
                  <a:pt x="4185306" y="1123471"/>
                  <a:pt x="4185306" y="1123471"/>
                </a:cubicBezTo>
                <a:cubicBezTo>
                  <a:pt x="4175538" y="1123471"/>
                  <a:pt x="4175538" y="1123471"/>
                  <a:pt x="4156001" y="1113701"/>
                </a:cubicBezTo>
                <a:cubicBezTo>
                  <a:pt x="4146232" y="1108816"/>
                  <a:pt x="4141348" y="1106374"/>
                  <a:pt x="4137684" y="1105153"/>
                </a:cubicBezTo>
                <a:lnTo>
                  <a:pt x="4137322" y="1105113"/>
                </a:lnTo>
                <a:lnTo>
                  <a:pt x="4136463" y="1103932"/>
                </a:lnTo>
                <a:cubicBezTo>
                  <a:pt x="4126695" y="1103932"/>
                  <a:pt x="4126695" y="1103932"/>
                  <a:pt x="4126695" y="1103932"/>
                </a:cubicBezTo>
                <a:lnTo>
                  <a:pt x="4137322" y="1105113"/>
                </a:lnTo>
                <a:lnTo>
                  <a:pt x="4146232" y="1117365"/>
                </a:lnTo>
                <a:cubicBezTo>
                  <a:pt x="4151116" y="1121028"/>
                  <a:pt x="4156001" y="1123471"/>
                  <a:pt x="4156001" y="1123471"/>
                </a:cubicBezTo>
                <a:cubicBezTo>
                  <a:pt x="4156001" y="1123471"/>
                  <a:pt x="4146232" y="1123471"/>
                  <a:pt x="4146232" y="1123471"/>
                </a:cubicBezTo>
                <a:cubicBezTo>
                  <a:pt x="4136463" y="1123471"/>
                  <a:pt x="4126695" y="1113701"/>
                  <a:pt x="4116926" y="1113701"/>
                </a:cubicBezTo>
                <a:cubicBezTo>
                  <a:pt x="4116926" y="1113701"/>
                  <a:pt x="4116926" y="1113701"/>
                  <a:pt x="4107157" y="1113701"/>
                </a:cubicBezTo>
                <a:cubicBezTo>
                  <a:pt x="4107157" y="1113701"/>
                  <a:pt x="4068083" y="1094162"/>
                  <a:pt x="4068083" y="1084393"/>
                </a:cubicBezTo>
                <a:cubicBezTo>
                  <a:pt x="4077852" y="1084393"/>
                  <a:pt x="4068083" y="1074624"/>
                  <a:pt x="4048546" y="1074624"/>
                </a:cubicBezTo>
                <a:cubicBezTo>
                  <a:pt x="4038777" y="1074624"/>
                  <a:pt x="4038777" y="1074624"/>
                  <a:pt x="4048546" y="1084393"/>
                </a:cubicBezTo>
                <a:cubicBezTo>
                  <a:pt x="4048546" y="1084393"/>
                  <a:pt x="4048546" y="1084393"/>
                  <a:pt x="4038777" y="1084393"/>
                </a:cubicBezTo>
                <a:cubicBezTo>
                  <a:pt x="4009471" y="1074624"/>
                  <a:pt x="3999703" y="1064854"/>
                  <a:pt x="3989934" y="1064854"/>
                </a:cubicBezTo>
                <a:cubicBezTo>
                  <a:pt x="3980166" y="1055085"/>
                  <a:pt x="3980166" y="1055085"/>
                  <a:pt x="3980166" y="1064854"/>
                </a:cubicBezTo>
                <a:cubicBezTo>
                  <a:pt x="3970397" y="1064854"/>
                  <a:pt x="3980166" y="1064854"/>
                  <a:pt x="3999703" y="1074624"/>
                </a:cubicBezTo>
                <a:cubicBezTo>
                  <a:pt x="4009471" y="1084393"/>
                  <a:pt x="4019240" y="1084393"/>
                  <a:pt x="4029009" y="1084393"/>
                </a:cubicBezTo>
                <a:cubicBezTo>
                  <a:pt x="4077852" y="1113701"/>
                  <a:pt x="4087620" y="1113701"/>
                  <a:pt x="4097389" y="1113701"/>
                </a:cubicBezTo>
                <a:cubicBezTo>
                  <a:pt x="4097389" y="1113701"/>
                  <a:pt x="4097389" y="1113701"/>
                  <a:pt x="4107157" y="1123471"/>
                </a:cubicBezTo>
                <a:cubicBezTo>
                  <a:pt x="4116926" y="1123471"/>
                  <a:pt x="4116926" y="1123471"/>
                  <a:pt x="4116926" y="1123471"/>
                </a:cubicBezTo>
                <a:cubicBezTo>
                  <a:pt x="4116926" y="1133240"/>
                  <a:pt x="4116926" y="1133240"/>
                  <a:pt x="4116926" y="1133240"/>
                </a:cubicBezTo>
                <a:cubicBezTo>
                  <a:pt x="4126695" y="1133240"/>
                  <a:pt x="4146232" y="1143009"/>
                  <a:pt x="4136463" y="1143009"/>
                </a:cubicBezTo>
                <a:cubicBezTo>
                  <a:pt x="4136463" y="1143009"/>
                  <a:pt x="4136463" y="1143009"/>
                  <a:pt x="4126695" y="1143009"/>
                </a:cubicBezTo>
                <a:cubicBezTo>
                  <a:pt x="4116926" y="1133240"/>
                  <a:pt x="4107157" y="1133240"/>
                  <a:pt x="4107157" y="1133240"/>
                </a:cubicBezTo>
                <a:cubicBezTo>
                  <a:pt x="4107157" y="1133240"/>
                  <a:pt x="4107157" y="1133240"/>
                  <a:pt x="4097389" y="1123471"/>
                </a:cubicBezTo>
                <a:cubicBezTo>
                  <a:pt x="4087620" y="1123471"/>
                  <a:pt x="4077852" y="1123471"/>
                  <a:pt x="4077852" y="1113701"/>
                </a:cubicBezTo>
                <a:cubicBezTo>
                  <a:pt x="4068083" y="1113701"/>
                  <a:pt x="4058314" y="1113701"/>
                  <a:pt x="4058314" y="1113701"/>
                </a:cubicBezTo>
                <a:cubicBezTo>
                  <a:pt x="4058314" y="1113701"/>
                  <a:pt x="4058314" y="1123471"/>
                  <a:pt x="4068083" y="1123471"/>
                </a:cubicBezTo>
                <a:cubicBezTo>
                  <a:pt x="4068083" y="1123471"/>
                  <a:pt x="4068083" y="1123471"/>
                  <a:pt x="4077852" y="1123471"/>
                </a:cubicBezTo>
                <a:cubicBezTo>
                  <a:pt x="4087620" y="1133240"/>
                  <a:pt x="4097389" y="1133240"/>
                  <a:pt x="4097389" y="1143009"/>
                </a:cubicBezTo>
                <a:cubicBezTo>
                  <a:pt x="4097389" y="1143009"/>
                  <a:pt x="4087620" y="1143009"/>
                  <a:pt x="4087620" y="1143009"/>
                </a:cubicBezTo>
                <a:cubicBezTo>
                  <a:pt x="4087620" y="1143009"/>
                  <a:pt x="4077852" y="1143009"/>
                  <a:pt x="4068083" y="1133240"/>
                </a:cubicBezTo>
                <a:cubicBezTo>
                  <a:pt x="4048546" y="1123471"/>
                  <a:pt x="4038777" y="1123471"/>
                  <a:pt x="3989934" y="1103932"/>
                </a:cubicBezTo>
                <a:cubicBezTo>
                  <a:pt x="3950860" y="1084393"/>
                  <a:pt x="3941091" y="1084393"/>
                  <a:pt x="3941091" y="1094162"/>
                </a:cubicBezTo>
                <a:cubicBezTo>
                  <a:pt x="3941091" y="1094162"/>
                  <a:pt x="3950860" y="1094162"/>
                  <a:pt x="3960628" y="1094162"/>
                </a:cubicBezTo>
                <a:cubicBezTo>
                  <a:pt x="3970397" y="1094162"/>
                  <a:pt x="3980166" y="1103932"/>
                  <a:pt x="3989934" y="1103932"/>
                </a:cubicBezTo>
                <a:cubicBezTo>
                  <a:pt x="3999703" y="1113701"/>
                  <a:pt x="4009471" y="1113701"/>
                  <a:pt x="4009471" y="1113701"/>
                </a:cubicBezTo>
                <a:cubicBezTo>
                  <a:pt x="4019240" y="1113701"/>
                  <a:pt x="4029009" y="1123471"/>
                  <a:pt x="4048546" y="1133240"/>
                </a:cubicBezTo>
                <a:cubicBezTo>
                  <a:pt x="4068083" y="1143009"/>
                  <a:pt x="4077852" y="1152778"/>
                  <a:pt x="4087620" y="1152778"/>
                </a:cubicBezTo>
                <a:cubicBezTo>
                  <a:pt x="4087620" y="1162547"/>
                  <a:pt x="4097389" y="1162547"/>
                  <a:pt x="4097389" y="1162547"/>
                </a:cubicBezTo>
                <a:cubicBezTo>
                  <a:pt x="4097389" y="1162547"/>
                  <a:pt x="4107157" y="1162547"/>
                  <a:pt x="4116926" y="1172317"/>
                </a:cubicBezTo>
                <a:cubicBezTo>
                  <a:pt x="4126695" y="1172317"/>
                  <a:pt x="4136463" y="1172317"/>
                  <a:pt x="4146232" y="1182086"/>
                </a:cubicBezTo>
                <a:cubicBezTo>
                  <a:pt x="4151116" y="1182086"/>
                  <a:pt x="4163327" y="1186971"/>
                  <a:pt x="4174317" y="1191856"/>
                </a:cubicBezTo>
                <a:lnTo>
                  <a:pt x="4174339" y="1191866"/>
                </a:lnTo>
                <a:lnTo>
                  <a:pt x="4157527" y="1192008"/>
                </a:lnTo>
                <a:cubicBezTo>
                  <a:pt x="4143790" y="1192466"/>
                  <a:pt x="4143790" y="1194298"/>
                  <a:pt x="4165769" y="1201625"/>
                </a:cubicBezTo>
                <a:cubicBezTo>
                  <a:pt x="4165769" y="1201625"/>
                  <a:pt x="4185306" y="1211394"/>
                  <a:pt x="4195075" y="1211394"/>
                </a:cubicBezTo>
                <a:cubicBezTo>
                  <a:pt x="4253687" y="1240702"/>
                  <a:pt x="4419753" y="1338395"/>
                  <a:pt x="4429522" y="1338395"/>
                </a:cubicBezTo>
                <a:cubicBezTo>
                  <a:pt x="4429522" y="1338395"/>
                  <a:pt x="4449059" y="1357934"/>
                  <a:pt x="4478365" y="1367703"/>
                </a:cubicBezTo>
                <a:cubicBezTo>
                  <a:pt x="4497902" y="1387242"/>
                  <a:pt x="4527208" y="1397011"/>
                  <a:pt x="4527208" y="1397011"/>
                </a:cubicBezTo>
                <a:cubicBezTo>
                  <a:pt x="4546745" y="1416550"/>
                  <a:pt x="4556514" y="1416550"/>
                  <a:pt x="4576051" y="1436088"/>
                </a:cubicBezTo>
                <a:cubicBezTo>
                  <a:pt x="4595588" y="1436088"/>
                  <a:pt x="4605357" y="1445857"/>
                  <a:pt x="4605357" y="1445857"/>
                </a:cubicBezTo>
                <a:cubicBezTo>
                  <a:pt x="4615125" y="1455627"/>
                  <a:pt x="4624894" y="1455627"/>
                  <a:pt x="4634663" y="1465396"/>
                </a:cubicBezTo>
                <a:cubicBezTo>
                  <a:pt x="4663968" y="1484935"/>
                  <a:pt x="4673737" y="1494704"/>
                  <a:pt x="4703043" y="1514243"/>
                </a:cubicBezTo>
                <a:cubicBezTo>
                  <a:pt x="4751886" y="1543550"/>
                  <a:pt x="4761655" y="1543550"/>
                  <a:pt x="4790960" y="1563089"/>
                </a:cubicBezTo>
                <a:cubicBezTo>
                  <a:pt x="4800729" y="1563089"/>
                  <a:pt x="4820266" y="1572858"/>
                  <a:pt x="4830035" y="1582628"/>
                </a:cubicBezTo>
                <a:cubicBezTo>
                  <a:pt x="4839803" y="1592397"/>
                  <a:pt x="4859341" y="1602166"/>
                  <a:pt x="4869109" y="1602166"/>
                </a:cubicBezTo>
                <a:cubicBezTo>
                  <a:pt x="4878878" y="1611936"/>
                  <a:pt x="4898415" y="1621705"/>
                  <a:pt x="4898415" y="1631475"/>
                </a:cubicBezTo>
                <a:cubicBezTo>
                  <a:pt x="4908184" y="1631475"/>
                  <a:pt x="4927721" y="1641244"/>
                  <a:pt x="4927721" y="1651013"/>
                </a:cubicBezTo>
                <a:cubicBezTo>
                  <a:pt x="4937490" y="1651013"/>
                  <a:pt x="4957027" y="1660782"/>
                  <a:pt x="4966795" y="1670551"/>
                </a:cubicBezTo>
                <a:cubicBezTo>
                  <a:pt x="4986333" y="1680321"/>
                  <a:pt x="5015638" y="1699859"/>
                  <a:pt x="5035176" y="1719398"/>
                </a:cubicBezTo>
                <a:cubicBezTo>
                  <a:pt x="5064481" y="1729168"/>
                  <a:pt x="5084019" y="1748706"/>
                  <a:pt x="5132862" y="1778014"/>
                </a:cubicBezTo>
                <a:cubicBezTo>
                  <a:pt x="5171936" y="1797552"/>
                  <a:pt x="5191473" y="1807322"/>
                  <a:pt x="5220779" y="1836630"/>
                </a:cubicBezTo>
                <a:cubicBezTo>
                  <a:pt x="5230548" y="1836630"/>
                  <a:pt x="5250085" y="1856168"/>
                  <a:pt x="5259854" y="1865938"/>
                </a:cubicBezTo>
                <a:cubicBezTo>
                  <a:pt x="5269622" y="1865938"/>
                  <a:pt x="5289160" y="1875707"/>
                  <a:pt x="5289160" y="1885476"/>
                </a:cubicBezTo>
                <a:cubicBezTo>
                  <a:pt x="5289160" y="1885476"/>
                  <a:pt x="5269622" y="1875707"/>
                  <a:pt x="5250085" y="1865938"/>
                </a:cubicBezTo>
                <a:cubicBezTo>
                  <a:pt x="5230548" y="1856168"/>
                  <a:pt x="5211011" y="1846399"/>
                  <a:pt x="5211011" y="1836630"/>
                </a:cubicBezTo>
                <a:cubicBezTo>
                  <a:pt x="5201242" y="1836630"/>
                  <a:pt x="5181705" y="1826861"/>
                  <a:pt x="5171936" y="1817091"/>
                </a:cubicBezTo>
                <a:cubicBezTo>
                  <a:pt x="5152399" y="1797552"/>
                  <a:pt x="5142630" y="1797552"/>
                  <a:pt x="5142630" y="1797552"/>
                </a:cubicBezTo>
                <a:cubicBezTo>
                  <a:pt x="5132862" y="1787783"/>
                  <a:pt x="5123093" y="1787783"/>
                  <a:pt x="5113325" y="1778014"/>
                </a:cubicBezTo>
                <a:cubicBezTo>
                  <a:pt x="5093787" y="1768245"/>
                  <a:pt x="5093787" y="1758475"/>
                  <a:pt x="5084019" y="1758475"/>
                </a:cubicBezTo>
                <a:cubicBezTo>
                  <a:pt x="5084019" y="1758475"/>
                  <a:pt x="5074250" y="1758475"/>
                  <a:pt x="5054713" y="1748706"/>
                </a:cubicBezTo>
                <a:cubicBezTo>
                  <a:pt x="5025407" y="1729168"/>
                  <a:pt x="5015638" y="1729168"/>
                  <a:pt x="5005870" y="1719398"/>
                </a:cubicBezTo>
                <a:cubicBezTo>
                  <a:pt x="4996101" y="1709629"/>
                  <a:pt x="4986333" y="1699859"/>
                  <a:pt x="4976564" y="1699859"/>
                </a:cubicBezTo>
                <a:cubicBezTo>
                  <a:pt x="4966795" y="1690090"/>
                  <a:pt x="4957027" y="1680321"/>
                  <a:pt x="4947258" y="1680321"/>
                </a:cubicBezTo>
                <a:cubicBezTo>
                  <a:pt x="4947258" y="1680321"/>
                  <a:pt x="4937490" y="1670551"/>
                  <a:pt x="4937490" y="1670551"/>
                </a:cubicBezTo>
                <a:cubicBezTo>
                  <a:pt x="4937490" y="1670551"/>
                  <a:pt x="4927721" y="1670551"/>
                  <a:pt x="4927721" y="1660782"/>
                </a:cubicBezTo>
                <a:cubicBezTo>
                  <a:pt x="4917952" y="1660782"/>
                  <a:pt x="4908184" y="1651013"/>
                  <a:pt x="4898415" y="1651013"/>
                </a:cubicBezTo>
                <a:cubicBezTo>
                  <a:pt x="4878878" y="1631475"/>
                  <a:pt x="4859341" y="1621705"/>
                  <a:pt x="4859341" y="1621705"/>
                </a:cubicBezTo>
                <a:cubicBezTo>
                  <a:pt x="4859341" y="1621705"/>
                  <a:pt x="4859341" y="1621705"/>
                  <a:pt x="4810498" y="1592397"/>
                </a:cubicBezTo>
                <a:cubicBezTo>
                  <a:pt x="4800729" y="1592397"/>
                  <a:pt x="4790960" y="1582628"/>
                  <a:pt x="4781192" y="1572858"/>
                </a:cubicBezTo>
                <a:cubicBezTo>
                  <a:pt x="4771423" y="1572858"/>
                  <a:pt x="4771423" y="1563089"/>
                  <a:pt x="4761655" y="1563089"/>
                </a:cubicBezTo>
                <a:cubicBezTo>
                  <a:pt x="4761655" y="1572858"/>
                  <a:pt x="4732349" y="1553320"/>
                  <a:pt x="4703043" y="1533781"/>
                </a:cubicBezTo>
                <a:cubicBezTo>
                  <a:pt x="4693274" y="1524012"/>
                  <a:pt x="4663968" y="1514243"/>
                  <a:pt x="4644431" y="1494704"/>
                </a:cubicBezTo>
                <a:cubicBezTo>
                  <a:pt x="4595588" y="1465396"/>
                  <a:pt x="4566282" y="1455627"/>
                  <a:pt x="4566282" y="1445857"/>
                </a:cubicBezTo>
                <a:cubicBezTo>
                  <a:pt x="4566282" y="1445857"/>
                  <a:pt x="4546745" y="1436088"/>
                  <a:pt x="4517439" y="1426319"/>
                </a:cubicBezTo>
                <a:cubicBezTo>
                  <a:pt x="4497902" y="1406780"/>
                  <a:pt x="4468596" y="1397011"/>
                  <a:pt x="4468596" y="1397011"/>
                </a:cubicBezTo>
                <a:cubicBezTo>
                  <a:pt x="4468596" y="1397011"/>
                  <a:pt x="4458828" y="1387242"/>
                  <a:pt x="4449059" y="1387242"/>
                </a:cubicBezTo>
                <a:cubicBezTo>
                  <a:pt x="4449059" y="1387242"/>
                  <a:pt x="4429522" y="1377472"/>
                  <a:pt x="4419753" y="1367703"/>
                </a:cubicBezTo>
                <a:cubicBezTo>
                  <a:pt x="4390447" y="1357934"/>
                  <a:pt x="4390447" y="1357934"/>
                  <a:pt x="4390447" y="1348164"/>
                </a:cubicBezTo>
                <a:cubicBezTo>
                  <a:pt x="4380679" y="1348164"/>
                  <a:pt x="4380679" y="1348164"/>
                  <a:pt x="4380679" y="1348164"/>
                </a:cubicBezTo>
                <a:cubicBezTo>
                  <a:pt x="4380679" y="1348164"/>
                  <a:pt x="4370910" y="1348164"/>
                  <a:pt x="4361141" y="1338395"/>
                </a:cubicBezTo>
                <a:cubicBezTo>
                  <a:pt x="4341604" y="1338395"/>
                  <a:pt x="4341604" y="1338395"/>
                  <a:pt x="4322067" y="1318857"/>
                </a:cubicBezTo>
                <a:cubicBezTo>
                  <a:pt x="4292761" y="1309087"/>
                  <a:pt x="4243918" y="1279779"/>
                  <a:pt x="4234150" y="1279779"/>
                </a:cubicBezTo>
                <a:cubicBezTo>
                  <a:pt x="4234150" y="1279779"/>
                  <a:pt x="4224381" y="1279779"/>
                  <a:pt x="4204844" y="1270010"/>
                </a:cubicBezTo>
                <a:cubicBezTo>
                  <a:pt x="4185306" y="1260241"/>
                  <a:pt x="4175538" y="1260241"/>
                  <a:pt x="4185306" y="1250471"/>
                </a:cubicBezTo>
                <a:cubicBezTo>
                  <a:pt x="4185306" y="1250471"/>
                  <a:pt x="4165769" y="1240702"/>
                  <a:pt x="4156001" y="1240702"/>
                </a:cubicBezTo>
                <a:cubicBezTo>
                  <a:pt x="4156001" y="1250471"/>
                  <a:pt x="4156001" y="1250471"/>
                  <a:pt x="4146232" y="1240702"/>
                </a:cubicBezTo>
                <a:cubicBezTo>
                  <a:pt x="4136463" y="1240702"/>
                  <a:pt x="4136463" y="1230933"/>
                  <a:pt x="4136463" y="1230933"/>
                </a:cubicBezTo>
                <a:cubicBezTo>
                  <a:pt x="4136463" y="1230933"/>
                  <a:pt x="4126695" y="1230933"/>
                  <a:pt x="4126695" y="1221164"/>
                </a:cubicBezTo>
                <a:cubicBezTo>
                  <a:pt x="4116926" y="1221164"/>
                  <a:pt x="4107157" y="1221164"/>
                  <a:pt x="4107157" y="1221164"/>
                </a:cubicBezTo>
                <a:cubicBezTo>
                  <a:pt x="4107157" y="1211394"/>
                  <a:pt x="4097389" y="1211394"/>
                  <a:pt x="4097389" y="1211394"/>
                </a:cubicBezTo>
                <a:cubicBezTo>
                  <a:pt x="4087620" y="1201625"/>
                  <a:pt x="4087620" y="1201625"/>
                  <a:pt x="4077852" y="1201625"/>
                </a:cubicBezTo>
                <a:cubicBezTo>
                  <a:pt x="4068083" y="1201625"/>
                  <a:pt x="4068083" y="1201625"/>
                  <a:pt x="4068083" y="1201625"/>
                </a:cubicBezTo>
                <a:cubicBezTo>
                  <a:pt x="4068083" y="1211394"/>
                  <a:pt x="4165769" y="1260241"/>
                  <a:pt x="4204844" y="1279779"/>
                </a:cubicBezTo>
                <a:cubicBezTo>
                  <a:pt x="4214612" y="1279779"/>
                  <a:pt x="4224381" y="1289548"/>
                  <a:pt x="4234150" y="1289548"/>
                </a:cubicBezTo>
                <a:cubicBezTo>
                  <a:pt x="4234150" y="1289548"/>
                  <a:pt x="4243918" y="1299318"/>
                  <a:pt x="4243918" y="1299318"/>
                </a:cubicBezTo>
                <a:cubicBezTo>
                  <a:pt x="4302530" y="1328626"/>
                  <a:pt x="4351373" y="1357934"/>
                  <a:pt x="4400216" y="1377472"/>
                </a:cubicBezTo>
                <a:cubicBezTo>
                  <a:pt x="4429522" y="1397011"/>
                  <a:pt x="4468596" y="1416550"/>
                  <a:pt x="4488133" y="1436088"/>
                </a:cubicBezTo>
                <a:cubicBezTo>
                  <a:pt x="4527208" y="1455627"/>
                  <a:pt x="4536976" y="1465396"/>
                  <a:pt x="4536976" y="1465396"/>
                </a:cubicBezTo>
                <a:cubicBezTo>
                  <a:pt x="4536976" y="1465396"/>
                  <a:pt x="4556514" y="1475165"/>
                  <a:pt x="4576051" y="1484935"/>
                </a:cubicBezTo>
                <a:cubicBezTo>
                  <a:pt x="4595588" y="1494704"/>
                  <a:pt x="4615125" y="1504473"/>
                  <a:pt x="4624894" y="1514243"/>
                </a:cubicBezTo>
                <a:cubicBezTo>
                  <a:pt x="4683506" y="1553320"/>
                  <a:pt x="4703043" y="1563089"/>
                  <a:pt x="4712811" y="1563089"/>
                </a:cubicBezTo>
                <a:cubicBezTo>
                  <a:pt x="4712811" y="1572858"/>
                  <a:pt x="4732349" y="1572858"/>
                  <a:pt x="4751886" y="1582628"/>
                </a:cubicBezTo>
                <a:cubicBezTo>
                  <a:pt x="4761655" y="1592397"/>
                  <a:pt x="4771423" y="1602166"/>
                  <a:pt x="4771423" y="1602166"/>
                </a:cubicBezTo>
                <a:cubicBezTo>
                  <a:pt x="4771423" y="1602166"/>
                  <a:pt x="4781192" y="1611936"/>
                  <a:pt x="4790960" y="1611936"/>
                </a:cubicBezTo>
                <a:cubicBezTo>
                  <a:pt x="4790960" y="1611936"/>
                  <a:pt x="4810498" y="1621705"/>
                  <a:pt x="4820266" y="1631475"/>
                </a:cubicBezTo>
                <a:cubicBezTo>
                  <a:pt x="4839803" y="1641244"/>
                  <a:pt x="4839803" y="1641244"/>
                  <a:pt x="4878878" y="1670551"/>
                </a:cubicBezTo>
                <a:cubicBezTo>
                  <a:pt x="4898415" y="1680321"/>
                  <a:pt x="4917952" y="1690090"/>
                  <a:pt x="4917952" y="1699859"/>
                </a:cubicBezTo>
                <a:cubicBezTo>
                  <a:pt x="4927721" y="1699859"/>
                  <a:pt x="4937490" y="1709629"/>
                  <a:pt x="4947258" y="1709629"/>
                </a:cubicBezTo>
                <a:cubicBezTo>
                  <a:pt x="4957027" y="1719398"/>
                  <a:pt x="4966795" y="1719398"/>
                  <a:pt x="4966795" y="1729168"/>
                </a:cubicBezTo>
                <a:cubicBezTo>
                  <a:pt x="4976564" y="1729168"/>
                  <a:pt x="4986333" y="1738937"/>
                  <a:pt x="4986333" y="1738937"/>
                </a:cubicBezTo>
                <a:cubicBezTo>
                  <a:pt x="5035176" y="1768245"/>
                  <a:pt x="5044944" y="1778014"/>
                  <a:pt x="5044944" y="1778014"/>
                </a:cubicBezTo>
                <a:cubicBezTo>
                  <a:pt x="5044944" y="1778014"/>
                  <a:pt x="5054713" y="1787783"/>
                  <a:pt x="5064481" y="1797552"/>
                </a:cubicBezTo>
                <a:cubicBezTo>
                  <a:pt x="5074250" y="1797552"/>
                  <a:pt x="5093787" y="1807322"/>
                  <a:pt x="5103556" y="1817091"/>
                </a:cubicBezTo>
                <a:cubicBezTo>
                  <a:pt x="5103556" y="1817091"/>
                  <a:pt x="5123093" y="1826861"/>
                  <a:pt x="5123093" y="1826861"/>
                </a:cubicBezTo>
                <a:cubicBezTo>
                  <a:pt x="5142630" y="1846399"/>
                  <a:pt x="5191473" y="1875707"/>
                  <a:pt x="5201242" y="1885476"/>
                </a:cubicBezTo>
                <a:cubicBezTo>
                  <a:pt x="5211011" y="1885476"/>
                  <a:pt x="5220779" y="1895246"/>
                  <a:pt x="5230548" y="1905015"/>
                </a:cubicBezTo>
                <a:cubicBezTo>
                  <a:pt x="5230548" y="1905015"/>
                  <a:pt x="5240316" y="1914784"/>
                  <a:pt x="5250085" y="1914784"/>
                </a:cubicBezTo>
                <a:cubicBezTo>
                  <a:pt x="5279391" y="1934323"/>
                  <a:pt x="5298928" y="1944092"/>
                  <a:pt x="5357540" y="1983169"/>
                </a:cubicBezTo>
                <a:cubicBezTo>
                  <a:pt x="5367308" y="1992939"/>
                  <a:pt x="5386846" y="2002708"/>
                  <a:pt x="5386846" y="2002708"/>
                </a:cubicBezTo>
                <a:cubicBezTo>
                  <a:pt x="5396614" y="2012477"/>
                  <a:pt x="5416151" y="2012477"/>
                  <a:pt x="5425920" y="2022247"/>
                </a:cubicBezTo>
                <a:cubicBezTo>
                  <a:pt x="5435689" y="2032016"/>
                  <a:pt x="5455226" y="2041785"/>
                  <a:pt x="5455226" y="2041785"/>
                </a:cubicBezTo>
                <a:cubicBezTo>
                  <a:pt x="5464995" y="2051554"/>
                  <a:pt x="5484532" y="2071093"/>
                  <a:pt x="5504069" y="2080862"/>
                </a:cubicBezTo>
                <a:cubicBezTo>
                  <a:pt x="5513838" y="2080862"/>
                  <a:pt x="5523606" y="2090632"/>
                  <a:pt x="5523606" y="2090632"/>
                </a:cubicBezTo>
                <a:cubicBezTo>
                  <a:pt x="5523606" y="2100401"/>
                  <a:pt x="5533375" y="2100401"/>
                  <a:pt x="5533375" y="2100401"/>
                </a:cubicBezTo>
                <a:cubicBezTo>
                  <a:pt x="5543143" y="2100401"/>
                  <a:pt x="5543143" y="2110170"/>
                  <a:pt x="5552912" y="2110170"/>
                </a:cubicBezTo>
                <a:cubicBezTo>
                  <a:pt x="5552912" y="2119940"/>
                  <a:pt x="5591986" y="2149248"/>
                  <a:pt x="5621292" y="2159017"/>
                </a:cubicBezTo>
                <a:cubicBezTo>
                  <a:pt x="5621292" y="2159017"/>
                  <a:pt x="5631061" y="2168786"/>
                  <a:pt x="5631061" y="2168786"/>
                </a:cubicBezTo>
                <a:cubicBezTo>
                  <a:pt x="5631061" y="2168786"/>
                  <a:pt x="5640830" y="2178556"/>
                  <a:pt x="5640830" y="2178556"/>
                </a:cubicBezTo>
                <a:cubicBezTo>
                  <a:pt x="5650598" y="2188325"/>
                  <a:pt x="5660367" y="2188325"/>
                  <a:pt x="5670135" y="2198095"/>
                </a:cubicBezTo>
                <a:cubicBezTo>
                  <a:pt x="5689673" y="2217633"/>
                  <a:pt x="5699441" y="2217633"/>
                  <a:pt x="5699441" y="2217633"/>
                </a:cubicBezTo>
                <a:cubicBezTo>
                  <a:pt x="5699441" y="2217633"/>
                  <a:pt x="5689673" y="2207864"/>
                  <a:pt x="5689673" y="2198095"/>
                </a:cubicBezTo>
                <a:cubicBezTo>
                  <a:pt x="5670135" y="2188325"/>
                  <a:pt x="5640830" y="2168786"/>
                  <a:pt x="5631061" y="2159017"/>
                </a:cubicBezTo>
                <a:cubicBezTo>
                  <a:pt x="5631061" y="2159017"/>
                  <a:pt x="5621292" y="2149248"/>
                  <a:pt x="5621292" y="2149248"/>
                </a:cubicBezTo>
                <a:cubicBezTo>
                  <a:pt x="5611524" y="2139479"/>
                  <a:pt x="5611524" y="2139479"/>
                  <a:pt x="5591986" y="2129709"/>
                </a:cubicBezTo>
                <a:cubicBezTo>
                  <a:pt x="5591986" y="2119940"/>
                  <a:pt x="5582218" y="2119940"/>
                  <a:pt x="5582218" y="2119940"/>
                </a:cubicBezTo>
                <a:cubicBezTo>
                  <a:pt x="5582218" y="2119940"/>
                  <a:pt x="5572449" y="2110170"/>
                  <a:pt x="5572449" y="2110170"/>
                </a:cubicBezTo>
                <a:cubicBezTo>
                  <a:pt x="5562681" y="2100401"/>
                  <a:pt x="5543143" y="2090632"/>
                  <a:pt x="5543143" y="2080862"/>
                </a:cubicBezTo>
                <a:cubicBezTo>
                  <a:pt x="5533375" y="2080862"/>
                  <a:pt x="5523606" y="2071093"/>
                  <a:pt x="5523606" y="2071093"/>
                </a:cubicBezTo>
                <a:cubicBezTo>
                  <a:pt x="5504069" y="2061324"/>
                  <a:pt x="5494300" y="2051554"/>
                  <a:pt x="5484532" y="2041785"/>
                </a:cubicBezTo>
                <a:cubicBezTo>
                  <a:pt x="5484532" y="2041785"/>
                  <a:pt x="5464995" y="2032016"/>
                  <a:pt x="5445457" y="2012477"/>
                </a:cubicBezTo>
                <a:cubicBezTo>
                  <a:pt x="5435689" y="2012477"/>
                  <a:pt x="5416151" y="1992939"/>
                  <a:pt x="5416151" y="1992939"/>
                </a:cubicBezTo>
                <a:cubicBezTo>
                  <a:pt x="5416151" y="1983169"/>
                  <a:pt x="5406383" y="1983169"/>
                  <a:pt x="5396614" y="1983169"/>
                </a:cubicBezTo>
                <a:cubicBezTo>
                  <a:pt x="5386846" y="1973400"/>
                  <a:pt x="5386846" y="1973400"/>
                  <a:pt x="5386846" y="1963631"/>
                </a:cubicBezTo>
                <a:cubicBezTo>
                  <a:pt x="5377077" y="1963631"/>
                  <a:pt x="5367308" y="1953861"/>
                  <a:pt x="5347771" y="1944092"/>
                </a:cubicBezTo>
                <a:cubicBezTo>
                  <a:pt x="5328234" y="1924554"/>
                  <a:pt x="5308697" y="1914784"/>
                  <a:pt x="5298928" y="1914784"/>
                </a:cubicBezTo>
                <a:cubicBezTo>
                  <a:pt x="5298928" y="1905015"/>
                  <a:pt x="5298928" y="1905015"/>
                  <a:pt x="5298928" y="1905015"/>
                </a:cubicBezTo>
                <a:cubicBezTo>
                  <a:pt x="5298928" y="1895246"/>
                  <a:pt x="5298928" y="1895246"/>
                  <a:pt x="5308697" y="1895246"/>
                </a:cubicBezTo>
                <a:cubicBezTo>
                  <a:pt x="5318465" y="1905015"/>
                  <a:pt x="5328234" y="1905015"/>
                  <a:pt x="5318465" y="1905015"/>
                </a:cubicBezTo>
                <a:cubicBezTo>
                  <a:pt x="5308697" y="1905015"/>
                  <a:pt x="5308697" y="1905015"/>
                  <a:pt x="5308697" y="1905015"/>
                </a:cubicBezTo>
                <a:cubicBezTo>
                  <a:pt x="5318465" y="1914784"/>
                  <a:pt x="5328234" y="1914784"/>
                  <a:pt x="5328234" y="1914784"/>
                </a:cubicBezTo>
                <a:cubicBezTo>
                  <a:pt x="5338003" y="1914784"/>
                  <a:pt x="5338003" y="1914784"/>
                  <a:pt x="5338003" y="1924554"/>
                </a:cubicBezTo>
                <a:cubicBezTo>
                  <a:pt x="5338003" y="1924554"/>
                  <a:pt x="5338003" y="1924554"/>
                  <a:pt x="5347771" y="1924554"/>
                </a:cubicBezTo>
                <a:cubicBezTo>
                  <a:pt x="5357540" y="1934323"/>
                  <a:pt x="5377077" y="1944092"/>
                  <a:pt x="5406383" y="1963631"/>
                </a:cubicBezTo>
                <a:cubicBezTo>
                  <a:pt x="5406383" y="1973400"/>
                  <a:pt x="5416151" y="1973400"/>
                  <a:pt x="5425920" y="1983169"/>
                </a:cubicBezTo>
                <a:cubicBezTo>
                  <a:pt x="5445457" y="1992939"/>
                  <a:pt x="5455226" y="2002708"/>
                  <a:pt x="5464995" y="2012477"/>
                </a:cubicBezTo>
                <a:cubicBezTo>
                  <a:pt x="5484532" y="2022247"/>
                  <a:pt x="5494300" y="2032016"/>
                  <a:pt x="5513838" y="2051554"/>
                </a:cubicBezTo>
                <a:cubicBezTo>
                  <a:pt x="5523606" y="2051554"/>
                  <a:pt x="5523606" y="2051554"/>
                  <a:pt x="5533375" y="2051554"/>
                </a:cubicBezTo>
                <a:cubicBezTo>
                  <a:pt x="5533375" y="2061324"/>
                  <a:pt x="5552912" y="2071093"/>
                  <a:pt x="5562681" y="2080862"/>
                </a:cubicBezTo>
                <a:cubicBezTo>
                  <a:pt x="5562681" y="2080862"/>
                  <a:pt x="5572449" y="2090632"/>
                  <a:pt x="5582218" y="2090632"/>
                </a:cubicBezTo>
                <a:cubicBezTo>
                  <a:pt x="5591986" y="2110170"/>
                  <a:pt x="5631061" y="2129709"/>
                  <a:pt x="5631061" y="2129709"/>
                </a:cubicBezTo>
                <a:cubicBezTo>
                  <a:pt x="5631061" y="2129709"/>
                  <a:pt x="5640830" y="2139479"/>
                  <a:pt x="5640830" y="2139479"/>
                </a:cubicBezTo>
                <a:cubicBezTo>
                  <a:pt x="5650598" y="2139479"/>
                  <a:pt x="5660367" y="2149248"/>
                  <a:pt x="5670135" y="2159017"/>
                </a:cubicBezTo>
                <a:cubicBezTo>
                  <a:pt x="5679904" y="2168786"/>
                  <a:pt x="5689673" y="2178556"/>
                  <a:pt x="5699441" y="2178556"/>
                </a:cubicBezTo>
                <a:cubicBezTo>
                  <a:pt x="5699441" y="2188325"/>
                  <a:pt x="5709210" y="2188325"/>
                  <a:pt x="5709210" y="2198095"/>
                </a:cubicBezTo>
                <a:cubicBezTo>
                  <a:pt x="5718978" y="2198095"/>
                  <a:pt x="5738516" y="2217633"/>
                  <a:pt x="5758053" y="2237172"/>
                </a:cubicBezTo>
                <a:cubicBezTo>
                  <a:pt x="5767822" y="2246941"/>
                  <a:pt x="5797127" y="2276249"/>
                  <a:pt x="5816665" y="2286018"/>
                </a:cubicBezTo>
                <a:cubicBezTo>
                  <a:pt x="5816665" y="2286018"/>
                  <a:pt x="5826433" y="2286018"/>
                  <a:pt x="5826433" y="2295788"/>
                </a:cubicBezTo>
                <a:cubicBezTo>
                  <a:pt x="5836202" y="2295788"/>
                  <a:pt x="5865508" y="2325095"/>
                  <a:pt x="5885045" y="2334865"/>
                </a:cubicBezTo>
                <a:cubicBezTo>
                  <a:pt x="5894813" y="2344634"/>
                  <a:pt x="5904582" y="2354403"/>
                  <a:pt x="5904582" y="2354403"/>
                </a:cubicBezTo>
                <a:cubicBezTo>
                  <a:pt x="5914351" y="2354403"/>
                  <a:pt x="5914351" y="2364173"/>
                  <a:pt x="5924119" y="2373942"/>
                </a:cubicBezTo>
                <a:cubicBezTo>
                  <a:pt x="5924119" y="2373942"/>
                  <a:pt x="5924119" y="2383711"/>
                  <a:pt x="5933888" y="2383711"/>
                </a:cubicBezTo>
                <a:cubicBezTo>
                  <a:pt x="5943657" y="2393481"/>
                  <a:pt x="5963194" y="2403250"/>
                  <a:pt x="5963194" y="2413019"/>
                </a:cubicBezTo>
                <a:cubicBezTo>
                  <a:pt x="5963194" y="2422788"/>
                  <a:pt x="5963194" y="2422788"/>
                  <a:pt x="5963194" y="2422788"/>
                </a:cubicBezTo>
                <a:cubicBezTo>
                  <a:pt x="5953425" y="2413019"/>
                  <a:pt x="5953425" y="2413019"/>
                  <a:pt x="5953425" y="2413019"/>
                </a:cubicBezTo>
                <a:cubicBezTo>
                  <a:pt x="5953425" y="2413019"/>
                  <a:pt x="5943657" y="2403250"/>
                  <a:pt x="5943657" y="2403250"/>
                </a:cubicBezTo>
                <a:cubicBezTo>
                  <a:pt x="5933888" y="2403250"/>
                  <a:pt x="5933888" y="2403250"/>
                  <a:pt x="5933888" y="2403250"/>
                </a:cubicBezTo>
                <a:cubicBezTo>
                  <a:pt x="5933888" y="2403250"/>
                  <a:pt x="5933888" y="2403250"/>
                  <a:pt x="5933888" y="2393481"/>
                </a:cubicBezTo>
                <a:cubicBezTo>
                  <a:pt x="5933888" y="2393481"/>
                  <a:pt x="5924119" y="2383711"/>
                  <a:pt x="5924119" y="2383711"/>
                </a:cubicBezTo>
                <a:cubicBezTo>
                  <a:pt x="5914351" y="2383711"/>
                  <a:pt x="5914351" y="2383711"/>
                  <a:pt x="5914351" y="2383711"/>
                </a:cubicBezTo>
                <a:cubicBezTo>
                  <a:pt x="5904582" y="2373942"/>
                  <a:pt x="5904582" y="2373942"/>
                  <a:pt x="5894813" y="2364173"/>
                </a:cubicBezTo>
                <a:cubicBezTo>
                  <a:pt x="5885045" y="2364173"/>
                  <a:pt x="5885045" y="2354403"/>
                  <a:pt x="5885045" y="2354403"/>
                </a:cubicBezTo>
                <a:cubicBezTo>
                  <a:pt x="5875276" y="2344634"/>
                  <a:pt x="5875276" y="2344634"/>
                  <a:pt x="5865508" y="2344634"/>
                </a:cubicBezTo>
                <a:cubicBezTo>
                  <a:pt x="5865508" y="2354403"/>
                  <a:pt x="5865508" y="2354403"/>
                  <a:pt x="5845970" y="2334865"/>
                </a:cubicBezTo>
                <a:cubicBezTo>
                  <a:pt x="5826433" y="2315326"/>
                  <a:pt x="5816665" y="2305557"/>
                  <a:pt x="5806896" y="2305557"/>
                </a:cubicBezTo>
                <a:cubicBezTo>
                  <a:pt x="5806896" y="2305557"/>
                  <a:pt x="5806896" y="2295788"/>
                  <a:pt x="5806896" y="2295788"/>
                </a:cubicBezTo>
                <a:cubicBezTo>
                  <a:pt x="5797127" y="2295788"/>
                  <a:pt x="5797127" y="2295788"/>
                  <a:pt x="5797127" y="2286018"/>
                </a:cubicBezTo>
                <a:cubicBezTo>
                  <a:pt x="5787359" y="2286018"/>
                  <a:pt x="5777590" y="2276249"/>
                  <a:pt x="5767822" y="2266480"/>
                </a:cubicBezTo>
                <a:cubicBezTo>
                  <a:pt x="5758053" y="2266480"/>
                  <a:pt x="5758053" y="2256710"/>
                  <a:pt x="5748284" y="2256710"/>
                </a:cubicBezTo>
                <a:cubicBezTo>
                  <a:pt x="5738516" y="2246941"/>
                  <a:pt x="5728747" y="2237172"/>
                  <a:pt x="5718978" y="2237172"/>
                </a:cubicBezTo>
                <a:cubicBezTo>
                  <a:pt x="5699441" y="2217633"/>
                  <a:pt x="5670135" y="2217633"/>
                  <a:pt x="5679904" y="2227402"/>
                </a:cubicBezTo>
                <a:cubicBezTo>
                  <a:pt x="5689673" y="2227402"/>
                  <a:pt x="5689673" y="2227402"/>
                  <a:pt x="5689673" y="2237172"/>
                </a:cubicBezTo>
                <a:cubicBezTo>
                  <a:pt x="5699441" y="2237172"/>
                  <a:pt x="5699441" y="2237172"/>
                  <a:pt x="5709210" y="2246941"/>
                </a:cubicBezTo>
                <a:cubicBezTo>
                  <a:pt x="5718978" y="2246941"/>
                  <a:pt x="5728747" y="2256710"/>
                  <a:pt x="5728747" y="2256710"/>
                </a:cubicBezTo>
                <a:cubicBezTo>
                  <a:pt x="5728747" y="2266480"/>
                  <a:pt x="5738516" y="2266480"/>
                  <a:pt x="5738516" y="2266480"/>
                </a:cubicBezTo>
                <a:cubicBezTo>
                  <a:pt x="5738516" y="2266480"/>
                  <a:pt x="5748284" y="2276249"/>
                  <a:pt x="5748284" y="2276249"/>
                </a:cubicBezTo>
                <a:cubicBezTo>
                  <a:pt x="5758053" y="2286018"/>
                  <a:pt x="5767822" y="2286018"/>
                  <a:pt x="5767822" y="2295788"/>
                </a:cubicBezTo>
                <a:cubicBezTo>
                  <a:pt x="5767822" y="2295788"/>
                  <a:pt x="5777590" y="2305557"/>
                  <a:pt x="5787359" y="2305557"/>
                </a:cubicBezTo>
                <a:cubicBezTo>
                  <a:pt x="5797127" y="2315326"/>
                  <a:pt x="5797127" y="2315326"/>
                  <a:pt x="5797127" y="2315326"/>
                </a:cubicBezTo>
                <a:cubicBezTo>
                  <a:pt x="5797127" y="2315326"/>
                  <a:pt x="5797127" y="2315326"/>
                  <a:pt x="5806896" y="2315326"/>
                </a:cubicBezTo>
                <a:cubicBezTo>
                  <a:pt x="5806896" y="2315326"/>
                  <a:pt x="5806896" y="2325095"/>
                  <a:pt x="5806896" y="2325095"/>
                </a:cubicBezTo>
                <a:cubicBezTo>
                  <a:pt x="5816665" y="2334865"/>
                  <a:pt x="5826433" y="2334865"/>
                  <a:pt x="5836202" y="2344634"/>
                </a:cubicBezTo>
                <a:cubicBezTo>
                  <a:pt x="5845970" y="2354403"/>
                  <a:pt x="5855739" y="2364173"/>
                  <a:pt x="5865508" y="2364173"/>
                </a:cubicBezTo>
                <a:cubicBezTo>
                  <a:pt x="5885045" y="2383711"/>
                  <a:pt x="5914351" y="2403250"/>
                  <a:pt x="5924119" y="2403250"/>
                </a:cubicBezTo>
                <a:cubicBezTo>
                  <a:pt x="5924119" y="2403250"/>
                  <a:pt x="5933888" y="2413019"/>
                  <a:pt x="5933888" y="2413019"/>
                </a:cubicBezTo>
                <a:cubicBezTo>
                  <a:pt x="5933888" y="2413019"/>
                  <a:pt x="5943657" y="2422788"/>
                  <a:pt x="5953425" y="2422788"/>
                </a:cubicBezTo>
                <a:cubicBezTo>
                  <a:pt x="5963194" y="2432558"/>
                  <a:pt x="5972962" y="2442327"/>
                  <a:pt x="5972962" y="2452096"/>
                </a:cubicBezTo>
                <a:cubicBezTo>
                  <a:pt x="5972962" y="2452096"/>
                  <a:pt x="5982731" y="2461866"/>
                  <a:pt x="5992500" y="2461866"/>
                </a:cubicBezTo>
                <a:cubicBezTo>
                  <a:pt x="5992500" y="2471635"/>
                  <a:pt x="6002268" y="2471635"/>
                  <a:pt x="6002268" y="2471635"/>
                </a:cubicBezTo>
                <a:cubicBezTo>
                  <a:pt x="6002268" y="2471635"/>
                  <a:pt x="6002268" y="2461866"/>
                  <a:pt x="6002268" y="2461866"/>
                </a:cubicBezTo>
                <a:cubicBezTo>
                  <a:pt x="6012037" y="2471635"/>
                  <a:pt x="6012037" y="2471635"/>
                  <a:pt x="6012037" y="2471635"/>
                </a:cubicBezTo>
                <a:cubicBezTo>
                  <a:pt x="6012037" y="2481404"/>
                  <a:pt x="6012037" y="2481404"/>
                  <a:pt x="6012037" y="2481404"/>
                </a:cubicBezTo>
                <a:cubicBezTo>
                  <a:pt x="6012037" y="2481404"/>
                  <a:pt x="6021805" y="2481404"/>
                  <a:pt x="6021805" y="2481404"/>
                </a:cubicBezTo>
                <a:cubicBezTo>
                  <a:pt x="6041343" y="2500943"/>
                  <a:pt x="6051111" y="2500943"/>
                  <a:pt x="6051111" y="2500943"/>
                </a:cubicBezTo>
                <a:cubicBezTo>
                  <a:pt x="6051111" y="2510712"/>
                  <a:pt x="6051111" y="2510712"/>
                  <a:pt x="6060880" y="2520482"/>
                </a:cubicBezTo>
                <a:cubicBezTo>
                  <a:pt x="6060880" y="2520482"/>
                  <a:pt x="6070648" y="2520482"/>
                  <a:pt x="6070648" y="2520482"/>
                </a:cubicBezTo>
                <a:cubicBezTo>
                  <a:pt x="6070648" y="2530251"/>
                  <a:pt x="6070648" y="2530251"/>
                  <a:pt x="6070648" y="2530251"/>
                </a:cubicBezTo>
                <a:cubicBezTo>
                  <a:pt x="6080417" y="2530251"/>
                  <a:pt x="6080417" y="2530251"/>
                  <a:pt x="6080417" y="2530251"/>
                </a:cubicBezTo>
                <a:cubicBezTo>
                  <a:pt x="6090186" y="2540020"/>
                  <a:pt x="6090186" y="2540020"/>
                  <a:pt x="6090186" y="2540020"/>
                </a:cubicBezTo>
                <a:cubicBezTo>
                  <a:pt x="6090186" y="2540020"/>
                  <a:pt x="6080417" y="2540020"/>
                  <a:pt x="6080417" y="2540020"/>
                </a:cubicBezTo>
                <a:cubicBezTo>
                  <a:pt x="6080417" y="2540020"/>
                  <a:pt x="6080417" y="2540020"/>
                  <a:pt x="6090186" y="2549789"/>
                </a:cubicBezTo>
                <a:cubicBezTo>
                  <a:pt x="6119492" y="2569328"/>
                  <a:pt x="6129260" y="2569328"/>
                  <a:pt x="6129260" y="2579097"/>
                </a:cubicBezTo>
                <a:cubicBezTo>
                  <a:pt x="6129260" y="2579097"/>
                  <a:pt x="6139029" y="2588867"/>
                  <a:pt x="6139029" y="2588867"/>
                </a:cubicBezTo>
                <a:cubicBezTo>
                  <a:pt x="6148797" y="2598636"/>
                  <a:pt x="6158566" y="2598636"/>
                  <a:pt x="6158566" y="2608406"/>
                </a:cubicBezTo>
                <a:cubicBezTo>
                  <a:pt x="6158566" y="2608406"/>
                  <a:pt x="6158566" y="2608406"/>
                  <a:pt x="6197640" y="2637713"/>
                </a:cubicBezTo>
                <a:cubicBezTo>
                  <a:pt x="6207409" y="2647483"/>
                  <a:pt x="6217178" y="2647483"/>
                  <a:pt x="6217178" y="2657252"/>
                </a:cubicBezTo>
                <a:cubicBezTo>
                  <a:pt x="6226946" y="2657252"/>
                  <a:pt x="6226946" y="2657252"/>
                  <a:pt x="6236715" y="2667021"/>
                </a:cubicBezTo>
                <a:cubicBezTo>
                  <a:pt x="6236715" y="2667021"/>
                  <a:pt x="6246483" y="2676790"/>
                  <a:pt x="6256252" y="2686560"/>
                </a:cubicBezTo>
                <a:cubicBezTo>
                  <a:pt x="6266021" y="2686560"/>
                  <a:pt x="6285558" y="2696329"/>
                  <a:pt x="6285558" y="2706099"/>
                </a:cubicBezTo>
                <a:cubicBezTo>
                  <a:pt x="6285558" y="2706099"/>
                  <a:pt x="6295327" y="2706099"/>
                  <a:pt x="6295327" y="2715868"/>
                </a:cubicBezTo>
                <a:cubicBezTo>
                  <a:pt x="6295327" y="2715868"/>
                  <a:pt x="6305095" y="2715868"/>
                  <a:pt x="6305095" y="2715868"/>
                </a:cubicBezTo>
                <a:cubicBezTo>
                  <a:pt x="6305095" y="2715868"/>
                  <a:pt x="6305095" y="2725637"/>
                  <a:pt x="6314864" y="2725637"/>
                </a:cubicBezTo>
                <a:cubicBezTo>
                  <a:pt x="6324632" y="2725637"/>
                  <a:pt x="6324632" y="2735406"/>
                  <a:pt x="6324632" y="2735406"/>
                </a:cubicBezTo>
                <a:cubicBezTo>
                  <a:pt x="6324632" y="2735406"/>
                  <a:pt x="6334401" y="2745176"/>
                  <a:pt x="6344170" y="2745176"/>
                </a:cubicBezTo>
                <a:cubicBezTo>
                  <a:pt x="6344170" y="2745176"/>
                  <a:pt x="6353938" y="2754945"/>
                  <a:pt x="6353938" y="2754945"/>
                </a:cubicBezTo>
                <a:cubicBezTo>
                  <a:pt x="6363707" y="2754945"/>
                  <a:pt x="6373475" y="2764714"/>
                  <a:pt x="6373475" y="2764714"/>
                </a:cubicBezTo>
                <a:cubicBezTo>
                  <a:pt x="6383244" y="2774484"/>
                  <a:pt x="6393013" y="2784253"/>
                  <a:pt x="6412550" y="2794022"/>
                </a:cubicBezTo>
                <a:cubicBezTo>
                  <a:pt x="6432087" y="2803791"/>
                  <a:pt x="6441856" y="2813561"/>
                  <a:pt x="6441856" y="2813561"/>
                </a:cubicBezTo>
                <a:cubicBezTo>
                  <a:pt x="6441856" y="2823330"/>
                  <a:pt x="6451624" y="2823330"/>
                  <a:pt x="6471162" y="2833099"/>
                </a:cubicBezTo>
                <a:cubicBezTo>
                  <a:pt x="6471162" y="2842869"/>
                  <a:pt x="6480930" y="2842869"/>
                  <a:pt x="6480930" y="2842869"/>
                </a:cubicBezTo>
                <a:cubicBezTo>
                  <a:pt x="6480930" y="2852638"/>
                  <a:pt x="6480930" y="2852638"/>
                  <a:pt x="6490699" y="2852638"/>
                </a:cubicBezTo>
                <a:cubicBezTo>
                  <a:pt x="6510236" y="2872177"/>
                  <a:pt x="6520005" y="2872177"/>
                  <a:pt x="6520005" y="2881946"/>
                </a:cubicBezTo>
                <a:cubicBezTo>
                  <a:pt x="6520005" y="2881946"/>
                  <a:pt x="6520005" y="2891715"/>
                  <a:pt x="6529773" y="2891715"/>
                </a:cubicBezTo>
                <a:cubicBezTo>
                  <a:pt x="6520005" y="2881946"/>
                  <a:pt x="6520005" y="2881946"/>
                  <a:pt x="6529773" y="2881946"/>
                </a:cubicBezTo>
                <a:cubicBezTo>
                  <a:pt x="6529773" y="2881946"/>
                  <a:pt x="6539542" y="2881946"/>
                  <a:pt x="6539542" y="2891715"/>
                </a:cubicBezTo>
                <a:cubicBezTo>
                  <a:pt x="6539542" y="2891715"/>
                  <a:pt x="6549310" y="2901485"/>
                  <a:pt x="6549310" y="2901485"/>
                </a:cubicBezTo>
                <a:cubicBezTo>
                  <a:pt x="6549310" y="2901485"/>
                  <a:pt x="6549310" y="2901485"/>
                  <a:pt x="6559079" y="2901485"/>
                </a:cubicBezTo>
                <a:cubicBezTo>
                  <a:pt x="6559079" y="2911254"/>
                  <a:pt x="6559079" y="2911254"/>
                  <a:pt x="6559079" y="2911254"/>
                </a:cubicBezTo>
                <a:cubicBezTo>
                  <a:pt x="6578616" y="2921023"/>
                  <a:pt x="6578616" y="2921023"/>
                  <a:pt x="6578616" y="2930792"/>
                </a:cubicBezTo>
                <a:cubicBezTo>
                  <a:pt x="6578616" y="2930792"/>
                  <a:pt x="6568848" y="2930792"/>
                  <a:pt x="6568848" y="2930792"/>
                </a:cubicBezTo>
                <a:cubicBezTo>
                  <a:pt x="6568848" y="2930792"/>
                  <a:pt x="6559079" y="2930792"/>
                  <a:pt x="6559079" y="2921023"/>
                </a:cubicBezTo>
                <a:cubicBezTo>
                  <a:pt x="6559079" y="2921023"/>
                  <a:pt x="6549310" y="2921023"/>
                  <a:pt x="6539542" y="2911254"/>
                </a:cubicBezTo>
                <a:cubicBezTo>
                  <a:pt x="6539542" y="2911254"/>
                  <a:pt x="6529773" y="2901485"/>
                  <a:pt x="6529773" y="2901485"/>
                </a:cubicBezTo>
                <a:cubicBezTo>
                  <a:pt x="6529773" y="2901485"/>
                  <a:pt x="6527331" y="2901485"/>
                  <a:pt x="6524889" y="2900264"/>
                </a:cubicBezTo>
                <a:lnTo>
                  <a:pt x="6524346" y="2899313"/>
                </a:lnTo>
                <a:lnTo>
                  <a:pt x="6523668" y="2897821"/>
                </a:lnTo>
                <a:lnTo>
                  <a:pt x="6523432" y="2897714"/>
                </a:lnTo>
                <a:lnTo>
                  <a:pt x="6520005" y="2891715"/>
                </a:lnTo>
                <a:cubicBezTo>
                  <a:pt x="6515120" y="2891715"/>
                  <a:pt x="6510236" y="2889273"/>
                  <a:pt x="6506573" y="2886831"/>
                </a:cubicBezTo>
                <a:lnTo>
                  <a:pt x="6500468" y="2881947"/>
                </a:lnTo>
                <a:lnTo>
                  <a:pt x="6496804" y="2878283"/>
                </a:lnTo>
                <a:cubicBezTo>
                  <a:pt x="6493141" y="2874619"/>
                  <a:pt x="6490699" y="2872177"/>
                  <a:pt x="6490699" y="2872177"/>
                </a:cubicBezTo>
                <a:cubicBezTo>
                  <a:pt x="6490699" y="2872177"/>
                  <a:pt x="6490699" y="2872177"/>
                  <a:pt x="6500467" y="2881946"/>
                </a:cubicBezTo>
                <a:lnTo>
                  <a:pt x="6500468" y="2881947"/>
                </a:lnTo>
                <a:lnTo>
                  <a:pt x="6510236" y="2891715"/>
                </a:lnTo>
                <a:lnTo>
                  <a:pt x="6523432" y="2897714"/>
                </a:lnTo>
                <a:lnTo>
                  <a:pt x="6524346" y="2899313"/>
                </a:lnTo>
                <a:lnTo>
                  <a:pt x="6529773" y="2911254"/>
                </a:lnTo>
                <a:cubicBezTo>
                  <a:pt x="6539542" y="2911254"/>
                  <a:pt x="6539542" y="2921023"/>
                  <a:pt x="6539542" y="2921023"/>
                </a:cubicBezTo>
                <a:cubicBezTo>
                  <a:pt x="6549310" y="2921023"/>
                  <a:pt x="6549310" y="2921023"/>
                  <a:pt x="6549310" y="2930792"/>
                </a:cubicBezTo>
                <a:cubicBezTo>
                  <a:pt x="6559079" y="2930792"/>
                  <a:pt x="6568848" y="2940562"/>
                  <a:pt x="6568848" y="2940562"/>
                </a:cubicBezTo>
                <a:cubicBezTo>
                  <a:pt x="6578616" y="2950331"/>
                  <a:pt x="6588385" y="2960100"/>
                  <a:pt x="6588385" y="2960100"/>
                </a:cubicBezTo>
                <a:cubicBezTo>
                  <a:pt x="6588385" y="2960100"/>
                  <a:pt x="6598153" y="2969870"/>
                  <a:pt x="6607922" y="2969870"/>
                </a:cubicBezTo>
                <a:cubicBezTo>
                  <a:pt x="6607922" y="2969870"/>
                  <a:pt x="6617691" y="2979639"/>
                  <a:pt x="6617691" y="2979639"/>
                </a:cubicBezTo>
                <a:cubicBezTo>
                  <a:pt x="6617691" y="2979639"/>
                  <a:pt x="6627459" y="2979639"/>
                  <a:pt x="6627459" y="2989408"/>
                </a:cubicBezTo>
                <a:cubicBezTo>
                  <a:pt x="6646997" y="2999178"/>
                  <a:pt x="6646997" y="3008947"/>
                  <a:pt x="6656765" y="3008947"/>
                </a:cubicBezTo>
                <a:cubicBezTo>
                  <a:pt x="6656765" y="3008947"/>
                  <a:pt x="6637228" y="3008947"/>
                  <a:pt x="6627459" y="2999178"/>
                </a:cubicBezTo>
                <a:cubicBezTo>
                  <a:pt x="6627459" y="2989408"/>
                  <a:pt x="6627459" y="2989408"/>
                  <a:pt x="6617691" y="2989408"/>
                </a:cubicBezTo>
                <a:cubicBezTo>
                  <a:pt x="6617691" y="2979639"/>
                  <a:pt x="6607922" y="2979639"/>
                  <a:pt x="6607922" y="2979639"/>
                </a:cubicBezTo>
                <a:cubicBezTo>
                  <a:pt x="6598153" y="2969870"/>
                  <a:pt x="6588385" y="2960100"/>
                  <a:pt x="6578616" y="2960100"/>
                </a:cubicBezTo>
                <a:cubicBezTo>
                  <a:pt x="6568848" y="2950331"/>
                  <a:pt x="6549310" y="2930792"/>
                  <a:pt x="6539542" y="2930792"/>
                </a:cubicBezTo>
                <a:cubicBezTo>
                  <a:pt x="6539542" y="2921023"/>
                  <a:pt x="6520005" y="2911254"/>
                  <a:pt x="6500467" y="2901485"/>
                </a:cubicBezTo>
                <a:cubicBezTo>
                  <a:pt x="6490699" y="2891715"/>
                  <a:pt x="6480930" y="2872177"/>
                  <a:pt x="6471162" y="2872177"/>
                </a:cubicBezTo>
                <a:cubicBezTo>
                  <a:pt x="6461393" y="2862407"/>
                  <a:pt x="6461393" y="2862407"/>
                  <a:pt x="6461393" y="2862407"/>
                </a:cubicBezTo>
                <a:cubicBezTo>
                  <a:pt x="6451624" y="2862407"/>
                  <a:pt x="6451624" y="2862407"/>
                  <a:pt x="6451624" y="2862407"/>
                </a:cubicBezTo>
                <a:cubicBezTo>
                  <a:pt x="6451624" y="2862407"/>
                  <a:pt x="6441856" y="2852638"/>
                  <a:pt x="6422318" y="2842869"/>
                </a:cubicBezTo>
                <a:cubicBezTo>
                  <a:pt x="6412550" y="2833099"/>
                  <a:pt x="6393013" y="2823330"/>
                  <a:pt x="6393013" y="2813561"/>
                </a:cubicBezTo>
                <a:cubicBezTo>
                  <a:pt x="6383244" y="2803791"/>
                  <a:pt x="6353938" y="2794022"/>
                  <a:pt x="6353938" y="2794022"/>
                </a:cubicBezTo>
                <a:cubicBezTo>
                  <a:pt x="6353938" y="2803791"/>
                  <a:pt x="6363707" y="2803791"/>
                  <a:pt x="6373475" y="2813561"/>
                </a:cubicBezTo>
                <a:cubicBezTo>
                  <a:pt x="6373475" y="2813561"/>
                  <a:pt x="6383244" y="2823330"/>
                  <a:pt x="6393013" y="2833099"/>
                </a:cubicBezTo>
                <a:cubicBezTo>
                  <a:pt x="6402781" y="2833099"/>
                  <a:pt x="6412550" y="2842869"/>
                  <a:pt x="6412550" y="2842869"/>
                </a:cubicBezTo>
                <a:cubicBezTo>
                  <a:pt x="6412550" y="2842869"/>
                  <a:pt x="6412550" y="2842869"/>
                  <a:pt x="6422318" y="2852638"/>
                </a:cubicBezTo>
                <a:cubicBezTo>
                  <a:pt x="6432087" y="2852638"/>
                  <a:pt x="6441856" y="2862407"/>
                  <a:pt x="6451624" y="2872177"/>
                </a:cubicBezTo>
                <a:cubicBezTo>
                  <a:pt x="6451624" y="2881946"/>
                  <a:pt x="6461393" y="2881946"/>
                  <a:pt x="6461393" y="2881946"/>
                </a:cubicBezTo>
                <a:cubicBezTo>
                  <a:pt x="6471162" y="2881946"/>
                  <a:pt x="6471162" y="2891715"/>
                  <a:pt x="6471162" y="2891715"/>
                </a:cubicBezTo>
                <a:cubicBezTo>
                  <a:pt x="6471162" y="2891715"/>
                  <a:pt x="6480930" y="2891715"/>
                  <a:pt x="6480930" y="2901485"/>
                </a:cubicBezTo>
                <a:cubicBezTo>
                  <a:pt x="6490699" y="2901485"/>
                  <a:pt x="6490699" y="2901485"/>
                  <a:pt x="6490699" y="2901485"/>
                </a:cubicBezTo>
                <a:cubicBezTo>
                  <a:pt x="6490699" y="2911254"/>
                  <a:pt x="6500467" y="2911254"/>
                  <a:pt x="6500467" y="2911254"/>
                </a:cubicBezTo>
                <a:cubicBezTo>
                  <a:pt x="6500467" y="2911254"/>
                  <a:pt x="6510236" y="2911254"/>
                  <a:pt x="6510236" y="2911254"/>
                </a:cubicBezTo>
                <a:cubicBezTo>
                  <a:pt x="6500467" y="2911254"/>
                  <a:pt x="6510236" y="2921023"/>
                  <a:pt x="6510236" y="2921023"/>
                </a:cubicBezTo>
                <a:cubicBezTo>
                  <a:pt x="6510236" y="2921023"/>
                  <a:pt x="6520005" y="2921023"/>
                  <a:pt x="6520005" y="2921023"/>
                </a:cubicBezTo>
                <a:cubicBezTo>
                  <a:pt x="6520005" y="2930792"/>
                  <a:pt x="6529773" y="2930792"/>
                  <a:pt x="6529773" y="2930792"/>
                </a:cubicBezTo>
                <a:cubicBezTo>
                  <a:pt x="6529773" y="2930792"/>
                  <a:pt x="6539542" y="2940562"/>
                  <a:pt x="6539542" y="2940562"/>
                </a:cubicBezTo>
                <a:cubicBezTo>
                  <a:pt x="6539542" y="2940562"/>
                  <a:pt x="6549310" y="2940562"/>
                  <a:pt x="6549310" y="2950331"/>
                </a:cubicBezTo>
                <a:cubicBezTo>
                  <a:pt x="6549310" y="2950331"/>
                  <a:pt x="6559079" y="2950331"/>
                  <a:pt x="6559079" y="2950331"/>
                </a:cubicBezTo>
                <a:cubicBezTo>
                  <a:pt x="6559079" y="2960100"/>
                  <a:pt x="6568848" y="2969870"/>
                  <a:pt x="6578616" y="2969870"/>
                </a:cubicBezTo>
                <a:cubicBezTo>
                  <a:pt x="6578616" y="2969870"/>
                  <a:pt x="6578616" y="2969870"/>
                  <a:pt x="6588385" y="2979639"/>
                </a:cubicBezTo>
                <a:cubicBezTo>
                  <a:pt x="6588385" y="2979639"/>
                  <a:pt x="6598153" y="2979639"/>
                  <a:pt x="6598153" y="2979639"/>
                </a:cubicBezTo>
                <a:cubicBezTo>
                  <a:pt x="6598153" y="2989408"/>
                  <a:pt x="6598153" y="2989408"/>
                  <a:pt x="6607922" y="2989408"/>
                </a:cubicBezTo>
                <a:cubicBezTo>
                  <a:pt x="6607922" y="2999178"/>
                  <a:pt x="6607922" y="2999178"/>
                  <a:pt x="6607922" y="2999178"/>
                </a:cubicBezTo>
                <a:cubicBezTo>
                  <a:pt x="6617691" y="2999178"/>
                  <a:pt x="6617691" y="3008947"/>
                  <a:pt x="6627459" y="3008947"/>
                </a:cubicBezTo>
                <a:cubicBezTo>
                  <a:pt x="6637228" y="3018716"/>
                  <a:pt x="6646997" y="3028486"/>
                  <a:pt x="6656765" y="3038255"/>
                </a:cubicBezTo>
                <a:cubicBezTo>
                  <a:pt x="6666534" y="3038255"/>
                  <a:pt x="6676302" y="3048024"/>
                  <a:pt x="6676302" y="3048024"/>
                </a:cubicBezTo>
                <a:cubicBezTo>
                  <a:pt x="6676302" y="3048024"/>
                  <a:pt x="6686071" y="3057793"/>
                  <a:pt x="6686071" y="3057793"/>
                </a:cubicBezTo>
                <a:cubicBezTo>
                  <a:pt x="6695840" y="3067563"/>
                  <a:pt x="6715377" y="3087101"/>
                  <a:pt x="6725145" y="3087101"/>
                </a:cubicBezTo>
                <a:cubicBezTo>
                  <a:pt x="6725145" y="3087101"/>
                  <a:pt x="6725145" y="3087101"/>
                  <a:pt x="6734914" y="3096871"/>
                </a:cubicBezTo>
                <a:cubicBezTo>
                  <a:pt x="6734914" y="3106640"/>
                  <a:pt x="6734914" y="3106640"/>
                  <a:pt x="6744683" y="3106640"/>
                </a:cubicBezTo>
                <a:cubicBezTo>
                  <a:pt x="6744683" y="3106640"/>
                  <a:pt x="6744683" y="3116409"/>
                  <a:pt x="6754451" y="3116409"/>
                </a:cubicBezTo>
                <a:cubicBezTo>
                  <a:pt x="6754451" y="3116409"/>
                  <a:pt x="6754451" y="3126179"/>
                  <a:pt x="6754451" y="3126179"/>
                </a:cubicBezTo>
                <a:cubicBezTo>
                  <a:pt x="6764220" y="3126179"/>
                  <a:pt x="6764220" y="3126179"/>
                  <a:pt x="6773988" y="3135948"/>
                </a:cubicBezTo>
                <a:cubicBezTo>
                  <a:pt x="6783757" y="3145717"/>
                  <a:pt x="6793526" y="3155487"/>
                  <a:pt x="6803294" y="3155487"/>
                </a:cubicBezTo>
                <a:cubicBezTo>
                  <a:pt x="6803294" y="3165256"/>
                  <a:pt x="6813063" y="3175025"/>
                  <a:pt x="6822832" y="3175025"/>
                </a:cubicBezTo>
                <a:cubicBezTo>
                  <a:pt x="6822832" y="3175025"/>
                  <a:pt x="6832600" y="3175025"/>
                  <a:pt x="6832600" y="3184794"/>
                </a:cubicBezTo>
                <a:cubicBezTo>
                  <a:pt x="6832600" y="3184794"/>
                  <a:pt x="6832600" y="3184794"/>
                  <a:pt x="6842369" y="3194564"/>
                </a:cubicBezTo>
                <a:cubicBezTo>
                  <a:pt x="6842369" y="3194564"/>
                  <a:pt x="6842369" y="3194564"/>
                  <a:pt x="6852137" y="3204333"/>
                </a:cubicBezTo>
                <a:cubicBezTo>
                  <a:pt x="6852137" y="3204333"/>
                  <a:pt x="6861906" y="3214102"/>
                  <a:pt x="6861906" y="3214102"/>
                </a:cubicBezTo>
                <a:cubicBezTo>
                  <a:pt x="6861906" y="3214102"/>
                  <a:pt x="6861906" y="3214102"/>
                  <a:pt x="6871675" y="3214102"/>
                </a:cubicBezTo>
                <a:cubicBezTo>
                  <a:pt x="6871675" y="3214102"/>
                  <a:pt x="6871675" y="3223872"/>
                  <a:pt x="6871675" y="3223872"/>
                </a:cubicBezTo>
                <a:cubicBezTo>
                  <a:pt x="6871675" y="3233641"/>
                  <a:pt x="6900980" y="3243410"/>
                  <a:pt x="6900980" y="3243410"/>
                </a:cubicBezTo>
                <a:cubicBezTo>
                  <a:pt x="6910749" y="3243410"/>
                  <a:pt x="6910749" y="3243410"/>
                  <a:pt x="6910749" y="3253180"/>
                </a:cubicBezTo>
                <a:cubicBezTo>
                  <a:pt x="6920518" y="3262949"/>
                  <a:pt x="6930286" y="3272718"/>
                  <a:pt x="6940055" y="3272718"/>
                </a:cubicBezTo>
                <a:cubicBezTo>
                  <a:pt x="6949823" y="3282488"/>
                  <a:pt x="6959592" y="3292257"/>
                  <a:pt x="6959592" y="3302026"/>
                </a:cubicBezTo>
                <a:cubicBezTo>
                  <a:pt x="6959592" y="3302026"/>
                  <a:pt x="6959592" y="3311795"/>
                  <a:pt x="6969361" y="3311795"/>
                </a:cubicBezTo>
                <a:cubicBezTo>
                  <a:pt x="6979129" y="3321565"/>
                  <a:pt x="6988898" y="3331334"/>
                  <a:pt x="6998667" y="3331334"/>
                </a:cubicBezTo>
                <a:cubicBezTo>
                  <a:pt x="6998667" y="3341103"/>
                  <a:pt x="6998667" y="3341103"/>
                  <a:pt x="7008435" y="3341103"/>
                </a:cubicBezTo>
                <a:cubicBezTo>
                  <a:pt x="7008435" y="3350873"/>
                  <a:pt x="7008435" y="3350873"/>
                  <a:pt x="7008435" y="3350873"/>
                </a:cubicBezTo>
                <a:cubicBezTo>
                  <a:pt x="6998667" y="3350873"/>
                  <a:pt x="6998667" y="3350873"/>
                  <a:pt x="6998667" y="3350873"/>
                </a:cubicBezTo>
                <a:cubicBezTo>
                  <a:pt x="6998667" y="3341103"/>
                  <a:pt x="6988898" y="3341103"/>
                  <a:pt x="6988898" y="3341103"/>
                </a:cubicBezTo>
                <a:cubicBezTo>
                  <a:pt x="6988898" y="3341103"/>
                  <a:pt x="6979129" y="3331334"/>
                  <a:pt x="6979129" y="3331334"/>
                </a:cubicBezTo>
                <a:cubicBezTo>
                  <a:pt x="6979129" y="3331334"/>
                  <a:pt x="6969361" y="3321565"/>
                  <a:pt x="6969361" y="3321565"/>
                </a:cubicBezTo>
                <a:cubicBezTo>
                  <a:pt x="6959592" y="3321565"/>
                  <a:pt x="6959592" y="3311795"/>
                  <a:pt x="6949823" y="3311795"/>
                </a:cubicBezTo>
                <a:cubicBezTo>
                  <a:pt x="6940055" y="3292257"/>
                  <a:pt x="6940055" y="3292257"/>
                  <a:pt x="6930286" y="3292257"/>
                </a:cubicBezTo>
                <a:cubicBezTo>
                  <a:pt x="6930286" y="3282488"/>
                  <a:pt x="6920518" y="3282488"/>
                  <a:pt x="6910749" y="3282488"/>
                </a:cubicBezTo>
                <a:cubicBezTo>
                  <a:pt x="6910749" y="3272718"/>
                  <a:pt x="6900980" y="3272718"/>
                  <a:pt x="6891212" y="3262949"/>
                </a:cubicBezTo>
                <a:cubicBezTo>
                  <a:pt x="6881443" y="3253180"/>
                  <a:pt x="6871675" y="3253180"/>
                  <a:pt x="6852137" y="3243410"/>
                </a:cubicBezTo>
                <a:cubicBezTo>
                  <a:pt x="6852137" y="3233641"/>
                  <a:pt x="6842369" y="3223872"/>
                  <a:pt x="6832600" y="3223872"/>
                </a:cubicBezTo>
                <a:cubicBezTo>
                  <a:pt x="6822832" y="3214102"/>
                  <a:pt x="6813063" y="3214102"/>
                  <a:pt x="6813063" y="3204333"/>
                </a:cubicBezTo>
                <a:cubicBezTo>
                  <a:pt x="6803294" y="3204333"/>
                  <a:pt x="6803294" y="3194564"/>
                  <a:pt x="6803294" y="3194564"/>
                </a:cubicBezTo>
                <a:cubicBezTo>
                  <a:pt x="6793526" y="3194564"/>
                  <a:pt x="6793526" y="3194564"/>
                  <a:pt x="6793526" y="3184794"/>
                </a:cubicBezTo>
                <a:cubicBezTo>
                  <a:pt x="6783757" y="3184794"/>
                  <a:pt x="6783757" y="3184794"/>
                  <a:pt x="6773988" y="3175025"/>
                </a:cubicBezTo>
                <a:cubicBezTo>
                  <a:pt x="6773988" y="3175025"/>
                  <a:pt x="6764220" y="3165256"/>
                  <a:pt x="6754451" y="3165256"/>
                </a:cubicBezTo>
                <a:lnTo>
                  <a:pt x="6737435" y="3150760"/>
                </a:lnTo>
                <a:lnTo>
                  <a:pt x="6734914" y="3145717"/>
                </a:lnTo>
                <a:lnTo>
                  <a:pt x="6731516" y="3145717"/>
                </a:lnTo>
                <a:lnTo>
                  <a:pt x="6721482" y="3137169"/>
                </a:lnTo>
                <a:cubicBezTo>
                  <a:pt x="6710493" y="3128621"/>
                  <a:pt x="6700724" y="3121294"/>
                  <a:pt x="6695840" y="3116409"/>
                </a:cubicBezTo>
                <a:cubicBezTo>
                  <a:pt x="6686071" y="3106640"/>
                  <a:pt x="6676302" y="3096871"/>
                  <a:pt x="6676302" y="3096871"/>
                </a:cubicBezTo>
                <a:cubicBezTo>
                  <a:pt x="6676302" y="3096871"/>
                  <a:pt x="6666534" y="3096871"/>
                  <a:pt x="6666534" y="3087101"/>
                </a:cubicBezTo>
                <a:cubicBezTo>
                  <a:pt x="6666534" y="3087101"/>
                  <a:pt x="6656765" y="3087101"/>
                  <a:pt x="6656765" y="3087101"/>
                </a:cubicBezTo>
                <a:cubicBezTo>
                  <a:pt x="6656765" y="3077332"/>
                  <a:pt x="6646997" y="3077332"/>
                  <a:pt x="6637228" y="3067563"/>
                </a:cubicBezTo>
                <a:cubicBezTo>
                  <a:pt x="6637228" y="3067563"/>
                  <a:pt x="6637228" y="3067563"/>
                  <a:pt x="6637228" y="3077332"/>
                </a:cubicBezTo>
                <a:cubicBezTo>
                  <a:pt x="6646997" y="3077332"/>
                  <a:pt x="6646997" y="3087101"/>
                  <a:pt x="6656765" y="3087101"/>
                </a:cubicBezTo>
                <a:cubicBezTo>
                  <a:pt x="6656765" y="3087101"/>
                  <a:pt x="6666534" y="3096871"/>
                  <a:pt x="6676302" y="3106640"/>
                </a:cubicBezTo>
                <a:cubicBezTo>
                  <a:pt x="6676302" y="3106640"/>
                  <a:pt x="6686071" y="3116409"/>
                  <a:pt x="6686071" y="3116409"/>
                </a:cubicBezTo>
                <a:cubicBezTo>
                  <a:pt x="6695840" y="3116409"/>
                  <a:pt x="6695840" y="3126179"/>
                  <a:pt x="6695840" y="3126179"/>
                </a:cubicBezTo>
                <a:cubicBezTo>
                  <a:pt x="6695840" y="3126179"/>
                  <a:pt x="6695840" y="3126179"/>
                  <a:pt x="6705608" y="3135948"/>
                </a:cubicBezTo>
                <a:cubicBezTo>
                  <a:pt x="6705608" y="3135948"/>
                  <a:pt x="6715377" y="3135948"/>
                  <a:pt x="6715377" y="3135948"/>
                </a:cubicBezTo>
                <a:cubicBezTo>
                  <a:pt x="6715377" y="3145717"/>
                  <a:pt x="6715377" y="3145717"/>
                  <a:pt x="6715377" y="3145717"/>
                </a:cubicBezTo>
                <a:cubicBezTo>
                  <a:pt x="6715377" y="3145717"/>
                  <a:pt x="6715377" y="3155487"/>
                  <a:pt x="6715377" y="3155487"/>
                </a:cubicBezTo>
                <a:cubicBezTo>
                  <a:pt x="6715377" y="3155487"/>
                  <a:pt x="6725145" y="3155487"/>
                  <a:pt x="6725145" y="3155487"/>
                </a:cubicBezTo>
                <a:cubicBezTo>
                  <a:pt x="6725145" y="3155487"/>
                  <a:pt x="6725145" y="3165256"/>
                  <a:pt x="6725145" y="3165256"/>
                </a:cubicBezTo>
                <a:cubicBezTo>
                  <a:pt x="6725145" y="3165256"/>
                  <a:pt x="6734914" y="3165256"/>
                  <a:pt x="6734914" y="3165256"/>
                </a:cubicBezTo>
                <a:cubicBezTo>
                  <a:pt x="6734914" y="3165256"/>
                  <a:pt x="6734914" y="3165256"/>
                  <a:pt x="6744683" y="3175025"/>
                </a:cubicBezTo>
                <a:cubicBezTo>
                  <a:pt x="6754451" y="3184794"/>
                  <a:pt x="6764220" y="3194564"/>
                  <a:pt x="6764220" y="3194564"/>
                </a:cubicBezTo>
                <a:cubicBezTo>
                  <a:pt x="6764220" y="3194564"/>
                  <a:pt x="6773988" y="3194564"/>
                  <a:pt x="6773988" y="3204333"/>
                </a:cubicBezTo>
                <a:cubicBezTo>
                  <a:pt x="6783757" y="3204333"/>
                  <a:pt x="6783757" y="3214102"/>
                  <a:pt x="6793526" y="3214102"/>
                </a:cubicBezTo>
                <a:cubicBezTo>
                  <a:pt x="6803294" y="3223872"/>
                  <a:pt x="6803294" y="3223872"/>
                  <a:pt x="6803294" y="3223872"/>
                </a:cubicBezTo>
                <a:cubicBezTo>
                  <a:pt x="6803294" y="3233641"/>
                  <a:pt x="6813063" y="3233641"/>
                  <a:pt x="6813063" y="3233641"/>
                </a:cubicBezTo>
                <a:cubicBezTo>
                  <a:pt x="6813063" y="3243410"/>
                  <a:pt x="6822832" y="3243410"/>
                  <a:pt x="6822832" y="3243410"/>
                </a:cubicBezTo>
                <a:cubicBezTo>
                  <a:pt x="6822832" y="3243410"/>
                  <a:pt x="6832600" y="3253180"/>
                  <a:pt x="6832600" y="3253180"/>
                </a:cubicBezTo>
                <a:cubicBezTo>
                  <a:pt x="6832600" y="3253180"/>
                  <a:pt x="6842369" y="3253180"/>
                  <a:pt x="6852137" y="3272718"/>
                </a:cubicBezTo>
                <a:cubicBezTo>
                  <a:pt x="6861906" y="3272718"/>
                  <a:pt x="6871675" y="3282488"/>
                  <a:pt x="6871675" y="3282488"/>
                </a:cubicBezTo>
                <a:cubicBezTo>
                  <a:pt x="6881443" y="3292257"/>
                  <a:pt x="6881443" y="3292257"/>
                  <a:pt x="6881443" y="3302026"/>
                </a:cubicBezTo>
                <a:cubicBezTo>
                  <a:pt x="6881443" y="3302026"/>
                  <a:pt x="6871675" y="3302026"/>
                  <a:pt x="6871675" y="3292257"/>
                </a:cubicBezTo>
                <a:cubicBezTo>
                  <a:pt x="6871675" y="3302026"/>
                  <a:pt x="6871675" y="3302026"/>
                  <a:pt x="6881443" y="3302026"/>
                </a:cubicBezTo>
                <a:cubicBezTo>
                  <a:pt x="6881443" y="3302026"/>
                  <a:pt x="6891212" y="3302026"/>
                  <a:pt x="6891212" y="3302026"/>
                </a:cubicBezTo>
                <a:cubicBezTo>
                  <a:pt x="6891212" y="3302026"/>
                  <a:pt x="6891212" y="3311795"/>
                  <a:pt x="6900980" y="3311795"/>
                </a:cubicBezTo>
                <a:cubicBezTo>
                  <a:pt x="6900980" y="3311795"/>
                  <a:pt x="6920518" y="3331334"/>
                  <a:pt x="6930286" y="3341103"/>
                </a:cubicBezTo>
                <a:cubicBezTo>
                  <a:pt x="6940055" y="3350873"/>
                  <a:pt x="6940055" y="3350873"/>
                  <a:pt x="6940055" y="3350873"/>
                </a:cubicBezTo>
                <a:cubicBezTo>
                  <a:pt x="6940055" y="3350873"/>
                  <a:pt x="6949823" y="3360642"/>
                  <a:pt x="6949823" y="3360642"/>
                </a:cubicBezTo>
                <a:cubicBezTo>
                  <a:pt x="6949823" y="3360642"/>
                  <a:pt x="6959592" y="3370411"/>
                  <a:pt x="6969361" y="3370411"/>
                </a:cubicBezTo>
                <a:cubicBezTo>
                  <a:pt x="6969361" y="3380181"/>
                  <a:pt x="6979129" y="3389950"/>
                  <a:pt x="6979129" y="3389950"/>
                </a:cubicBezTo>
                <a:cubicBezTo>
                  <a:pt x="6979129" y="3389950"/>
                  <a:pt x="6969361" y="3389950"/>
                  <a:pt x="6969361" y="3389950"/>
                </a:cubicBezTo>
                <a:cubicBezTo>
                  <a:pt x="6969361" y="3380181"/>
                  <a:pt x="6959592" y="3380181"/>
                  <a:pt x="6959592" y="3380181"/>
                </a:cubicBezTo>
                <a:cubicBezTo>
                  <a:pt x="6954708" y="3375296"/>
                  <a:pt x="6952265" y="3372854"/>
                  <a:pt x="6949823" y="3371633"/>
                </a:cubicBezTo>
                <a:lnTo>
                  <a:pt x="6945784" y="3371128"/>
                </a:lnTo>
                <a:lnTo>
                  <a:pt x="6942497" y="3365527"/>
                </a:lnTo>
                <a:lnTo>
                  <a:pt x="6938952" y="3361587"/>
                </a:lnTo>
                <a:lnTo>
                  <a:pt x="6938834" y="3360642"/>
                </a:lnTo>
                <a:cubicBezTo>
                  <a:pt x="6937613" y="3358200"/>
                  <a:pt x="6935170" y="3355758"/>
                  <a:pt x="6930286" y="3350873"/>
                </a:cubicBezTo>
                <a:lnTo>
                  <a:pt x="6929026" y="3350558"/>
                </a:lnTo>
                <a:lnTo>
                  <a:pt x="6920518" y="3341103"/>
                </a:lnTo>
                <a:cubicBezTo>
                  <a:pt x="6920518" y="3345988"/>
                  <a:pt x="6922960" y="3348430"/>
                  <a:pt x="6925402" y="3349652"/>
                </a:cubicBezTo>
                <a:lnTo>
                  <a:pt x="6929026" y="3350558"/>
                </a:lnTo>
                <a:lnTo>
                  <a:pt x="6938952" y="3361587"/>
                </a:lnTo>
                <a:lnTo>
                  <a:pt x="6940055" y="3370411"/>
                </a:lnTo>
                <a:cubicBezTo>
                  <a:pt x="6940055" y="3370411"/>
                  <a:pt x="6940055" y="3370411"/>
                  <a:pt x="6930286" y="3360642"/>
                </a:cubicBezTo>
                <a:cubicBezTo>
                  <a:pt x="6930286" y="3360642"/>
                  <a:pt x="6927844" y="3360642"/>
                  <a:pt x="6925402" y="3360642"/>
                </a:cubicBezTo>
                <a:lnTo>
                  <a:pt x="6924181" y="3360642"/>
                </a:lnTo>
                <a:cubicBezTo>
                  <a:pt x="6925402" y="3360642"/>
                  <a:pt x="6925402" y="3360642"/>
                  <a:pt x="6920518" y="3360642"/>
                </a:cubicBezTo>
                <a:cubicBezTo>
                  <a:pt x="6910749" y="3360642"/>
                  <a:pt x="6891212" y="3331334"/>
                  <a:pt x="6861906" y="3311795"/>
                </a:cubicBezTo>
                <a:cubicBezTo>
                  <a:pt x="6861906" y="3302026"/>
                  <a:pt x="6852137" y="3302026"/>
                  <a:pt x="6852137" y="3302026"/>
                </a:cubicBezTo>
                <a:cubicBezTo>
                  <a:pt x="6852137" y="3302026"/>
                  <a:pt x="6842369" y="3292257"/>
                  <a:pt x="6842369" y="3292257"/>
                </a:cubicBezTo>
                <a:cubicBezTo>
                  <a:pt x="6832600" y="3282488"/>
                  <a:pt x="6832600" y="3282488"/>
                  <a:pt x="6832600" y="3282488"/>
                </a:cubicBezTo>
                <a:cubicBezTo>
                  <a:pt x="6832600" y="3292257"/>
                  <a:pt x="6832600" y="3292257"/>
                  <a:pt x="6832600" y="3292257"/>
                </a:cubicBezTo>
                <a:cubicBezTo>
                  <a:pt x="6832600" y="3292257"/>
                  <a:pt x="6832600" y="3302026"/>
                  <a:pt x="6842369" y="3302026"/>
                </a:cubicBezTo>
                <a:cubicBezTo>
                  <a:pt x="6842369" y="3302026"/>
                  <a:pt x="6852137" y="3302026"/>
                  <a:pt x="6852137" y="3311795"/>
                </a:cubicBezTo>
                <a:cubicBezTo>
                  <a:pt x="6852137" y="3311795"/>
                  <a:pt x="6852137" y="3311795"/>
                  <a:pt x="6861906" y="3311795"/>
                </a:cubicBezTo>
                <a:cubicBezTo>
                  <a:pt x="6861906" y="3321565"/>
                  <a:pt x="6861906" y="3321565"/>
                  <a:pt x="6861906" y="3321565"/>
                </a:cubicBezTo>
                <a:cubicBezTo>
                  <a:pt x="6861906" y="3321565"/>
                  <a:pt x="6861906" y="3331334"/>
                  <a:pt x="6852137" y="3331334"/>
                </a:cubicBezTo>
                <a:cubicBezTo>
                  <a:pt x="6852137" y="3331334"/>
                  <a:pt x="6852137" y="3331334"/>
                  <a:pt x="6850916" y="3330113"/>
                </a:cubicBezTo>
                <a:lnTo>
                  <a:pt x="6849918" y="3329115"/>
                </a:lnTo>
                <a:lnTo>
                  <a:pt x="6846032" y="3325228"/>
                </a:lnTo>
                <a:cubicBezTo>
                  <a:pt x="6842369" y="3321565"/>
                  <a:pt x="6837484" y="3316680"/>
                  <a:pt x="6832600" y="3311795"/>
                </a:cubicBezTo>
                <a:cubicBezTo>
                  <a:pt x="6832600" y="3311795"/>
                  <a:pt x="6832600" y="3311795"/>
                  <a:pt x="6842369" y="3321565"/>
                </a:cubicBezTo>
                <a:lnTo>
                  <a:pt x="6849918" y="3329115"/>
                </a:lnTo>
                <a:lnTo>
                  <a:pt x="6852137" y="3331334"/>
                </a:lnTo>
                <a:cubicBezTo>
                  <a:pt x="6861906" y="3331334"/>
                  <a:pt x="6861906" y="3331334"/>
                  <a:pt x="6861906" y="3341103"/>
                </a:cubicBezTo>
                <a:cubicBezTo>
                  <a:pt x="6871675" y="3341103"/>
                  <a:pt x="6881443" y="3350873"/>
                  <a:pt x="6881443" y="3360642"/>
                </a:cubicBezTo>
                <a:cubicBezTo>
                  <a:pt x="6891212" y="3370411"/>
                  <a:pt x="6900980" y="3370411"/>
                  <a:pt x="6910749" y="3380181"/>
                </a:cubicBezTo>
                <a:cubicBezTo>
                  <a:pt x="6920518" y="3380181"/>
                  <a:pt x="6920518" y="3389950"/>
                  <a:pt x="6920518" y="3389950"/>
                </a:cubicBezTo>
                <a:cubicBezTo>
                  <a:pt x="6920518" y="3389950"/>
                  <a:pt x="6920518" y="3389950"/>
                  <a:pt x="6930286" y="3389950"/>
                </a:cubicBezTo>
                <a:cubicBezTo>
                  <a:pt x="6930286" y="3389950"/>
                  <a:pt x="6940055" y="3399719"/>
                  <a:pt x="6940055" y="3409489"/>
                </a:cubicBezTo>
                <a:cubicBezTo>
                  <a:pt x="6949823" y="3409489"/>
                  <a:pt x="6959592" y="3419258"/>
                  <a:pt x="6959592" y="3419258"/>
                </a:cubicBezTo>
                <a:cubicBezTo>
                  <a:pt x="6969361" y="3429027"/>
                  <a:pt x="6969361" y="3429027"/>
                  <a:pt x="6969361" y="3429027"/>
                </a:cubicBezTo>
                <a:cubicBezTo>
                  <a:pt x="6969361" y="3438796"/>
                  <a:pt x="6979129" y="3438796"/>
                  <a:pt x="6979129" y="3438796"/>
                </a:cubicBezTo>
                <a:cubicBezTo>
                  <a:pt x="6979129" y="3438796"/>
                  <a:pt x="6979129" y="3448566"/>
                  <a:pt x="6979129" y="3448566"/>
                </a:cubicBezTo>
                <a:cubicBezTo>
                  <a:pt x="6979129" y="3448566"/>
                  <a:pt x="6979129" y="3448566"/>
                  <a:pt x="6988898" y="3458335"/>
                </a:cubicBezTo>
                <a:cubicBezTo>
                  <a:pt x="6988898" y="3458335"/>
                  <a:pt x="6998667" y="3468104"/>
                  <a:pt x="6998667" y="3468104"/>
                </a:cubicBezTo>
                <a:cubicBezTo>
                  <a:pt x="7008435" y="3468104"/>
                  <a:pt x="7008435" y="3477874"/>
                  <a:pt x="7008435" y="3477874"/>
                </a:cubicBezTo>
                <a:cubicBezTo>
                  <a:pt x="7008435" y="3477874"/>
                  <a:pt x="7018204" y="3487643"/>
                  <a:pt x="7018204" y="3487643"/>
                </a:cubicBezTo>
                <a:cubicBezTo>
                  <a:pt x="7027972" y="3497412"/>
                  <a:pt x="7037741" y="3507182"/>
                  <a:pt x="7037741" y="3507182"/>
                </a:cubicBezTo>
                <a:cubicBezTo>
                  <a:pt x="7047510" y="3507182"/>
                  <a:pt x="7047510" y="3516951"/>
                  <a:pt x="7057278" y="3516951"/>
                </a:cubicBezTo>
                <a:cubicBezTo>
                  <a:pt x="7057278" y="3526720"/>
                  <a:pt x="7057278" y="3526720"/>
                  <a:pt x="7057278" y="3526720"/>
                </a:cubicBezTo>
                <a:cubicBezTo>
                  <a:pt x="7047510" y="3516951"/>
                  <a:pt x="7047510" y="3516951"/>
                  <a:pt x="7047510" y="3516951"/>
                </a:cubicBezTo>
                <a:cubicBezTo>
                  <a:pt x="7037741" y="3516951"/>
                  <a:pt x="7018204" y="3497412"/>
                  <a:pt x="7008435" y="3487643"/>
                </a:cubicBezTo>
                <a:cubicBezTo>
                  <a:pt x="7008435" y="3487643"/>
                  <a:pt x="7008435" y="3487643"/>
                  <a:pt x="6998667" y="3477874"/>
                </a:cubicBezTo>
                <a:cubicBezTo>
                  <a:pt x="6998667" y="3477874"/>
                  <a:pt x="6988898" y="3468104"/>
                  <a:pt x="6979129" y="3458335"/>
                </a:cubicBezTo>
                <a:cubicBezTo>
                  <a:pt x="6969361" y="3453450"/>
                  <a:pt x="6957150" y="3443681"/>
                  <a:pt x="6944939" y="3433912"/>
                </a:cubicBezTo>
                <a:lnTo>
                  <a:pt x="6917261" y="3414141"/>
                </a:lnTo>
                <a:lnTo>
                  <a:pt x="6911970" y="3405825"/>
                </a:lnTo>
                <a:cubicBezTo>
                  <a:pt x="6910749" y="3402162"/>
                  <a:pt x="6910749" y="3399719"/>
                  <a:pt x="6910749" y="3399719"/>
                </a:cubicBezTo>
                <a:cubicBezTo>
                  <a:pt x="6910749" y="3399719"/>
                  <a:pt x="6910749" y="3409489"/>
                  <a:pt x="6910749" y="3409489"/>
                </a:cubicBezTo>
                <a:lnTo>
                  <a:pt x="6917261" y="3414141"/>
                </a:lnTo>
                <a:lnTo>
                  <a:pt x="6920518" y="3419258"/>
                </a:lnTo>
                <a:cubicBezTo>
                  <a:pt x="6930286" y="3429027"/>
                  <a:pt x="6959592" y="3448566"/>
                  <a:pt x="6959592" y="3458335"/>
                </a:cubicBezTo>
                <a:cubicBezTo>
                  <a:pt x="6949823" y="3458335"/>
                  <a:pt x="6949823" y="3458335"/>
                  <a:pt x="6949823" y="3458335"/>
                </a:cubicBezTo>
                <a:cubicBezTo>
                  <a:pt x="6940055" y="3458335"/>
                  <a:pt x="6940055" y="3458335"/>
                  <a:pt x="6959592" y="3468104"/>
                </a:cubicBezTo>
                <a:cubicBezTo>
                  <a:pt x="6969361" y="3468104"/>
                  <a:pt x="6969361" y="3477874"/>
                  <a:pt x="6979129" y="3477874"/>
                </a:cubicBezTo>
                <a:cubicBezTo>
                  <a:pt x="6979129" y="3477874"/>
                  <a:pt x="6979129" y="3487643"/>
                  <a:pt x="6988898" y="3487643"/>
                </a:cubicBezTo>
                <a:cubicBezTo>
                  <a:pt x="6998667" y="3497412"/>
                  <a:pt x="7008435" y="3507182"/>
                  <a:pt x="7008435" y="3507182"/>
                </a:cubicBezTo>
                <a:cubicBezTo>
                  <a:pt x="7008435" y="3516951"/>
                  <a:pt x="7008435" y="3516951"/>
                  <a:pt x="7008435" y="3516951"/>
                </a:cubicBezTo>
                <a:cubicBezTo>
                  <a:pt x="7018204" y="3526720"/>
                  <a:pt x="7018204" y="3526720"/>
                  <a:pt x="7018204" y="3526720"/>
                </a:cubicBezTo>
                <a:cubicBezTo>
                  <a:pt x="7008435" y="3526720"/>
                  <a:pt x="7008435" y="3526720"/>
                  <a:pt x="6979129" y="3497412"/>
                </a:cubicBezTo>
                <a:cubicBezTo>
                  <a:pt x="6979129" y="3497412"/>
                  <a:pt x="6969361" y="3497412"/>
                  <a:pt x="6969361" y="3487643"/>
                </a:cubicBezTo>
                <a:cubicBezTo>
                  <a:pt x="6969361" y="3487643"/>
                  <a:pt x="6969361" y="3487643"/>
                  <a:pt x="6968140" y="3487643"/>
                </a:cubicBezTo>
                <a:lnTo>
                  <a:pt x="6964477" y="3487643"/>
                </a:lnTo>
                <a:lnTo>
                  <a:pt x="6960813" y="3487643"/>
                </a:lnTo>
                <a:cubicBezTo>
                  <a:pt x="6959592" y="3487643"/>
                  <a:pt x="6959592" y="3487643"/>
                  <a:pt x="6959592" y="3487643"/>
                </a:cubicBezTo>
                <a:cubicBezTo>
                  <a:pt x="6959592" y="3477874"/>
                  <a:pt x="6949823" y="3477874"/>
                  <a:pt x="6949823" y="3477874"/>
                </a:cubicBezTo>
                <a:cubicBezTo>
                  <a:pt x="6940055" y="3468104"/>
                  <a:pt x="6930286" y="3458335"/>
                  <a:pt x="6920518" y="3448566"/>
                </a:cubicBezTo>
                <a:cubicBezTo>
                  <a:pt x="6910749" y="3448566"/>
                  <a:pt x="6910749" y="3438796"/>
                  <a:pt x="6900980" y="3438796"/>
                </a:cubicBezTo>
                <a:cubicBezTo>
                  <a:pt x="6900980" y="3438796"/>
                  <a:pt x="6900980" y="3429027"/>
                  <a:pt x="6900980" y="3429027"/>
                </a:cubicBezTo>
                <a:cubicBezTo>
                  <a:pt x="6891212" y="3429027"/>
                  <a:pt x="6891212" y="3429027"/>
                  <a:pt x="6881443" y="3419258"/>
                </a:cubicBezTo>
                <a:cubicBezTo>
                  <a:pt x="6861906" y="3399719"/>
                  <a:pt x="6861906" y="3399719"/>
                  <a:pt x="6852137" y="3389950"/>
                </a:cubicBezTo>
                <a:cubicBezTo>
                  <a:pt x="6842369" y="3389950"/>
                  <a:pt x="6842369" y="3389950"/>
                  <a:pt x="6832600" y="3380181"/>
                </a:cubicBezTo>
                <a:cubicBezTo>
                  <a:pt x="6832600" y="3380181"/>
                  <a:pt x="6822832" y="3370411"/>
                  <a:pt x="6822832" y="3370411"/>
                </a:cubicBezTo>
                <a:cubicBezTo>
                  <a:pt x="6822832" y="3370411"/>
                  <a:pt x="6813063" y="3370411"/>
                  <a:pt x="6813063" y="3360642"/>
                </a:cubicBezTo>
                <a:cubicBezTo>
                  <a:pt x="6813063" y="3360642"/>
                  <a:pt x="6803294" y="3350873"/>
                  <a:pt x="6803294" y="3350873"/>
                </a:cubicBezTo>
                <a:cubicBezTo>
                  <a:pt x="6803294" y="3350873"/>
                  <a:pt x="6793526" y="3350873"/>
                  <a:pt x="6793526" y="3341103"/>
                </a:cubicBezTo>
                <a:cubicBezTo>
                  <a:pt x="6783757" y="3341103"/>
                  <a:pt x="6783757" y="3341103"/>
                  <a:pt x="6783757" y="3331334"/>
                </a:cubicBezTo>
                <a:cubicBezTo>
                  <a:pt x="6773988" y="3331334"/>
                  <a:pt x="6773988" y="3331334"/>
                  <a:pt x="6773988" y="3321565"/>
                </a:cubicBezTo>
                <a:cubicBezTo>
                  <a:pt x="6773988" y="3321565"/>
                  <a:pt x="6764220" y="3321565"/>
                  <a:pt x="6764220" y="3321565"/>
                </a:cubicBezTo>
                <a:cubicBezTo>
                  <a:pt x="6764220" y="3321565"/>
                  <a:pt x="6754451" y="3321565"/>
                  <a:pt x="6734914" y="3302026"/>
                </a:cubicBezTo>
                <a:cubicBezTo>
                  <a:pt x="6734914" y="3302026"/>
                  <a:pt x="6725145" y="3302026"/>
                  <a:pt x="6725145" y="3302026"/>
                </a:cubicBezTo>
                <a:cubicBezTo>
                  <a:pt x="6725145" y="3302026"/>
                  <a:pt x="6725145" y="3302026"/>
                  <a:pt x="6715377" y="3292257"/>
                </a:cubicBezTo>
                <a:cubicBezTo>
                  <a:pt x="6715377" y="3282488"/>
                  <a:pt x="6705608" y="3282488"/>
                  <a:pt x="6686071" y="3262949"/>
                </a:cubicBezTo>
                <a:cubicBezTo>
                  <a:pt x="6676302" y="3253180"/>
                  <a:pt x="6666534" y="3243410"/>
                  <a:pt x="6656765" y="3243410"/>
                </a:cubicBezTo>
                <a:cubicBezTo>
                  <a:pt x="6656765" y="3243410"/>
                  <a:pt x="6654323" y="3240968"/>
                  <a:pt x="6650660" y="3237305"/>
                </a:cubicBezTo>
                <a:lnTo>
                  <a:pt x="6649214" y="3235859"/>
                </a:lnTo>
                <a:lnTo>
                  <a:pt x="6643333" y="3229978"/>
                </a:lnTo>
                <a:cubicBezTo>
                  <a:pt x="6639670" y="3226314"/>
                  <a:pt x="6637228" y="3223872"/>
                  <a:pt x="6637228" y="3223872"/>
                </a:cubicBezTo>
                <a:lnTo>
                  <a:pt x="6649214" y="3235859"/>
                </a:lnTo>
                <a:lnTo>
                  <a:pt x="6656765" y="3243410"/>
                </a:lnTo>
                <a:cubicBezTo>
                  <a:pt x="6656765" y="3243410"/>
                  <a:pt x="6666534" y="3253180"/>
                  <a:pt x="6686071" y="3272718"/>
                </a:cubicBezTo>
                <a:cubicBezTo>
                  <a:pt x="6695840" y="3282488"/>
                  <a:pt x="6705608" y="3292257"/>
                  <a:pt x="6715377" y="3292257"/>
                </a:cubicBezTo>
                <a:cubicBezTo>
                  <a:pt x="6715377" y="3292257"/>
                  <a:pt x="6715377" y="3302026"/>
                  <a:pt x="6725145" y="3302026"/>
                </a:cubicBezTo>
                <a:cubicBezTo>
                  <a:pt x="6734914" y="3311795"/>
                  <a:pt x="6744683" y="3311795"/>
                  <a:pt x="6744683" y="3321565"/>
                </a:cubicBezTo>
                <a:cubicBezTo>
                  <a:pt x="6754451" y="3321565"/>
                  <a:pt x="6764220" y="3331334"/>
                  <a:pt x="6764220" y="3331334"/>
                </a:cubicBezTo>
                <a:cubicBezTo>
                  <a:pt x="6764220" y="3331334"/>
                  <a:pt x="6773988" y="3341103"/>
                  <a:pt x="6783757" y="3341103"/>
                </a:cubicBezTo>
                <a:cubicBezTo>
                  <a:pt x="6783757" y="3350873"/>
                  <a:pt x="6783757" y="3350873"/>
                  <a:pt x="6783757" y="3350873"/>
                </a:cubicBezTo>
                <a:cubicBezTo>
                  <a:pt x="6783757" y="3360642"/>
                  <a:pt x="6793526" y="3370411"/>
                  <a:pt x="6803294" y="3370411"/>
                </a:cubicBezTo>
                <a:cubicBezTo>
                  <a:pt x="6803294" y="3370411"/>
                  <a:pt x="6813063" y="3370411"/>
                  <a:pt x="6803294" y="3380181"/>
                </a:cubicBezTo>
                <a:cubicBezTo>
                  <a:pt x="6813063" y="3380181"/>
                  <a:pt x="6813063" y="3380181"/>
                  <a:pt x="6822832" y="3389950"/>
                </a:cubicBezTo>
                <a:cubicBezTo>
                  <a:pt x="6832600" y="3399719"/>
                  <a:pt x="6852137" y="3419258"/>
                  <a:pt x="6852137" y="3419258"/>
                </a:cubicBezTo>
                <a:cubicBezTo>
                  <a:pt x="6861906" y="3419258"/>
                  <a:pt x="6871675" y="3429027"/>
                  <a:pt x="6871675" y="3429027"/>
                </a:cubicBezTo>
                <a:cubicBezTo>
                  <a:pt x="6871675" y="3429027"/>
                  <a:pt x="6871675" y="3438796"/>
                  <a:pt x="6881443" y="3438796"/>
                </a:cubicBezTo>
                <a:cubicBezTo>
                  <a:pt x="6881443" y="3448566"/>
                  <a:pt x="6900980" y="3458335"/>
                  <a:pt x="6900980" y="3458335"/>
                </a:cubicBezTo>
                <a:cubicBezTo>
                  <a:pt x="6900980" y="3458335"/>
                  <a:pt x="6910749" y="3458335"/>
                  <a:pt x="6910749" y="3458335"/>
                </a:cubicBezTo>
                <a:cubicBezTo>
                  <a:pt x="6910749" y="3468104"/>
                  <a:pt x="6920518" y="3468104"/>
                  <a:pt x="6920518" y="3468104"/>
                </a:cubicBezTo>
                <a:cubicBezTo>
                  <a:pt x="6920518" y="3468104"/>
                  <a:pt x="6920518" y="3477874"/>
                  <a:pt x="6920518" y="3477874"/>
                </a:cubicBezTo>
                <a:cubicBezTo>
                  <a:pt x="6920518" y="3487643"/>
                  <a:pt x="6930286" y="3487643"/>
                  <a:pt x="6930286" y="3487643"/>
                </a:cubicBezTo>
                <a:cubicBezTo>
                  <a:pt x="6930286" y="3477874"/>
                  <a:pt x="6940055" y="3477874"/>
                  <a:pt x="6940055" y="3487643"/>
                </a:cubicBezTo>
                <a:cubicBezTo>
                  <a:pt x="6949823" y="3497412"/>
                  <a:pt x="6949823" y="3497412"/>
                  <a:pt x="6949823" y="3497412"/>
                </a:cubicBezTo>
                <a:cubicBezTo>
                  <a:pt x="6959592" y="3497412"/>
                  <a:pt x="6959592" y="3507182"/>
                  <a:pt x="6969361" y="3516951"/>
                </a:cubicBezTo>
                <a:cubicBezTo>
                  <a:pt x="6979129" y="3516951"/>
                  <a:pt x="6988898" y="3526720"/>
                  <a:pt x="6998667" y="3536490"/>
                </a:cubicBezTo>
                <a:cubicBezTo>
                  <a:pt x="7008435" y="3546259"/>
                  <a:pt x="7018204" y="3556028"/>
                  <a:pt x="7018204" y="3556028"/>
                </a:cubicBezTo>
                <a:cubicBezTo>
                  <a:pt x="7018204" y="3565797"/>
                  <a:pt x="7027972" y="3565797"/>
                  <a:pt x="7027972" y="3575567"/>
                </a:cubicBezTo>
                <a:cubicBezTo>
                  <a:pt x="7027972" y="3575567"/>
                  <a:pt x="7037741" y="3575567"/>
                  <a:pt x="7037741" y="3585336"/>
                </a:cubicBezTo>
                <a:cubicBezTo>
                  <a:pt x="7027972" y="3575567"/>
                  <a:pt x="7018204" y="3575567"/>
                  <a:pt x="7008435" y="3556028"/>
                </a:cubicBezTo>
                <a:cubicBezTo>
                  <a:pt x="6998667" y="3546259"/>
                  <a:pt x="6988898" y="3546259"/>
                  <a:pt x="6988898" y="3536490"/>
                </a:cubicBezTo>
                <a:cubicBezTo>
                  <a:pt x="6979129" y="3536490"/>
                  <a:pt x="6979129" y="3526720"/>
                  <a:pt x="6969361" y="3526720"/>
                </a:cubicBezTo>
                <a:cubicBezTo>
                  <a:pt x="6959592" y="3516951"/>
                  <a:pt x="6959592" y="3516951"/>
                  <a:pt x="6959592" y="3516951"/>
                </a:cubicBezTo>
                <a:cubicBezTo>
                  <a:pt x="6959592" y="3526720"/>
                  <a:pt x="6959592" y="3526720"/>
                  <a:pt x="6959592" y="3526720"/>
                </a:cubicBezTo>
                <a:cubicBezTo>
                  <a:pt x="6959592" y="3526720"/>
                  <a:pt x="6969361" y="3536490"/>
                  <a:pt x="6969361" y="3536490"/>
                </a:cubicBezTo>
                <a:cubicBezTo>
                  <a:pt x="6969361" y="3546259"/>
                  <a:pt x="6979129" y="3546259"/>
                  <a:pt x="6979129" y="3546259"/>
                </a:cubicBezTo>
                <a:cubicBezTo>
                  <a:pt x="6979129" y="3546259"/>
                  <a:pt x="6988898" y="3556028"/>
                  <a:pt x="6988898" y="3556028"/>
                </a:cubicBezTo>
                <a:cubicBezTo>
                  <a:pt x="6988898" y="3565797"/>
                  <a:pt x="6998667" y="3575567"/>
                  <a:pt x="7008435" y="3575567"/>
                </a:cubicBezTo>
                <a:cubicBezTo>
                  <a:pt x="7008435" y="3575567"/>
                  <a:pt x="7008435" y="3585336"/>
                  <a:pt x="7008435" y="3585336"/>
                </a:cubicBezTo>
                <a:cubicBezTo>
                  <a:pt x="7008435" y="3585336"/>
                  <a:pt x="6998667" y="3585336"/>
                  <a:pt x="6998667" y="3585336"/>
                </a:cubicBezTo>
                <a:cubicBezTo>
                  <a:pt x="6998667" y="3575567"/>
                  <a:pt x="6998667" y="3575567"/>
                  <a:pt x="6998667" y="3575567"/>
                </a:cubicBezTo>
                <a:cubicBezTo>
                  <a:pt x="6998667" y="3575567"/>
                  <a:pt x="6988898" y="3565797"/>
                  <a:pt x="6969361" y="3556028"/>
                </a:cubicBezTo>
                <a:cubicBezTo>
                  <a:pt x="6959592" y="3546259"/>
                  <a:pt x="6949823" y="3536490"/>
                  <a:pt x="6949823" y="3526720"/>
                </a:cubicBezTo>
                <a:cubicBezTo>
                  <a:pt x="6940055" y="3516951"/>
                  <a:pt x="6930286" y="3507182"/>
                  <a:pt x="6920518" y="3507182"/>
                </a:cubicBezTo>
                <a:cubicBezTo>
                  <a:pt x="6910749" y="3497412"/>
                  <a:pt x="6910749" y="3497412"/>
                  <a:pt x="6910749" y="3497412"/>
                </a:cubicBezTo>
                <a:cubicBezTo>
                  <a:pt x="6900980" y="3497412"/>
                  <a:pt x="6900980" y="3497412"/>
                  <a:pt x="6900980" y="3497412"/>
                </a:cubicBezTo>
                <a:cubicBezTo>
                  <a:pt x="6910749" y="3497412"/>
                  <a:pt x="6910749" y="3497412"/>
                  <a:pt x="6910749" y="3507182"/>
                </a:cubicBezTo>
                <a:cubicBezTo>
                  <a:pt x="6920518" y="3516951"/>
                  <a:pt x="6940055" y="3526720"/>
                  <a:pt x="6949823" y="3536490"/>
                </a:cubicBezTo>
                <a:cubicBezTo>
                  <a:pt x="6959592" y="3546259"/>
                  <a:pt x="6969361" y="3556028"/>
                  <a:pt x="6969361" y="3556028"/>
                </a:cubicBezTo>
                <a:cubicBezTo>
                  <a:pt x="6979129" y="3565797"/>
                  <a:pt x="6988898" y="3575567"/>
                  <a:pt x="6988898" y="3575567"/>
                </a:cubicBezTo>
                <a:cubicBezTo>
                  <a:pt x="6998667" y="3585336"/>
                  <a:pt x="6998667" y="3595105"/>
                  <a:pt x="6998667" y="3595105"/>
                </a:cubicBezTo>
                <a:cubicBezTo>
                  <a:pt x="7008435" y="3595105"/>
                  <a:pt x="7027972" y="3614644"/>
                  <a:pt x="7027972" y="3614644"/>
                </a:cubicBezTo>
                <a:cubicBezTo>
                  <a:pt x="7027972" y="3624413"/>
                  <a:pt x="7027972" y="3624413"/>
                  <a:pt x="7037741" y="3624413"/>
                </a:cubicBezTo>
                <a:cubicBezTo>
                  <a:pt x="7057278" y="3643952"/>
                  <a:pt x="7076815" y="3663491"/>
                  <a:pt x="7086584" y="3673260"/>
                </a:cubicBezTo>
                <a:cubicBezTo>
                  <a:pt x="7086584" y="3683029"/>
                  <a:pt x="7086584" y="3683029"/>
                  <a:pt x="7096353" y="3683029"/>
                </a:cubicBezTo>
                <a:cubicBezTo>
                  <a:pt x="7096353" y="3692798"/>
                  <a:pt x="7106121" y="3692798"/>
                  <a:pt x="7115890" y="3712337"/>
                </a:cubicBezTo>
                <a:cubicBezTo>
                  <a:pt x="7115890" y="3712337"/>
                  <a:pt x="7125658" y="3712337"/>
                  <a:pt x="7125658" y="3722106"/>
                </a:cubicBezTo>
                <a:cubicBezTo>
                  <a:pt x="7125658" y="3722106"/>
                  <a:pt x="7174502" y="3761184"/>
                  <a:pt x="7184270" y="3780722"/>
                </a:cubicBezTo>
                <a:cubicBezTo>
                  <a:pt x="7194039" y="3790492"/>
                  <a:pt x="7213576" y="3810030"/>
                  <a:pt x="7223345" y="3819799"/>
                </a:cubicBezTo>
                <a:cubicBezTo>
                  <a:pt x="7252650" y="3849107"/>
                  <a:pt x="7262419" y="3858877"/>
                  <a:pt x="7272188" y="3868646"/>
                </a:cubicBezTo>
                <a:cubicBezTo>
                  <a:pt x="7272188" y="3868646"/>
                  <a:pt x="7281956" y="3878415"/>
                  <a:pt x="7291725" y="3888185"/>
                </a:cubicBezTo>
                <a:cubicBezTo>
                  <a:pt x="7291725" y="3888185"/>
                  <a:pt x="7301493" y="3897954"/>
                  <a:pt x="7301493" y="3907723"/>
                </a:cubicBezTo>
                <a:cubicBezTo>
                  <a:pt x="7311262" y="3907723"/>
                  <a:pt x="7311262" y="3917493"/>
                  <a:pt x="7321031" y="3917493"/>
                </a:cubicBezTo>
                <a:cubicBezTo>
                  <a:pt x="7321031" y="3917493"/>
                  <a:pt x="7330799" y="3927262"/>
                  <a:pt x="7330799" y="3937031"/>
                </a:cubicBezTo>
                <a:cubicBezTo>
                  <a:pt x="7340568" y="3937031"/>
                  <a:pt x="7340568" y="3946800"/>
                  <a:pt x="7350337" y="3946800"/>
                </a:cubicBezTo>
                <a:cubicBezTo>
                  <a:pt x="7350337" y="3946800"/>
                  <a:pt x="7350337" y="3956570"/>
                  <a:pt x="7360105" y="3956570"/>
                </a:cubicBezTo>
                <a:cubicBezTo>
                  <a:pt x="7360105" y="3966339"/>
                  <a:pt x="7369874" y="3976108"/>
                  <a:pt x="7379642" y="3976108"/>
                </a:cubicBezTo>
                <a:cubicBezTo>
                  <a:pt x="7399180" y="3995647"/>
                  <a:pt x="7418717" y="4024955"/>
                  <a:pt x="7438254" y="4034724"/>
                </a:cubicBezTo>
                <a:cubicBezTo>
                  <a:pt x="7438254" y="4034724"/>
                  <a:pt x="7448023" y="4044494"/>
                  <a:pt x="7448023" y="4054263"/>
                </a:cubicBezTo>
                <a:cubicBezTo>
                  <a:pt x="7457791" y="4064032"/>
                  <a:pt x="7467560" y="4073801"/>
                  <a:pt x="7467560" y="4073801"/>
                </a:cubicBezTo>
                <a:cubicBezTo>
                  <a:pt x="7467560" y="4073801"/>
                  <a:pt x="7487097" y="4093340"/>
                  <a:pt x="7496866" y="4103109"/>
                </a:cubicBezTo>
                <a:cubicBezTo>
                  <a:pt x="7516403" y="4122648"/>
                  <a:pt x="7526172" y="4132417"/>
                  <a:pt x="7526172" y="4142187"/>
                </a:cubicBezTo>
                <a:cubicBezTo>
                  <a:pt x="7526172" y="4142187"/>
                  <a:pt x="7535940" y="4142187"/>
                  <a:pt x="7535940" y="4142187"/>
                </a:cubicBezTo>
                <a:cubicBezTo>
                  <a:pt x="7535940" y="4142187"/>
                  <a:pt x="7535940" y="4151956"/>
                  <a:pt x="7545709" y="4151956"/>
                </a:cubicBezTo>
                <a:cubicBezTo>
                  <a:pt x="7545709" y="4151956"/>
                  <a:pt x="7545709" y="4161725"/>
                  <a:pt x="7545709" y="4161725"/>
                </a:cubicBezTo>
                <a:cubicBezTo>
                  <a:pt x="7555477" y="4161725"/>
                  <a:pt x="7555477" y="4171495"/>
                  <a:pt x="7555477" y="4171495"/>
                </a:cubicBezTo>
                <a:cubicBezTo>
                  <a:pt x="7565246" y="4171495"/>
                  <a:pt x="7565246" y="4181264"/>
                  <a:pt x="7575015" y="4191033"/>
                </a:cubicBezTo>
                <a:cubicBezTo>
                  <a:pt x="7584783" y="4200803"/>
                  <a:pt x="7594552" y="4210572"/>
                  <a:pt x="7594552" y="4210572"/>
                </a:cubicBezTo>
                <a:cubicBezTo>
                  <a:pt x="7594552" y="4210572"/>
                  <a:pt x="7604320" y="4210572"/>
                  <a:pt x="7604320" y="4210572"/>
                </a:cubicBezTo>
                <a:cubicBezTo>
                  <a:pt x="7604320" y="4210572"/>
                  <a:pt x="7604320" y="4220341"/>
                  <a:pt x="7614089" y="4220341"/>
                </a:cubicBezTo>
                <a:cubicBezTo>
                  <a:pt x="7614089" y="4230110"/>
                  <a:pt x="7623858" y="4239880"/>
                  <a:pt x="7623858" y="4239880"/>
                </a:cubicBezTo>
                <a:cubicBezTo>
                  <a:pt x="7633626" y="4249649"/>
                  <a:pt x="7633626" y="4259418"/>
                  <a:pt x="7623858" y="4249649"/>
                </a:cubicBezTo>
                <a:cubicBezTo>
                  <a:pt x="7614089" y="4249649"/>
                  <a:pt x="7614089" y="4249649"/>
                  <a:pt x="7594552" y="4230110"/>
                </a:cubicBezTo>
                <a:cubicBezTo>
                  <a:pt x="7594552" y="4230110"/>
                  <a:pt x="7584783" y="4230110"/>
                  <a:pt x="7584783" y="4220341"/>
                </a:cubicBezTo>
                <a:cubicBezTo>
                  <a:pt x="7584783" y="4220341"/>
                  <a:pt x="7575015" y="4220341"/>
                  <a:pt x="7575015" y="4220341"/>
                </a:cubicBezTo>
                <a:cubicBezTo>
                  <a:pt x="7575015" y="4210572"/>
                  <a:pt x="7575015" y="4210572"/>
                  <a:pt x="7565246" y="4200803"/>
                </a:cubicBezTo>
                <a:cubicBezTo>
                  <a:pt x="7565246" y="4200803"/>
                  <a:pt x="7555477" y="4191033"/>
                  <a:pt x="7555477" y="4191033"/>
                </a:cubicBezTo>
                <a:cubicBezTo>
                  <a:pt x="7555477" y="4191033"/>
                  <a:pt x="7555477" y="4181264"/>
                  <a:pt x="7555477" y="4181264"/>
                </a:cubicBezTo>
                <a:cubicBezTo>
                  <a:pt x="7545709" y="4171495"/>
                  <a:pt x="7506634" y="4132417"/>
                  <a:pt x="7487097" y="4112879"/>
                </a:cubicBezTo>
                <a:cubicBezTo>
                  <a:pt x="7477328" y="4103109"/>
                  <a:pt x="7467560" y="4093340"/>
                  <a:pt x="7467560" y="4083571"/>
                </a:cubicBezTo>
                <a:cubicBezTo>
                  <a:pt x="7467560" y="4083571"/>
                  <a:pt x="7457791" y="4073801"/>
                  <a:pt x="7448023" y="4064032"/>
                </a:cubicBezTo>
                <a:cubicBezTo>
                  <a:pt x="7438254" y="4054263"/>
                  <a:pt x="7428485" y="4054263"/>
                  <a:pt x="7428485" y="4044494"/>
                </a:cubicBezTo>
                <a:cubicBezTo>
                  <a:pt x="7428485" y="4044494"/>
                  <a:pt x="7428485" y="4044494"/>
                  <a:pt x="7418717" y="4034724"/>
                </a:cubicBezTo>
                <a:cubicBezTo>
                  <a:pt x="7408948" y="4034724"/>
                  <a:pt x="7399180" y="4024955"/>
                  <a:pt x="7399180" y="4015186"/>
                </a:cubicBezTo>
                <a:cubicBezTo>
                  <a:pt x="7389411" y="4005416"/>
                  <a:pt x="7379642" y="3995647"/>
                  <a:pt x="7369874" y="3985878"/>
                </a:cubicBezTo>
                <a:cubicBezTo>
                  <a:pt x="7360105" y="3976108"/>
                  <a:pt x="7350337" y="3966339"/>
                  <a:pt x="7350337" y="3966339"/>
                </a:cubicBezTo>
                <a:cubicBezTo>
                  <a:pt x="7350337" y="3966339"/>
                  <a:pt x="7340568" y="3956570"/>
                  <a:pt x="7340568" y="3956570"/>
                </a:cubicBezTo>
                <a:cubicBezTo>
                  <a:pt x="7340568" y="3956570"/>
                  <a:pt x="7330799" y="3946800"/>
                  <a:pt x="7330799" y="3946800"/>
                </a:cubicBezTo>
                <a:cubicBezTo>
                  <a:pt x="7321031" y="3937031"/>
                  <a:pt x="7262419" y="3868646"/>
                  <a:pt x="7252650" y="3868646"/>
                </a:cubicBezTo>
                <a:cubicBezTo>
                  <a:pt x="7242882" y="3858877"/>
                  <a:pt x="7233113" y="3849107"/>
                  <a:pt x="7223345" y="3839338"/>
                </a:cubicBezTo>
                <a:cubicBezTo>
                  <a:pt x="7203807" y="3819799"/>
                  <a:pt x="7194039" y="3810030"/>
                  <a:pt x="7194039" y="3819799"/>
                </a:cubicBezTo>
                <a:cubicBezTo>
                  <a:pt x="7194039" y="3819799"/>
                  <a:pt x="7184270" y="3819799"/>
                  <a:pt x="7184270" y="3810030"/>
                </a:cubicBezTo>
                <a:cubicBezTo>
                  <a:pt x="7184270" y="3810030"/>
                  <a:pt x="7184270" y="3819799"/>
                  <a:pt x="7184270" y="3819799"/>
                </a:cubicBezTo>
                <a:cubicBezTo>
                  <a:pt x="7194039" y="3829569"/>
                  <a:pt x="7194039" y="3829569"/>
                  <a:pt x="7194039" y="3839338"/>
                </a:cubicBezTo>
                <a:cubicBezTo>
                  <a:pt x="7203807" y="3849107"/>
                  <a:pt x="7203807" y="3858877"/>
                  <a:pt x="7203807" y="3858877"/>
                </a:cubicBezTo>
                <a:cubicBezTo>
                  <a:pt x="7203807" y="3858877"/>
                  <a:pt x="7184270" y="3839338"/>
                  <a:pt x="7184270" y="3829569"/>
                </a:cubicBezTo>
                <a:cubicBezTo>
                  <a:pt x="7174502" y="3829569"/>
                  <a:pt x="7154964" y="3800261"/>
                  <a:pt x="7154964" y="3800261"/>
                </a:cubicBezTo>
                <a:cubicBezTo>
                  <a:pt x="7154964" y="3800261"/>
                  <a:pt x="7145196" y="3790492"/>
                  <a:pt x="7135427" y="3780722"/>
                </a:cubicBezTo>
                <a:cubicBezTo>
                  <a:pt x="7135427" y="3780722"/>
                  <a:pt x="7115890" y="3761184"/>
                  <a:pt x="7106121" y="3751414"/>
                </a:cubicBezTo>
                <a:cubicBezTo>
                  <a:pt x="7096353" y="3741645"/>
                  <a:pt x="7086584" y="3731876"/>
                  <a:pt x="7086584" y="3722106"/>
                </a:cubicBezTo>
                <a:cubicBezTo>
                  <a:pt x="7086584" y="3722106"/>
                  <a:pt x="7076815" y="3722106"/>
                  <a:pt x="7076815" y="3722106"/>
                </a:cubicBezTo>
                <a:cubicBezTo>
                  <a:pt x="7076815" y="3712337"/>
                  <a:pt x="7067047" y="3712337"/>
                  <a:pt x="7057278" y="3702568"/>
                </a:cubicBezTo>
                <a:cubicBezTo>
                  <a:pt x="7057278" y="3702568"/>
                  <a:pt x="7047510" y="3692798"/>
                  <a:pt x="7047510" y="3692798"/>
                </a:cubicBezTo>
                <a:cubicBezTo>
                  <a:pt x="7047510" y="3692798"/>
                  <a:pt x="7047510" y="3702568"/>
                  <a:pt x="7047510" y="3702568"/>
                </a:cubicBezTo>
                <a:cubicBezTo>
                  <a:pt x="7047510" y="3702568"/>
                  <a:pt x="7037741" y="3702568"/>
                  <a:pt x="7027972" y="3692798"/>
                </a:cubicBezTo>
                <a:cubicBezTo>
                  <a:pt x="7018204" y="3683029"/>
                  <a:pt x="7018204" y="3673260"/>
                  <a:pt x="7018204" y="3673260"/>
                </a:cubicBezTo>
                <a:cubicBezTo>
                  <a:pt x="7008435" y="3673260"/>
                  <a:pt x="7008435" y="3673260"/>
                  <a:pt x="6998667" y="3663491"/>
                </a:cubicBezTo>
                <a:cubicBezTo>
                  <a:pt x="6988898" y="3653721"/>
                  <a:pt x="6969361" y="3634183"/>
                  <a:pt x="6969361" y="3634183"/>
                </a:cubicBezTo>
                <a:cubicBezTo>
                  <a:pt x="6959592" y="3634183"/>
                  <a:pt x="6969361" y="3643952"/>
                  <a:pt x="6988898" y="3653721"/>
                </a:cubicBezTo>
                <a:cubicBezTo>
                  <a:pt x="6998667" y="3663491"/>
                  <a:pt x="7008435" y="3683029"/>
                  <a:pt x="7008435" y="3692798"/>
                </a:cubicBezTo>
                <a:cubicBezTo>
                  <a:pt x="7018204" y="3692798"/>
                  <a:pt x="7018204" y="3702568"/>
                  <a:pt x="7027972" y="3702568"/>
                </a:cubicBezTo>
                <a:cubicBezTo>
                  <a:pt x="7027972" y="3702568"/>
                  <a:pt x="7027972" y="3712337"/>
                  <a:pt x="7027972" y="3712337"/>
                </a:cubicBezTo>
                <a:cubicBezTo>
                  <a:pt x="7037741" y="3712337"/>
                  <a:pt x="7037741" y="3722106"/>
                  <a:pt x="7047510" y="3722106"/>
                </a:cubicBezTo>
                <a:cubicBezTo>
                  <a:pt x="7057278" y="3731876"/>
                  <a:pt x="7057278" y="3741645"/>
                  <a:pt x="7067047" y="3741645"/>
                </a:cubicBezTo>
                <a:cubicBezTo>
                  <a:pt x="7067047" y="3741645"/>
                  <a:pt x="7067047" y="3751414"/>
                  <a:pt x="7067047" y="3751414"/>
                </a:cubicBezTo>
                <a:cubicBezTo>
                  <a:pt x="7067047" y="3751414"/>
                  <a:pt x="7067047" y="3751414"/>
                  <a:pt x="7076815" y="3751414"/>
                </a:cubicBezTo>
                <a:cubicBezTo>
                  <a:pt x="7076815" y="3751414"/>
                  <a:pt x="7076815" y="3761184"/>
                  <a:pt x="7076815" y="3761184"/>
                </a:cubicBezTo>
                <a:cubicBezTo>
                  <a:pt x="7086584" y="3761184"/>
                  <a:pt x="7086584" y="3770953"/>
                  <a:pt x="7086584" y="3770953"/>
                </a:cubicBezTo>
                <a:cubicBezTo>
                  <a:pt x="7096353" y="3770953"/>
                  <a:pt x="7106121" y="3790492"/>
                  <a:pt x="7115890" y="3790492"/>
                </a:cubicBezTo>
                <a:cubicBezTo>
                  <a:pt x="7115890" y="3800261"/>
                  <a:pt x="7125658" y="3800261"/>
                  <a:pt x="7125658" y="3800261"/>
                </a:cubicBezTo>
                <a:cubicBezTo>
                  <a:pt x="7125658" y="3800261"/>
                  <a:pt x="7125658" y="3810030"/>
                  <a:pt x="7135427" y="3810030"/>
                </a:cubicBezTo>
                <a:cubicBezTo>
                  <a:pt x="7135427" y="3810030"/>
                  <a:pt x="7135427" y="3819799"/>
                  <a:pt x="7135427" y="3819799"/>
                </a:cubicBezTo>
                <a:cubicBezTo>
                  <a:pt x="7145196" y="3819799"/>
                  <a:pt x="7203807" y="3878415"/>
                  <a:pt x="7223345" y="3897954"/>
                </a:cubicBezTo>
                <a:cubicBezTo>
                  <a:pt x="7233113" y="3917493"/>
                  <a:pt x="7242882" y="3917493"/>
                  <a:pt x="7252650" y="3927262"/>
                </a:cubicBezTo>
                <a:cubicBezTo>
                  <a:pt x="7262419" y="3937031"/>
                  <a:pt x="7272188" y="3946800"/>
                  <a:pt x="7272188" y="3946800"/>
                </a:cubicBezTo>
                <a:cubicBezTo>
                  <a:pt x="7272188" y="3956570"/>
                  <a:pt x="7291725" y="3976108"/>
                  <a:pt x="7321031" y="4005416"/>
                </a:cubicBezTo>
                <a:cubicBezTo>
                  <a:pt x="7330799" y="4015186"/>
                  <a:pt x="7360105" y="4034724"/>
                  <a:pt x="7369874" y="4054263"/>
                </a:cubicBezTo>
                <a:cubicBezTo>
                  <a:pt x="7379642" y="4064032"/>
                  <a:pt x="7399180" y="4083571"/>
                  <a:pt x="7399180" y="4083571"/>
                </a:cubicBezTo>
                <a:cubicBezTo>
                  <a:pt x="7408948" y="4083571"/>
                  <a:pt x="7408948" y="4093340"/>
                  <a:pt x="7408948" y="4093340"/>
                </a:cubicBezTo>
                <a:cubicBezTo>
                  <a:pt x="7418717" y="4103109"/>
                  <a:pt x="7448023" y="4132417"/>
                  <a:pt x="7467560" y="4151956"/>
                </a:cubicBezTo>
                <a:cubicBezTo>
                  <a:pt x="7477328" y="4151956"/>
                  <a:pt x="7487097" y="4161725"/>
                  <a:pt x="7487097" y="4171495"/>
                </a:cubicBezTo>
                <a:cubicBezTo>
                  <a:pt x="7506634" y="4191033"/>
                  <a:pt x="7535940" y="4220341"/>
                  <a:pt x="7565246" y="4230110"/>
                </a:cubicBezTo>
                <a:cubicBezTo>
                  <a:pt x="7575015" y="4249649"/>
                  <a:pt x="7575015" y="4249649"/>
                  <a:pt x="7565246" y="4239880"/>
                </a:cubicBezTo>
                <a:cubicBezTo>
                  <a:pt x="7545709" y="4230110"/>
                  <a:pt x="7526172" y="4210572"/>
                  <a:pt x="7467560" y="4161725"/>
                </a:cubicBezTo>
                <a:cubicBezTo>
                  <a:pt x="7428485" y="4122648"/>
                  <a:pt x="7379642" y="4083571"/>
                  <a:pt x="7350337" y="4044494"/>
                </a:cubicBezTo>
                <a:cubicBezTo>
                  <a:pt x="7340568" y="4024955"/>
                  <a:pt x="7321031" y="4015186"/>
                  <a:pt x="7311262" y="4005416"/>
                </a:cubicBezTo>
                <a:cubicBezTo>
                  <a:pt x="7301493" y="3995647"/>
                  <a:pt x="7281956" y="3976108"/>
                  <a:pt x="7272188" y="3966339"/>
                </a:cubicBezTo>
                <a:cubicBezTo>
                  <a:pt x="7262419" y="3946800"/>
                  <a:pt x="7242882" y="3937031"/>
                  <a:pt x="7252650" y="3946800"/>
                </a:cubicBezTo>
                <a:cubicBezTo>
                  <a:pt x="7252650" y="3956570"/>
                  <a:pt x="7262419" y="3956570"/>
                  <a:pt x="7281956" y="3985878"/>
                </a:cubicBezTo>
                <a:cubicBezTo>
                  <a:pt x="7291725" y="3995647"/>
                  <a:pt x="7301493" y="4005416"/>
                  <a:pt x="7301493" y="4005416"/>
                </a:cubicBezTo>
                <a:cubicBezTo>
                  <a:pt x="7301493" y="4015186"/>
                  <a:pt x="7301493" y="4015186"/>
                  <a:pt x="7360105" y="4064032"/>
                </a:cubicBezTo>
                <a:cubicBezTo>
                  <a:pt x="7360105" y="4073801"/>
                  <a:pt x="7369874" y="4073801"/>
                  <a:pt x="7379642" y="4083571"/>
                </a:cubicBezTo>
                <a:cubicBezTo>
                  <a:pt x="7379642" y="4093340"/>
                  <a:pt x="7389411" y="4103109"/>
                  <a:pt x="7399180" y="4103109"/>
                </a:cubicBezTo>
                <a:cubicBezTo>
                  <a:pt x="7408948" y="4112879"/>
                  <a:pt x="7457791" y="4171495"/>
                  <a:pt x="7477328" y="4191033"/>
                </a:cubicBezTo>
                <a:cubicBezTo>
                  <a:pt x="7477328" y="4191033"/>
                  <a:pt x="7487097" y="4200803"/>
                  <a:pt x="7487097" y="4200803"/>
                </a:cubicBezTo>
                <a:cubicBezTo>
                  <a:pt x="7487097" y="4210572"/>
                  <a:pt x="7496866" y="4210572"/>
                  <a:pt x="7496866" y="4220341"/>
                </a:cubicBezTo>
                <a:cubicBezTo>
                  <a:pt x="7496866" y="4220341"/>
                  <a:pt x="7506634" y="4220341"/>
                  <a:pt x="7506634" y="4230110"/>
                </a:cubicBezTo>
                <a:cubicBezTo>
                  <a:pt x="7516403" y="4230110"/>
                  <a:pt x="7516403" y="4239880"/>
                  <a:pt x="7516403" y="4239880"/>
                </a:cubicBezTo>
                <a:cubicBezTo>
                  <a:pt x="7526172" y="4239880"/>
                  <a:pt x="7526172" y="4249649"/>
                  <a:pt x="7526172" y="4249649"/>
                </a:cubicBezTo>
                <a:cubicBezTo>
                  <a:pt x="7526172" y="4249649"/>
                  <a:pt x="7526172" y="4249649"/>
                  <a:pt x="7535940" y="4259418"/>
                </a:cubicBezTo>
                <a:cubicBezTo>
                  <a:pt x="7535940" y="4259418"/>
                  <a:pt x="7545709" y="4269188"/>
                  <a:pt x="7545709" y="4269188"/>
                </a:cubicBezTo>
                <a:cubicBezTo>
                  <a:pt x="7555477" y="4278957"/>
                  <a:pt x="7565246" y="4288726"/>
                  <a:pt x="7575015" y="4298496"/>
                </a:cubicBezTo>
                <a:cubicBezTo>
                  <a:pt x="7584783" y="4308265"/>
                  <a:pt x="7594552" y="4318034"/>
                  <a:pt x="7594552" y="4318034"/>
                </a:cubicBezTo>
                <a:cubicBezTo>
                  <a:pt x="7584783" y="4318034"/>
                  <a:pt x="7545709" y="4278957"/>
                  <a:pt x="7535940" y="4269188"/>
                </a:cubicBezTo>
                <a:cubicBezTo>
                  <a:pt x="7526172" y="4259418"/>
                  <a:pt x="7526172" y="4259418"/>
                  <a:pt x="7526172" y="4259418"/>
                </a:cubicBezTo>
                <a:cubicBezTo>
                  <a:pt x="7516403" y="4259418"/>
                  <a:pt x="7516403" y="4249649"/>
                  <a:pt x="7516403" y="4249649"/>
                </a:cubicBezTo>
                <a:cubicBezTo>
                  <a:pt x="7506634" y="4239880"/>
                  <a:pt x="7506634" y="4239880"/>
                  <a:pt x="7496866" y="4230110"/>
                </a:cubicBezTo>
                <a:cubicBezTo>
                  <a:pt x="7487097" y="4230110"/>
                  <a:pt x="7487097" y="4230110"/>
                  <a:pt x="7487097" y="4220341"/>
                </a:cubicBezTo>
                <a:cubicBezTo>
                  <a:pt x="7487097" y="4220341"/>
                  <a:pt x="7487097" y="4220341"/>
                  <a:pt x="7477328" y="4210572"/>
                </a:cubicBezTo>
                <a:cubicBezTo>
                  <a:pt x="7477328" y="4210572"/>
                  <a:pt x="7477328" y="4210572"/>
                  <a:pt x="7467560" y="4200803"/>
                </a:cubicBezTo>
                <a:cubicBezTo>
                  <a:pt x="7467560" y="4200803"/>
                  <a:pt x="7457791" y="4191033"/>
                  <a:pt x="7448023" y="4181264"/>
                </a:cubicBezTo>
                <a:cubicBezTo>
                  <a:pt x="7448023" y="4181264"/>
                  <a:pt x="7438254" y="4171495"/>
                  <a:pt x="7428485" y="4161725"/>
                </a:cubicBezTo>
                <a:cubicBezTo>
                  <a:pt x="7418717" y="4142187"/>
                  <a:pt x="7408948" y="4142187"/>
                  <a:pt x="7408948" y="4142187"/>
                </a:cubicBezTo>
                <a:cubicBezTo>
                  <a:pt x="7408948" y="4142187"/>
                  <a:pt x="7399180" y="4132417"/>
                  <a:pt x="7399180" y="4132417"/>
                </a:cubicBezTo>
                <a:cubicBezTo>
                  <a:pt x="7389411" y="4122648"/>
                  <a:pt x="7379642" y="4112879"/>
                  <a:pt x="7379642" y="4112879"/>
                </a:cubicBezTo>
                <a:cubicBezTo>
                  <a:pt x="7369874" y="4103109"/>
                  <a:pt x="7360105" y="4093340"/>
                  <a:pt x="7350337" y="4083571"/>
                </a:cubicBezTo>
                <a:cubicBezTo>
                  <a:pt x="7350337" y="4083571"/>
                  <a:pt x="7340568" y="4073801"/>
                  <a:pt x="7340568" y="4073801"/>
                </a:cubicBezTo>
                <a:cubicBezTo>
                  <a:pt x="7330799" y="4064032"/>
                  <a:pt x="7330799" y="4054263"/>
                  <a:pt x="7321031" y="4054263"/>
                </a:cubicBezTo>
                <a:cubicBezTo>
                  <a:pt x="7321031" y="4044494"/>
                  <a:pt x="7311262" y="4044494"/>
                  <a:pt x="7301493" y="4034724"/>
                </a:cubicBezTo>
                <a:cubicBezTo>
                  <a:pt x="7301493" y="4034724"/>
                  <a:pt x="7281956" y="4015186"/>
                  <a:pt x="7262419" y="3995647"/>
                </a:cubicBezTo>
                <a:cubicBezTo>
                  <a:pt x="7262419" y="3985878"/>
                  <a:pt x="7252650" y="3985878"/>
                  <a:pt x="7252650" y="3985878"/>
                </a:cubicBezTo>
                <a:cubicBezTo>
                  <a:pt x="7242882" y="3976108"/>
                  <a:pt x="7233113" y="3966339"/>
                  <a:pt x="7233113" y="3966339"/>
                </a:cubicBezTo>
                <a:cubicBezTo>
                  <a:pt x="7223345" y="3956570"/>
                  <a:pt x="7213576" y="3946800"/>
                  <a:pt x="7203807" y="3937031"/>
                </a:cubicBezTo>
                <a:cubicBezTo>
                  <a:pt x="7203807" y="3937031"/>
                  <a:pt x="7194039" y="3927262"/>
                  <a:pt x="7194039" y="3927262"/>
                </a:cubicBezTo>
                <a:cubicBezTo>
                  <a:pt x="7184270" y="3917493"/>
                  <a:pt x="7174502" y="3897954"/>
                  <a:pt x="7164733" y="3897954"/>
                </a:cubicBezTo>
                <a:cubicBezTo>
                  <a:pt x="7164733" y="3897954"/>
                  <a:pt x="7164733" y="3897954"/>
                  <a:pt x="7164733" y="3888185"/>
                </a:cubicBezTo>
                <a:cubicBezTo>
                  <a:pt x="7154964" y="3888185"/>
                  <a:pt x="7154964" y="3878415"/>
                  <a:pt x="7145196" y="3878415"/>
                </a:cubicBezTo>
                <a:cubicBezTo>
                  <a:pt x="7135427" y="3868646"/>
                  <a:pt x="7125658" y="3858877"/>
                  <a:pt x="7115890" y="3849107"/>
                </a:cubicBezTo>
                <a:cubicBezTo>
                  <a:pt x="7096353" y="3829569"/>
                  <a:pt x="7086584" y="3819799"/>
                  <a:pt x="7076815" y="3810030"/>
                </a:cubicBezTo>
                <a:cubicBezTo>
                  <a:pt x="7067047" y="3810030"/>
                  <a:pt x="7057278" y="3800261"/>
                  <a:pt x="7057278" y="3800261"/>
                </a:cubicBezTo>
                <a:cubicBezTo>
                  <a:pt x="7047510" y="3790492"/>
                  <a:pt x="7037741" y="3780722"/>
                  <a:pt x="7037741" y="3780722"/>
                </a:cubicBezTo>
                <a:cubicBezTo>
                  <a:pt x="7027972" y="3770953"/>
                  <a:pt x="7027972" y="3770953"/>
                  <a:pt x="7027972" y="3780722"/>
                </a:cubicBezTo>
                <a:cubicBezTo>
                  <a:pt x="7027972" y="3780722"/>
                  <a:pt x="7037741" y="3790492"/>
                  <a:pt x="7037741" y="3790492"/>
                </a:cubicBezTo>
                <a:cubicBezTo>
                  <a:pt x="7057278" y="3800261"/>
                  <a:pt x="7057278" y="3810030"/>
                  <a:pt x="7057278" y="3810030"/>
                </a:cubicBezTo>
                <a:cubicBezTo>
                  <a:pt x="7057278" y="3819799"/>
                  <a:pt x="7057278" y="3810030"/>
                  <a:pt x="7047510" y="3810030"/>
                </a:cubicBezTo>
                <a:cubicBezTo>
                  <a:pt x="7037741" y="3800261"/>
                  <a:pt x="7018204" y="3780722"/>
                  <a:pt x="7018204" y="3780722"/>
                </a:cubicBezTo>
                <a:cubicBezTo>
                  <a:pt x="7018204" y="3780722"/>
                  <a:pt x="7018204" y="3770953"/>
                  <a:pt x="7018204" y="3770953"/>
                </a:cubicBezTo>
                <a:cubicBezTo>
                  <a:pt x="7018204" y="3770953"/>
                  <a:pt x="7008435" y="3770953"/>
                  <a:pt x="6988898" y="3751414"/>
                </a:cubicBezTo>
                <a:cubicBezTo>
                  <a:pt x="6979129" y="3741645"/>
                  <a:pt x="6979129" y="3741645"/>
                  <a:pt x="6969361" y="3731876"/>
                </a:cubicBezTo>
                <a:cubicBezTo>
                  <a:pt x="6969361" y="3731876"/>
                  <a:pt x="6959592" y="3731876"/>
                  <a:pt x="6959592" y="3731876"/>
                </a:cubicBezTo>
                <a:cubicBezTo>
                  <a:pt x="6959592" y="3722106"/>
                  <a:pt x="6959592" y="3722106"/>
                  <a:pt x="6949823" y="3722106"/>
                </a:cubicBezTo>
                <a:cubicBezTo>
                  <a:pt x="6949823" y="3722106"/>
                  <a:pt x="6940055" y="3712337"/>
                  <a:pt x="6940055" y="3702568"/>
                </a:cubicBezTo>
                <a:cubicBezTo>
                  <a:pt x="6930286" y="3702568"/>
                  <a:pt x="6930286" y="3692798"/>
                  <a:pt x="6930286" y="3692798"/>
                </a:cubicBezTo>
                <a:lnTo>
                  <a:pt x="6923774" y="3692798"/>
                </a:lnTo>
                <a:lnTo>
                  <a:pt x="6920518" y="3683029"/>
                </a:lnTo>
                <a:cubicBezTo>
                  <a:pt x="6920518" y="3683029"/>
                  <a:pt x="6918076" y="3680587"/>
                  <a:pt x="6914412" y="3678145"/>
                </a:cubicBezTo>
                <a:lnTo>
                  <a:pt x="6911285" y="3677007"/>
                </a:lnTo>
                <a:lnTo>
                  <a:pt x="6910749" y="3673260"/>
                </a:lnTo>
                <a:cubicBezTo>
                  <a:pt x="6910749" y="3673260"/>
                  <a:pt x="6900980" y="3663491"/>
                  <a:pt x="6891212" y="3653721"/>
                </a:cubicBezTo>
                <a:cubicBezTo>
                  <a:pt x="6891212" y="3663491"/>
                  <a:pt x="6900980" y="3663491"/>
                  <a:pt x="6900980" y="3673260"/>
                </a:cubicBezTo>
                <a:lnTo>
                  <a:pt x="6911285" y="3677007"/>
                </a:lnTo>
                <a:lnTo>
                  <a:pt x="6911970" y="3681808"/>
                </a:lnTo>
                <a:cubicBezTo>
                  <a:pt x="6913191" y="3683029"/>
                  <a:pt x="6915634" y="3683029"/>
                  <a:pt x="6920518" y="3683029"/>
                </a:cubicBezTo>
                <a:cubicBezTo>
                  <a:pt x="6920518" y="3683029"/>
                  <a:pt x="6920518" y="3683029"/>
                  <a:pt x="6920518" y="3692798"/>
                </a:cubicBezTo>
                <a:cubicBezTo>
                  <a:pt x="6920518" y="3692798"/>
                  <a:pt x="6920518" y="3692798"/>
                  <a:pt x="6921739" y="3692798"/>
                </a:cubicBezTo>
                <a:lnTo>
                  <a:pt x="6923774" y="3692798"/>
                </a:lnTo>
                <a:lnTo>
                  <a:pt x="6925402" y="3697683"/>
                </a:lnTo>
                <a:cubicBezTo>
                  <a:pt x="6927844" y="3702568"/>
                  <a:pt x="6930286" y="3707452"/>
                  <a:pt x="6930286" y="3712337"/>
                </a:cubicBezTo>
                <a:cubicBezTo>
                  <a:pt x="6940055" y="3712337"/>
                  <a:pt x="6949823" y="3722106"/>
                  <a:pt x="6969361" y="3741645"/>
                </a:cubicBezTo>
                <a:cubicBezTo>
                  <a:pt x="6988898" y="3761184"/>
                  <a:pt x="6998667" y="3770953"/>
                  <a:pt x="6998667" y="3770953"/>
                </a:cubicBezTo>
                <a:cubicBezTo>
                  <a:pt x="6998667" y="3780722"/>
                  <a:pt x="7008435" y="3790492"/>
                  <a:pt x="7027972" y="3800261"/>
                </a:cubicBezTo>
                <a:cubicBezTo>
                  <a:pt x="7027972" y="3810030"/>
                  <a:pt x="7037741" y="3810030"/>
                  <a:pt x="7047510" y="3829569"/>
                </a:cubicBezTo>
                <a:cubicBezTo>
                  <a:pt x="7057278" y="3829569"/>
                  <a:pt x="7057278" y="3839338"/>
                  <a:pt x="7067047" y="3839338"/>
                </a:cubicBezTo>
                <a:cubicBezTo>
                  <a:pt x="7067047" y="3849107"/>
                  <a:pt x="7076815" y="3849107"/>
                  <a:pt x="7076815" y="3858877"/>
                </a:cubicBezTo>
                <a:cubicBezTo>
                  <a:pt x="7086584" y="3868646"/>
                  <a:pt x="7086584" y="3878415"/>
                  <a:pt x="7096353" y="3878415"/>
                </a:cubicBezTo>
                <a:cubicBezTo>
                  <a:pt x="7096353" y="3878415"/>
                  <a:pt x="7106121" y="3888185"/>
                  <a:pt x="7106121" y="3888185"/>
                </a:cubicBezTo>
                <a:cubicBezTo>
                  <a:pt x="7115890" y="3897954"/>
                  <a:pt x="7115890" y="3897954"/>
                  <a:pt x="7115890" y="3907723"/>
                </a:cubicBezTo>
                <a:cubicBezTo>
                  <a:pt x="7125658" y="3907723"/>
                  <a:pt x="7125658" y="3907723"/>
                  <a:pt x="7125658" y="3907723"/>
                </a:cubicBezTo>
                <a:cubicBezTo>
                  <a:pt x="7125658" y="3917493"/>
                  <a:pt x="7135427" y="3917493"/>
                  <a:pt x="7135427" y="3917493"/>
                </a:cubicBezTo>
                <a:cubicBezTo>
                  <a:pt x="7135427" y="3927262"/>
                  <a:pt x="7145196" y="3927262"/>
                  <a:pt x="7145196" y="3927262"/>
                </a:cubicBezTo>
                <a:cubicBezTo>
                  <a:pt x="7145196" y="3937031"/>
                  <a:pt x="7154964" y="3946800"/>
                  <a:pt x="7164733" y="3956570"/>
                </a:cubicBezTo>
                <a:cubicBezTo>
                  <a:pt x="7184270" y="3966339"/>
                  <a:pt x="7194039" y="3985878"/>
                  <a:pt x="7203807" y="3985878"/>
                </a:cubicBezTo>
                <a:cubicBezTo>
                  <a:pt x="7213576" y="4005416"/>
                  <a:pt x="7242882" y="4034724"/>
                  <a:pt x="7252650" y="4044494"/>
                </a:cubicBezTo>
                <a:cubicBezTo>
                  <a:pt x="7262419" y="4054263"/>
                  <a:pt x="7272188" y="4054263"/>
                  <a:pt x="7272188" y="4064032"/>
                </a:cubicBezTo>
                <a:cubicBezTo>
                  <a:pt x="7281956" y="4073801"/>
                  <a:pt x="7321031" y="4103109"/>
                  <a:pt x="7340568" y="4132417"/>
                </a:cubicBezTo>
                <a:cubicBezTo>
                  <a:pt x="7350337" y="4132417"/>
                  <a:pt x="7350337" y="4142187"/>
                  <a:pt x="7340568" y="4142187"/>
                </a:cubicBezTo>
                <a:cubicBezTo>
                  <a:pt x="7330799" y="4142187"/>
                  <a:pt x="7340568" y="4151956"/>
                  <a:pt x="7369874" y="4181264"/>
                </a:cubicBezTo>
                <a:cubicBezTo>
                  <a:pt x="7379642" y="4191033"/>
                  <a:pt x="7379642" y="4200803"/>
                  <a:pt x="7389411" y="4200803"/>
                </a:cubicBezTo>
                <a:cubicBezTo>
                  <a:pt x="7389411" y="4200803"/>
                  <a:pt x="7389411" y="4210572"/>
                  <a:pt x="7389411" y="4210572"/>
                </a:cubicBezTo>
                <a:cubicBezTo>
                  <a:pt x="7389411" y="4210572"/>
                  <a:pt x="7369874" y="4191033"/>
                  <a:pt x="7340568" y="4161725"/>
                </a:cubicBezTo>
                <a:cubicBezTo>
                  <a:pt x="7272188" y="4093340"/>
                  <a:pt x="7252650" y="4073801"/>
                  <a:pt x="7252650" y="4064032"/>
                </a:cubicBezTo>
                <a:cubicBezTo>
                  <a:pt x="7242882" y="4064032"/>
                  <a:pt x="7242882" y="4054263"/>
                  <a:pt x="7233113" y="4054263"/>
                </a:cubicBezTo>
                <a:cubicBezTo>
                  <a:pt x="7223345" y="4044494"/>
                  <a:pt x="7223345" y="4034724"/>
                  <a:pt x="7213576" y="4034724"/>
                </a:cubicBezTo>
                <a:cubicBezTo>
                  <a:pt x="7194039" y="4015186"/>
                  <a:pt x="7164733" y="3985878"/>
                  <a:pt x="7154964" y="3966339"/>
                </a:cubicBezTo>
                <a:cubicBezTo>
                  <a:pt x="7154964" y="3966339"/>
                  <a:pt x="7145196" y="3956570"/>
                  <a:pt x="7115890" y="3937031"/>
                </a:cubicBezTo>
                <a:cubicBezTo>
                  <a:pt x="7106121" y="3927262"/>
                  <a:pt x="7096353" y="3917493"/>
                  <a:pt x="7096353" y="3917493"/>
                </a:cubicBezTo>
                <a:cubicBezTo>
                  <a:pt x="7096353" y="3907723"/>
                  <a:pt x="7086584" y="3907723"/>
                  <a:pt x="7067047" y="3888185"/>
                </a:cubicBezTo>
                <a:cubicBezTo>
                  <a:pt x="7067047" y="3888185"/>
                  <a:pt x="7057278" y="3878415"/>
                  <a:pt x="7057278" y="3878415"/>
                </a:cubicBezTo>
                <a:cubicBezTo>
                  <a:pt x="7057278" y="3878415"/>
                  <a:pt x="7047510" y="3868646"/>
                  <a:pt x="7037741" y="3868646"/>
                </a:cubicBezTo>
                <a:cubicBezTo>
                  <a:pt x="7037741" y="3868646"/>
                  <a:pt x="7047510" y="3878415"/>
                  <a:pt x="7047510" y="3888185"/>
                </a:cubicBezTo>
                <a:cubicBezTo>
                  <a:pt x="7057278" y="3888185"/>
                  <a:pt x="7115890" y="3956570"/>
                  <a:pt x="7145196" y="3985878"/>
                </a:cubicBezTo>
                <a:cubicBezTo>
                  <a:pt x="7164733" y="4005416"/>
                  <a:pt x="7194039" y="4044494"/>
                  <a:pt x="7223345" y="4064032"/>
                </a:cubicBezTo>
                <a:cubicBezTo>
                  <a:pt x="7233113" y="4073801"/>
                  <a:pt x="7242882" y="4093340"/>
                  <a:pt x="7242882" y="4093340"/>
                </a:cubicBezTo>
                <a:cubicBezTo>
                  <a:pt x="7252650" y="4093340"/>
                  <a:pt x="7252650" y="4103109"/>
                  <a:pt x="7252650" y="4103109"/>
                </a:cubicBezTo>
                <a:cubicBezTo>
                  <a:pt x="7262419" y="4112879"/>
                  <a:pt x="7272188" y="4112879"/>
                  <a:pt x="7272188" y="4122648"/>
                </a:cubicBezTo>
                <a:cubicBezTo>
                  <a:pt x="7281956" y="4132417"/>
                  <a:pt x="7291725" y="4142187"/>
                  <a:pt x="7301493" y="4151956"/>
                </a:cubicBezTo>
                <a:cubicBezTo>
                  <a:pt x="7321031" y="4161725"/>
                  <a:pt x="7311262" y="4161725"/>
                  <a:pt x="7291725" y="4151956"/>
                </a:cubicBezTo>
                <a:cubicBezTo>
                  <a:pt x="7272188" y="4132417"/>
                  <a:pt x="7262419" y="4122648"/>
                  <a:pt x="7262419" y="4122648"/>
                </a:cubicBezTo>
                <a:cubicBezTo>
                  <a:pt x="7252650" y="4112879"/>
                  <a:pt x="7242882" y="4093340"/>
                  <a:pt x="7233113" y="4093340"/>
                </a:cubicBezTo>
                <a:cubicBezTo>
                  <a:pt x="7233113" y="4093340"/>
                  <a:pt x="7233113" y="4083571"/>
                  <a:pt x="7223345" y="4083571"/>
                </a:cubicBezTo>
                <a:cubicBezTo>
                  <a:pt x="7223345" y="4073801"/>
                  <a:pt x="7213576" y="4064032"/>
                  <a:pt x="7194039" y="4054263"/>
                </a:cubicBezTo>
                <a:cubicBezTo>
                  <a:pt x="7164733" y="4015186"/>
                  <a:pt x="7135427" y="3985878"/>
                  <a:pt x="7125658" y="3976108"/>
                </a:cubicBezTo>
                <a:cubicBezTo>
                  <a:pt x="7115890" y="3966339"/>
                  <a:pt x="7115890" y="3966339"/>
                  <a:pt x="7115890" y="3966339"/>
                </a:cubicBezTo>
                <a:cubicBezTo>
                  <a:pt x="7106121" y="3956570"/>
                  <a:pt x="7106121" y="3956570"/>
                  <a:pt x="7106121" y="3956570"/>
                </a:cubicBezTo>
                <a:cubicBezTo>
                  <a:pt x="7106121" y="3956570"/>
                  <a:pt x="7106121" y="3946800"/>
                  <a:pt x="7096353" y="3946800"/>
                </a:cubicBezTo>
                <a:cubicBezTo>
                  <a:pt x="7086584" y="3937031"/>
                  <a:pt x="7067047" y="3917493"/>
                  <a:pt x="7057278" y="3897954"/>
                </a:cubicBezTo>
                <a:cubicBezTo>
                  <a:pt x="7037741" y="3888185"/>
                  <a:pt x="7018204" y="3868646"/>
                  <a:pt x="7018204" y="3868646"/>
                </a:cubicBezTo>
                <a:cubicBezTo>
                  <a:pt x="7008435" y="3858877"/>
                  <a:pt x="7008435" y="3858877"/>
                  <a:pt x="7008435" y="3849107"/>
                </a:cubicBezTo>
                <a:cubicBezTo>
                  <a:pt x="6998667" y="3849107"/>
                  <a:pt x="6998667" y="3849107"/>
                  <a:pt x="6988898" y="3839338"/>
                </a:cubicBezTo>
                <a:cubicBezTo>
                  <a:pt x="6988898" y="3839338"/>
                  <a:pt x="6988898" y="3829569"/>
                  <a:pt x="6979129" y="3829569"/>
                </a:cubicBezTo>
                <a:cubicBezTo>
                  <a:pt x="6979129" y="3829569"/>
                  <a:pt x="6979129" y="3819799"/>
                  <a:pt x="6979129" y="3819799"/>
                </a:cubicBezTo>
                <a:cubicBezTo>
                  <a:pt x="6969361" y="3819799"/>
                  <a:pt x="6959592" y="3810030"/>
                  <a:pt x="6949823" y="3800261"/>
                </a:cubicBezTo>
                <a:cubicBezTo>
                  <a:pt x="6940055" y="3790492"/>
                  <a:pt x="6930286" y="3780722"/>
                  <a:pt x="6930286" y="3770953"/>
                </a:cubicBezTo>
                <a:cubicBezTo>
                  <a:pt x="6920518" y="3770953"/>
                  <a:pt x="6910749" y="3761184"/>
                  <a:pt x="6900980" y="3751414"/>
                </a:cubicBezTo>
                <a:cubicBezTo>
                  <a:pt x="6891212" y="3741645"/>
                  <a:pt x="6891212" y="3731876"/>
                  <a:pt x="6881443" y="3731876"/>
                </a:cubicBezTo>
                <a:cubicBezTo>
                  <a:pt x="6871675" y="3722106"/>
                  <a:pt x="6871675" y="3722106"/>
                  <a:pt x="6871675" y="3722106"/>
                </a:cubicBezTo>
                <a:cubicBezTo>
                  <a:pt x="6861906" y="3712337"/>
                  <a:pt x="6852137" y="3702568"/>
                  <a:pt x="6852137" y="3702568"/>
                </a:cubicBezTo>
                <a:cubicBezTo>
                  <a:pt x="6842369" y="3692798"/>
                  <a:pt x="6842369" y="3692798"/>
                  <a:pt x="6842369" y="3692798"/>
                </a:cubicBezTo>
                <a:cubicBezTo>
                  <a:pt x="6832600" y="3683029"/>
                  <a:pt x="6832600" y="3683029"/>
                  <a:pt x="6832600" y="3683029"/>
                </a:cubicBezTo>
                <a:cubicBezTo>
                  <a:pt x="6822832" y="3683029"/>
                  <a:pt x="6822832" y="3673260"/>
                  <a:pt x="6813063" y="3663491"/>
                </a:cubicBezTo>
                <a:cubicBezTo>
                  <a:pt x="6813063" y="3663491"/>
                  <a:pt x="6803294" y="3663491"/>
                  <a:pt x="6803294" y="3653721"/>
                </a:cubicBezTo>
                <a:cubicBezTo>
                  <a:pt x="6793526" y="3653721"/>
                  <a:pt x="6783757" y="3643952"/>
                  <a:pt x="6783757" y="3643952"/>
                </a:cubicBezTo>
                <a:lnTo>
                  <a:pt x="6773988" y="3635071"/>
                </a:lnTo>
                <a:lnTo>
                  <a:pt x="6773988" y="3634183"/>
                </a:lnTo>
                <a:lnTo>
                  <a:pt x="6773012" y="3634183"/>
                </a:lnTo>
                <a:lnTo>
                  <a:pt x="6770325" y="3631740"/>
                </a:lnTo>
                <a:cubicBezTo>
                  <a:pt x="6766662" y="3629298"/>
                  <a:pt x="6764220" y="3629298"/>
                  <a:pt x="6764220" y="3634183"/>
                </a:cubicBezTo>
                <a:cubicBezTo>
                  <a:pt x="6764220" y="3634183"/>
                  <a:pt x="6764220" y="3634183"/>
                  <a:pt x="6765441" y="3634183"/>
                </a:cubicBezTo>
                <a:lnTo>
                  <a:pt x="6773012" y="3634183"/>
                </a:lnTo>
                <a:lnTo>
                  <a:pt x="6773988" y="3635071"/>
                </a:lnTo>
                <a:lnTo>
                  <a:pt x="6773988" y="3643952"/>
                </a:lnTo>
                <a:cubicBezTo>
                  <a:pt x="6773988" y="3646394"/>
                  <a:pt x="6773988" y="3648837"/>
                  <a:pt x="6773988" y="3653721"/>
                </a:cubicBezTo>
                <a:cubicBezTo>
                  <a:pt x="6773988" y="3653721"/>
                  <a:pt x="6773988" y="3663491"/>
                  <a:pt x="6773988" y="3663491"/>
                </a:cubicBezTo>
                <a:cubicBezTo>
                  <a:pt x="6773988" y="3663491"/>
                  <a:pt x="6773988" y="3663491"/>
                  <a:pt x="6773988" y="3673260"/>
                </a:cubicBezTo>
                <a:cubicBezTo>
                  <a:pt x="6783757" y="3673260"/>
                  <a:pt x="6783757" y="3673260"/>
                  <a:pt x="6783757" y="3673260"/>
                </a:cubicBezTo>
                <a:cubicBezTo>
                  <a:pt x="6793526" y="3683029"/>
                  <a:pt x="6793526" y="3692798"/>
                  <a:pt x="6803294" y="3692798"/>
                </a:cubicBezTo>
                <a:cubicBezTo>
                  <a:pt x="6803294" y="3692798"/>
                  <a:pt x="6813063" y="3702568"/>
                  <a:pt x="6813063" y="3712337"/>
                </a:cubicBezTo>
                <a:cubicBezTo>
                  <a:pt x="6822832" y="3722106"/>
                  <a:pt x="6832600" y="3731876"/>
                  <a:pt x="6842369" y="3731876"/>
                </a:cubicBezTo>
                <a:cubicBezTo>
                  <a:pt x="6842369" y="3741645"/>
                  <a:pt x="6842369" y="3741645"/>
                  <a:pt x="6842369" y="3741645"/>
                </a:cubicBezTo>
                <a:cubicBezTo>
                  <a:pt x="6842369" y="3741645"/>
                  <a:pt x="6852137" y="3751414"/>
                  <a:pt x="6852137" y="3751414"/>
                </a:cubicBezTo>
                <a:cubicBezTo>
                  <a:pt x="6861906" y="3761184"/>
                  <a:pt x="6861906" y="3761184"/>
                  <a:pt x="6871675" y="3770953"/>
                </a:cubicBezTo>
                <a:cubicBezTo>
                  <a:pt x="6871675" y="3770953"/>
                  <a:pt x="6891212" y="3790492"/>
                  <a:pt x="6891212" y="3790492"/>
                </a:cubicBezTo>
                <a:cubicBezTo>
                  <a:pt x="6891212" y="3790492"/>
                  <a:pt x="6891212" y="3800261"/>
                  <a:pt x="6900980" y="3800261"/>
                </a:cubicBezTo>
                <a:cubicBezTo>
                  <a:pt x="6910749" y="3819799"/>
                  <a:pt x="6920518" y="3829569"/>
                  <a:pt x="6930286" y="3829569"/>
                </a:cubicBezTo>
                <a:cubicBezTo>
                  <a:pt x="6930286" y="3839338"/>
                  <a:pt x="6940055" y="3839338"/>
                  <a:pt x="6940055" y="3849107"/>
                </a:cubicBezTo>
                <a:cubicBezTo>
                  <a:pt x="6940055" y="3849107"/>
                  <a:pt x="6949823" y="3849107"/>
                  <a:pt x="6949823" y="3858877"/>
                </a:cubicBezTo>
                <a:cubicBezTo>
                  <a:pt x="6949823" y="3858877"/>
                  <a:pt x="6959592" y="3868646"/>
                  <a:pt x="6959592" y="3868646"/>
                </a:cubicBezTo>
                <a:cubicBezTo>
                  <a:pt x="6959592" y="3868646"/>
                  <a:pt x="6969361" y="3868646"/>
                  <a:pt x="6969361" y="3868646"/>
                </a:cubicBezTo>
                <a:cubicBezTo>
                  <a:pt x="6969361" y="3878415"/>
                  <a:pt x="6998667" y="3907723"/>
                  <a:pt x="7008435" y="3917493"/>
                </a:cubicBezTo>
                <a:cubicBezTo>
                  <a:pt x="7018204" y="3917493"/>
                  <a:pt x="7018204" y="3927262"/>
                  <a:pt x="7018204" y="3927262"/>
                </a:cubicBezTo>
                <a:cubicBezTo>
                  <a:pt x="7027972" y="3937031"/>
                  <a:pt x="7037741" y="3946800"/>
                  <a:pt x="7037741" y="3946800"/>
                </a:cubicBezTo>
                <a:cubicBezTo>
                  <a:pt x="7047510" y="3946800"/>
                  <a:pt x="7047510" y="3956570"/>
                  <a:pt x="7057278" y="3956570"/>
                </a:cubicBezTo>
                <a:cubicBezTo>
                  <a:pt x="7057278" y="3966339"/>
                  <a:pt x="7067047" y="3976108"/>
                  <a:pt x="7067047" y="3976108"/>
                </a:cubicBezTo>
                <a:cubicBezTo>
                  <a:pt x="7106121" y="4015186"/>
                  <a:pt x="7125658" y="4034724"/>
                  <a:pt x="7115890" y="4034724"/>
                </a:cubicBezTo>
                <a:cubicBezTo>
                  <a:pt x="7115890" y="4034724"/>
                  <a:pt x="7115890" y="4034724"/>
                  <a:pt x="7106121" y="4034724"/>
                </a:cubicBezTo>
                <a:cubicBezTo>
                  <a:pt x="7106121" y="4024955"/>
                  <a:pt x="7096353" y="4015186"/>
                  <a:pt x="7096353" y="4015186"/>
                </a:cubicBezTo>
                <a:cubicBezTo>
                  <a:pt x="7086584" y="4015186"/>
                  <a:pt x="7086584" y="4005416"/>
                  <a:pt x="7086584" y="4005416"/>
                </a:cubicBezTo>
                <a:cubicBezTo>
                  <a:pt x="7086584" y="4005416"/>
                  <a:pt x="7076815" y="3995647"/>
                  <a:pt x="7067047" y="3985878"/>
                </a:cubicBezTo>
                <a:cubicBezTo>
                  <a:pt x="7057278" y="3976108"/>
                  <a:pt x="7047510" y="3966339"/>
                  <a:pt x="7047510" y="3966339"/>
                </a:cubicBezTo>
                <a:cubicBezTo>
                  <a:pt x="7037741" y="3956570"/>
                  <a:pt x="7037741" y="3956570"/>
                  <a:pt x="7027972" y="3946800"/>
                </a:cubicBezTo>
                <a:cubicBezTo>
                  <a:pt x="7018204" y="3946800"/>
                  <a:pt x="7008435" y="3937031"/>
                  <a:pt x="7008435" y="3927262"/>
                </a:cubicBezTo>
                <a:cubicBezTo>
                  <a:pt x="7008435" y="3927262"/>
                  <a:pt x="6998667" y="3917493"/>
                  <a:pt x="6988898" y="3917493"/>
                </a:cubicBezTo>
                <a:cubicBezTo>
                  <a:pt x="6988898" y="3907723"/>
                  <a:pt x="6979129" y="3897954"/>
                  <a:pt x="6969361" y="3897954"/>
                </a:cubicBezTo>
                <a:cubicBezTo>
                  <a:pt x="6969361" y="3897954"/>
                  <a:pt x="6949823" y="3888185"/>
                  <a:pt x="6949823" y="3888185"/>
                </a:cubicBezTo>
                <a:cubicBezTo>
                  <a:pt x="6949823" y="3888185"/>
                  <a:pt x="6959592" y="3888185"/>
                  <a:pt x="6959592" y="3888185"/>
                </a:cubicBezTo>
                <a:cubicBezTo>
                  <a:pt x="6959592" y="3888185"/>
                  <a:pt x="6959592" y="3888185"/>
                  <a:pt x="6949823" y="3878415"/>
                </a:cubicBezTo>
                <a:cubicBezTo>
                  <a:pt x="6949823" y="3878415"/>
                  <a:pt x="6949823" y="3878415"/>
                  <a:pt x="6949823" y="3868646"/>
                </a:cubicBezTo>
                <a:cubicBezTo>
                  <a:pt x="6940055" y="3868646"/>
                  <a:pt x="6940055" y="3868646"/>
                  <a:pt x="6940055" y="3868646"/>
                </a:cubicBezTo>
                <a:cubicBezTo>
                  <a:pt x="6940055" y="3868646"/>
                  <a:pt x="6930286" y="3858877"/>
                  <a:pt x="6930286" y="3849107"/>
                </a:cubicBezTo>
                <a:cubicBezTo>
                  <a:pt x="6920518" y="3849107"/>
                  <a:pt x="6910749" y="3839338"/>
                  <a:pt x="6910749" y="3839338"/>
                </a:cubicBezTo>
                <a:cubicBezTo>
                  <a:pt x="6910749" y="3839338"/>
                  <a:pt x="6920518" y="3849107"/>
                  <a:pt x="6920518" y="3849107"/>
                </a:cubicBezTo>
                <a:cubicBezTo>
                  <a:pt x="6920518" y="3849107"/>
                  <a:pt x="6910749" y="3849107"/>
                  <a:pt x="6910749" y="3849107"/>
                </a:cubicBezTo>
                <a:cubicBezTo>
                  <a:pt x="6910749" y="3849107"/>
                  <a:pt x="6910749" y="3849107"/>
                  <a:pt x="6900980" y="3839338"/>
                </a:cubicBezTo>
                <a:lnTo>
                  <a:pt x="6903902" y="3844451"/>
                </a:lnTo>
                <a:lnTo>
                  <a:pt x="6880222" y="3828347"/>
                </a:lnTo>
                <a:cubicBezTo>
                  <a:pt x="6874117" y="3824684"/>
                  <a:pt x="6871675" y="3824684"/>
                  <a:pt x="6871675" y="3829569"/>
                </a:cubicBezTo>
                <a:cubicBezTo>
                  <a:pt x="6871675" y="3829569"/>
                  <a:pt x="6861906" y="3829569"/>
                  <a:pt x="6861906" y="3829569"/>
                </a:cubicBezTo>
                <a:cubicBezTo>
                  <a:pt x="6861906" y="3829569"/>
                  <a:pt x="6859464" y="3827126"/>
                  <a:pt x="6855800" y="3823463"/>
                </a:cubicBezTo>
                <a:lnTo>
                  <a:pt x="6852137" y="3819799"/>
                </a:lnTo>
                <a:lnTo>
                  <a:pt x="6852137" y="3819799"/>
                </a:lnTo>
                <a:lnTo>
                  <a:pt x="6852137" y="3819799"/>
                </a:lnTo>
                <a:lnTo>
                  <a:pt x="6842369" y="3810030"/>
                </a:lnTo>
                <a:cubicBezTo>
                  <a:pt x="6842369" y="3814915"/>
                  <a:pt x="6842369" y="3817357"/>
                  <a:pt x="6843590" y="3818578"/>
                </a:cubicBezTo>
                <a:lnTo>
                  <a:pt x="6852137" y="3819799"/>
                </a:lnTo>
                <a:lnTo>
                  <a:pt x="6852137" y="3819799"/>
                </a:lnTo>
                <a:lnTo>
                  <a:pt x="6852137" y="3821020"/>
                </a:lnTo>
                <a:cubicBezTo>
                  <a:pt x="6852137" y="3822242"/>
                  <a:pt x="6852137" y="3824684"/>
                  <a:pt x="6852137" y="3829569"/>
                </a:cubicBezTo>
                <a:cubicBezTo>
                  <a:pt x="6852137" y="3829569"/>
                  <a:pt x="6861906" y="3839338"/>
                  <a:pt x="6861906" y="3839338"/>
                </a:cubicBezTo>
                <a:cubicBezTo>
                  <a:pt x="6852137" y="3839338"/>
                  <a:pt x="6842369" y="3829569"/>
                  <a:pt x="6832600" y="3819799"/>
                </a:cubicBezTo>
                <a:cubicBezTo>
                  <a:pt x="6832600" y="3819799"/>
                  <a:pt x="6813063" y="3800261"/>
                  <a:pt x="6803294" y="3790492"/>
                </a:cubicBezTo>
                <a:cubicBezTo>
                  <a:pt x="6783757" y="3780722"/>
                  <a:pt x="6764220" y="3761184"/>
                  <a:pt x="6754451" y="3751414"/>
                </a:cubicBezTo>
                <a:cubicBezTo>
                  <a:pt x="6754451" y="3741645"/>
                  <a:pt x="6734914" y="3731876"/>
                  <a:pt x="6725145" y="3722106"/>
                </a:cubicBezTo>
                <a:cubicBezTo>
                  <a:pt x="6725145" y="3712337"/>
                  <a:pt x="6715377" y="3712337"/>
                  <a:pt x="6715377" y="3712337"/>
                </a:cubicBezTo>
                <a:cubicBezTo>
                  <a:pt x="6715377" y="3712337"/>
                  <a:pt x="6705608" y="3702568"/>
                  <a:pt x="6705608" y="3702568"/>
                </a:cubicBezTo>
                <a:cubicBezTo>
                  <a:pt x="6695840" y="3692798"/>
                  <a:pt x="6686071" y="3692798"/>
                  <a:pt x="6686071" y="3683029"/>
                </a:cubicBezTo>
                <a:cubicBezTo>
                  <a:pt x="6676302" y="3673260"/>
                  <a:pt x="6676302" y="3673260"/>
                  <a:pt x="6676302" y="3673260"/>
                </a:cubicBezTo>
                <a:cubicBezTo>
                  <a:pt x="6676302" y="3663491"/>
                  <a:pt x="6666534" y="3663491"/>
                  <a:pt x="6666534" y="3663491"/>
                </a:cubicBezTo>
                <a:lnTo>
                  <a:pt x="6658026" y="3655928"/>
                </a:lnTo>
                <a:lnTo>
                  <a:pt x="6656765" y="3653721"/>
                </a:lnTo>
                <a:lnTo>
                  <a:pt x="6651181" y="3651394"/>
                </a:lnTo>
                <a:lnTo>
                  <a:pt x="6639352" y="3645085"/>
                </a:lnTo>
                <a:lnTo>
                  <a:pt x="6637094" y="3643015"/>
                </a:lnTo>
                <a:lnTo>
                  <a:pt x="6636007" y="3635404"/>
                </a:lnTo>
                <a:lnTo>
                  <a:pt x="6627459" y="3634183"/>
                </a:lnTo>
                <a:lnTo>
                  <a:pt x="6617691" y="3624413"/>
                </a:lnTo>
                <a:cubicBezTo>
                  <a:pt x="6617691" y="3624413"/>
                  <a:pt x="6617691" y="3634183"/>
                  <a:pt x="6627459" y="3634183"/>
                </a:cubicBezTo>
                <a:cubicBezTo>
                  <a:pt x="6632343" y="3639068"/>
                  <a:pt x="6634786" y="3641510"/>
                  <a:pt x="6636007" y="3643952"/>
                </a:cubicBezTo>
                <a:lnTo>
                  <a:pt x="6637228" y="3653721"/>
                </a:lnTo>
                <a:lnTo>
                  <a:pt x="6633565" y="3650058"/>
                </a:lnTo>
                <a:cubicBezTo>
                  <a:pt x="6629901" y="3646394"/>
                  <a:pt x="6627459" y="3643952"/>
                  <a:pt x="6627459" y="3643952"/>
                </a:cubicBezTo>
                <a:cubicBezTo>
                  <a:pt x="6617691" y="3634183"/>
                  <a:pt x="6598153" y="3624413"/>
                  <a:pt x="6588385" y="3614644"/>
                </a:cubicBezTo>
                <a:cubicBezTo>
                  <a:pt x="6588385" y="3614644"/>
                  <a:pt x="6598153" y="3624413"/>
                  <a:pt x="6598153" y="3624413"/>
                </a:cubicBezTo>
                <a:cubicBezTo>
                  <a:pt x="6607922" y="3634183"/>
                  <a:pt x="6607922" y="3634183"/>
                  <a:pt x="6617691" y="3643952"/>
                </a:cubicBezTo>
                <a:cubicBezTo>
                  <a:pt x="6617691" y="3643952"/>
                  <a:pt x="6627459" y="3653721"/>
                  <a:pt x="6637228" y="3663491"/>
                </a:cubicBezTo>
                <a:cubicBezTo>
                  <a:pt x="6646997" y="3673260"/>
                  <a:pt x="6656765" y="3683029"/>
                  <a:pt x="6656765" y="3683029"/>
                </a:cubicBezTo>
                <a:cubicBezTo>
                  <a:pt x="6676302" y="3692798"/>
                  <a:pt x="6695840" y="3712337"/>
                  <a:pt x="6695840" y="3722106"/>
                </a:cubicBezTo>
                <a:cubicBezTo>
                  <a:pt x="6705608" y="3722106"/>
                  <a:pt x="6705608" y="3722106"/>
                  <a:pt x="6705608" y="3731876"/>
                </a:cubicBezTo>
                <a:cubicBezTo>
                  <a:pt x="6715377" y="3731876"/>
                  <a:pt x="6715377" y="3731876"/>
                  <a:pt x="6715377" y="3731876"/>
                </a:cubicBezTo>
                <a:cubicBezTo>
                  <a:pt x="6715377" y="3731876"/>
                  <a:pt x="6715377" y="3741645"/>
                  <a:pt x="6715377" y="3741645"/>
                </a:cubicBezTo>
                <a:cubicBezTo>
                  <a:pt x="6725145" y="3741645"/>
                  <a:pt x="6725145" y="3741645"/>
                  <a:pt x="6725145" y="3751414"/>
                </a:cubicBezTo>
                <a:cubicBezTo>
                  <a:pt x="6734914" y="3751414"/>
                  <a:pt x="6744683" y="3761184"/>
                  <a:pt x="6754451" y="3770953"/>
                </a:cubicBezTo>
                <a:cubicBezTo>
                  <a:pt x="6773988" y="3780722"/>
                  <a:pt x="6773988" y="3790492"/>
                  <a:pt x="6773988" y="3790492"/>
                </a:cubicBezTo>
                <a:cubicBezTo>
                  <a:pt x="6764220" y="3790492"/>
                  <a:pt x="6773988" y="3790492"/>
                  <a:pt x="6773988" y="3800261"/>
                </a:cubicBezTo>
                <a:cubicBezTo>
                  <a:pt x="6783757" y="3800261"/>
                  <a:pt x="6783757" y="3810030"/>
                  <a:pt x="6783757" y="3810030"/>
                </a:cubicBezTo>
                <a:cubicBezTo>
                  <a:pt x="6803294" y="3819799"/>
                  <a:pt x="6822832" y="3839338"/>
                  <a:pt x="6822832" y="3849107"/>
                </a:cubicBezTo>
                <a:cubicBezTo>
                  <a:pt x="6832600" y="3858877"/>
                  <a:pt x="6852137" y="3878415"/>
                  <a:pt x="6861906" y="3878415"/>
                </a:cubicBezTo>
                <a:cubicBezTo>
                  <a:pt x="6861906" y="3878415"/>
                  <a:pt x="6871675" y="3888185"/>
                  <a:pt x="6871675" y="3897954"/>
                </a:cubicBezTo>
                <a:cubicBezTo>
                  <a:pt x="6881443" y="3907723"/>
                  <a:pt x="6881443" y="3907723"/>
                  <a:pt x="6881443" y="3907723"/>
                </a:cubicBezTo>
                <a:cubicBezTo>
                  <a:pt x="6871675" y="3907723"/>
                  <a:pt x="6871675" y="3907723"/>
                  <a:pt x="6871675" y="3907723"/>
                </a:cubicBezTo>
                <a:cubicBezTo>
                  <a:pt x="6871675" y="3907723"/>
                  <a:pt x="6871675" y="3897954"/>
                  <a:pt x="6861906" y="3897954"/>
                </a:cubicBezTo>
                <a:cubicBezTo>
                  <a:pt x="6861906" y="3897954"/>
                  <a:pt x="6852137" y="3888185"/>
                  <a:pt x="6852137" y="3878415"/>
                </a:cubicBezTo>
                <a:cubicBezTo>
                  <a:pt x="6822832" y="3858877"/>
                  <a:pt x="6803294" y="3839338"/>
                  <a:pt x="6773988" y="3810030"/>
                </a:cubicBezTo>
                <a:cubicBezTo>
                  <a:pt x="6754451" y="3790492"/>
                  <a:pt x="6754451" y="3790492"/>
                  <a:pt x="6754451" y="3790492"/>
                </a:cubicBezTo>
                <a:cubicBezTo>
                  <a:pt x="6725145" y="3780722"/>
                  <a:pt x="6725145" y="3780722"/>
                  <a:pt x="6725145" y="3780722"/>
                </a:cubicBezTo>
                <a:cubicBezTo>
                  <a:pt x="6725145" y="3770953"/>
                  <a:pt x="6715377" y="3770953"/>
                  <a:pt x="6705608" y="3770953"/>
                </a:cubicBezTo>
                <a:cubicBezTo>
                  <a:pt x="6705608" y="3770953"/>
                  <a:pt x="6705608" y="3770953"/>
                  <a:pt x="6695840" y="3770953"/>
                </a:cubicBezTo>
                <a:cubicBezTo>
                  <a:pt x="6695840" y="3770953"/>
                  <a:pt x="6695840" y="3761184"/>
                  <a:pt x="6686071" y="3761184"/>
                </a:cubicBezTo>
                <a:cubicBezTo>
                  <a:pt x="6676302" y="3751414"/>
                  <a:pt x="6676302" y="3751414"/>
                  <a:pt x="6676302" y="3751414"/>
                </a:cubicBezTo>
                <a:cubicBezTo>
                  <a:pt x="6686071" y="3751414"/>
                  <a:pt x="6686071" y="3751414"/>
                  <a:pt x="6686071" y="3751414"/>
                </a:cubicBezTo>
                <a:cubicBezTo>
                  <a:pt x="6695840" y="3751414"/>
                  <a:pt x="6695840" y="3751414"/>
                  <a:pt x="6695840" y="3751414"/>
                </a:cubicBezTo>
                <a:cubicBezTo>
                  <a:pt x="6705608" y="3761184"/>
                  <a:pt x="6715377" y="3770953"/>
                  <a:pt x="6725145" y="3770953"/>
                </a:cubicBezTo>
                <a:cubicBezTo>
                  <a:pt x="6725145" y="3761184"/>
                  <a:pt x="6725145" y="3761184"/>
                  <a:pt x="6725145" y="3761184"/>
                </a:cubicBezTo>
                <a:cubicBezTo>
                  <a:pt x="6705608" y="3751414"/>
                  <a:pt x="6686071" y="3731876"/>
                  <a:pt x="6676302" y="3722106"/>
                </a:cubicBezTo>
                <a:cubicBezTo>
                  <a:pt x="6676302" y="3722106"/>
                  <a:pt x="6676302" y="3722106"/>
                  <a:pt x="6666534" y="3722106"/>
                </a:cubicBezTo>
                <a:cubicBezTo>
                  <a:pt x="6666534" y="3712337"/>
                  <a:pt x="6666534" y="3712337"/>
                  <a:pt x="6666534" y="3712337"/>
                </a:cubicBezTo>
                <a:cubicBezTo>
                  <a:pt x="6666534" y="3722106"/>
                  <a:pt x="6646997" y="3702568"/>
                  <a:pt x="6637228" y="3702568"/>
                </a:cubicBezTo>
                <a:cubicBezTo>
                  <a:pt x="6637228" y="3702568"/>
                  <a:pt x="6637228" y="3692798"/>
                  <a:pt x="6627459" y="3692798"/>
                </a:cubicBezTo>
                <a:cubicBezTo>
                  <a:pt x="6627459" y="3683029"/>
                  <a:pt x="6617691" y="3683029"/>
                  <a:pt x="6617691" y="3683029"/>
                </a:cubicBezTo>
                <a:cubicBezTo>
                  <a:pt x="6617691" y="3692798"/>
                  <a:pt x="6617691" y="3692798"/>
                  <a:pt x="6617691" y="3692798"/>
                </a:cubicBezTo>
                <a:cubicBezTo>
                  <a:pt x="6617691" y="3692798"/>
                  <a:pt x="6617691" y="3692798"/>
                  <a:pt x="6607922" y="3692798"/>
                </a:cubicBezTo>
                <a:cubicBezTo>
                  <a:pt x="6607922" y="3692798"/>
                  <a:pt x="6607922" y="3683029"/>
                  <a:pt x="6598153" y="3683029"/>
                </a:cubicBezTo>
                <a:cubicBezTo>
                  <a:pt x="6588385" y="3673260"/>
                  <a:pt x="6588385" y="3673260"/>
                  <a:pt x="6588385" y="3683029"/>
                </a:cubicBezTo>
                <a:cubicBezTo>
                  <a:pt x="6588385" y="3683029"/>
                  <a:pt x="6588385" y="3683029"/>
                  <a:pt x="6578616" y="3673260"/>
                </a:cubicBezTo>
                <a:cubicBezTo>
                  <a:pt x="6568848" y="3663491"/>
                  <a:pt x="6549310" y="3653721"/>
                  <a:pt x="6549310" y="3653721"/>
                </a:cubicBezTo>
                <a:cubicBezTo>
                  <a:pt x="6549310" y="3653721"/>
                  <a:pt x="6529773" y="3634183"/>
                  <a:pt x="6500467" y="3614644"/>
                </a:cubicBezTo>
                <a:cubicBezTo>
                  <a:pt x="6490699" y="3604875"/>
                  <a:pt x="6490699" y="3604875"/>
                  <a:pt x="6490699" y="3604875"/>
                </a:cubicBezTo>
                <a:cubicBezTo>
                  <a:pt x="6490699" y="3614644"/>
                  <a:pt x="6500467" y="3614644"/>
                  <a:pt x="6500467" y="3614644"/>
                </a:cubicBezTo>
                <a:cubicBezTo>
                  <a:pt x="6500467" y="3614644"/>
                  <a:pt x="6510236" y="3624413"/>
                  <a:pt x="6510236" y="3624413"/>
                </a:cubicBezTo>
                <a:cubicBezTo>
                  <a:pt x="6520005" y="3624413"/>
                  <a:pt x="6520005" y="3634183"/>
                  <a:pt x="6520005" y="3634183"/>
                </a:cubicBezTo>
                <a:cubicBezTo>
                  <a:pt x="6520005" y="3634183"/>
                  <a:pt x="6520005" y="3634183"/>
                  <a:pt x="6529773" y="3643952"/>
                </a:cubicBezTo>
                <a:cubicBezTo>
                  <a:pt x="6549310" y="3663491"/>
                  <a:pt x="6559079" y="3673260"/>
                  <a:pt x="6568848" y="3683029"/>
                </a:cubicBezTo>
                <a:cubicBezTo>
                  <a:pt x="6573732" y="3687914"/>
                  <a:pt x="6578616" y="3692798"/>
                  <a:pt x="6583501" y="3696462"/>
                </a:cubicBezTo>
                <a:lnTo>
                  <a:pt x="6591873" y="3699951"/>
                </a:lnTo>
                <a:lnTo>
                  <a:pt x="6588385" y="3702568"/>
                </a:lnTo>
                <a:cubicBezTo>
                  <a:pt x="6588385" y="3702568"/>
                  <a:pt x="6588385" y="3702568"/>
                  <a:pt x="6598153" y="3702568"/>
                </a:cubicBezTo>
                <a:cubicBezTo>
                  <a:pt x="6607922" y="3712337"/>
                  <a:pt x="6607922" y="3712337"/>
                  <a:pt x="6607922" y="3722106"/>
                </a:cubicBezTo>
                <a:cubicBezTo>
                  <a:pt x="6607922" y="3722106"/>
                  <a:pt x="6617691" y="3731876"/>
                  <a:pt x="6637228" y="3741645"/>
                </a:cubicBezTo>
                <a:cubicBezTo>
                  <a:pt x="6666534" y="3761184"/>
                  <a:pt x="6676302" y="3770953"/>
                  <a:pt x="6676302" y="3780722"/>
                </a:cubicBezTo>
                <a:cubicBezTo>
                  <a:pt x="6676302" y="3780722"/>
                  <a:pt x="6686071" y="3780722"/>
                  <a:pt x="6686071" y="3790492"/>
                </a:cubicBezTo>
                <a:cubicBezTo>
                  <a:pt x="6695840" y="3790492"/>
                  <a:pt x="6695840" y="3790492"/>
                  <a:pt x="6695840" y="3800261"/>
                </a:cubicBezTo>
                <a:cubicBezTo>
                  <a:pt x="6695840" y="3800261"/>
                  <a:pt x="6705608" y="3810030"/>
                  <a:pt x="6725145" y="3819799"/>
                </a:cubicBezTo>
                <a:cubicBezTo>
                  <a:pt x="6734914" y="3829569"/>
                  <a:pt x="6773988" y="3868646"/>
                  <a:pt x="6773988" y="3868646"/>
                </a:cubicBezTo>
                <a:cubicBezTo>
                  <a:pt x="6773988" y="3868646"/>
                  <a:pt x="6783757" y="3878415"/>
                  <a:pt x="6783757" y="3878415"/>
                </a:cubicBezTo>
                <a:cubicBezTo>
                  <a:pt x="6773988" y="3878415"/>
                  <a:pt x="6773988" y="3878415"/>
                  <a:pt x="6764220" y="3868646"/>
                </a:cubicBezTo>
                <a:cubicBezTo>
                  <a:pt x="6764220" y="3868646"/>
                  <a:pt x="6764220" y="3868646"/>
                  <a:pt x="6754451" y="3868646"/>
                </a:cubicBezTo>
                <a:cubicBezTo>
                  <a:pt x="6754451" y="3858877"/>
                  <a:pt x="6744683" y="3858877"/>
                  <a:pt x="6744683" y="3858877"/>
                </a:cubicBezTo>
                <a:cubicBezTo>
                  <a:pt x="6744683" y="3849107"/>
                  <a:pt x="6705608" y="3810030"/>
                  <a:pt x="6695840" y="3810030"/>
                </a:cubicBezTo>
                <a:cubicBezTo>
                  <a:pt x="6695840" y="3800261"/>
                  <a:pt x="6686071" y="3790492"/>
                  <a:pt x="6656765" y="3761184"/>
                </a:cubicBezTo>
                <a:cubicBezTo>
                  <a:pt x="6642112" y="3753857"/>
                  <a:pt x="6632954" y="3752025"/>
                  <a:pt x="6612806" y="3735081"/>
                </a:cubicBezTo>
                <a:lnTo>
                  <a:pt x="6588389" y="3712341"/>
                </a:lnTo>
                <a:lnTo>
                  <a:pt x="6568848" y="3692798"/>
                </a:lnTo>
                <a:cubicBezTo>
                  <a:pt x="6578616" y="3702568"/>
                  <a:pt x="6578616" y="3702568"/>
                  <a:pt x="6588385" y="3712337"/>
                </a:cubicBezTo>
                <a:lnTo>
                  <a:pt x="6588389" y="3712341"/>
                </a:lnTo>
                <a:lnTo>
                  <a:pt x="6598153" y="3722106"/>
                </a:lnTo>
                <a:cubicBezTo>
                  <a:pt x="6598153" y="3731876"/>
                  <a:pt x="6617691" y="3751414"/>
                  <a:pt x="6627459" y="3751414"/>
                </a:cubicBezTo>
                <a:cubicBezTo>
                  <a:pt x="6627459" y="3751414"/>
                  <a:pt x="6627459" y="3751414"/>
                  <a:pt x="6627459" y="3761184"/>
                </a:cubicBezTo>
                <a:cubicBezTo>
                  <a:pt x="6627459" y="3761184"/>
                  <a:pt x="6629901" y="3763626"/>
                  <a:pt x="6632343" y="3767290"/>
                </a:cubicBezTo>
                <a:lnTo>
                  <a:pt x="6634016" y="3771890"/>
                </a:lnTo>
                <a:lnTo>
                  <a:pt x="6627459" y="3770953"/>
                </a:lnTo>
                <a:cubicBezTo>
                  <a:pt x="6627459" y="3770953"/>
                  <a:pt x="6617691" y="3761184"/>
                  <a:pt x="6617691" y="3761184"/>
                </a:cubicBezTo>
                <a:cubicBezTo>
                  <a:pt x="6617691" y="3761184"/>
                  <a:pt x="6617691" y="3761184"/>
                  <a:pt x="6617691" y="3751414"/>
                </a:cubicBezTo>
                <a:cubicBezTo>
                  <a:pt x="6617691" y="3761184"/>
                  <a:pt x="6607922" y="3761184"/>
                  <a:pt x="6607922" y="3751414"/>
                </a:cubicBezTo>
                <a:cubicBezTo>
                  <a:pt x="6598153" y="3751414"/>
                  <a:pt x="6598153" y="3761184"/>
                  <a:pt x="6607922" y="3761184"/>
                </a:cubicBezTo>
                <a:cubicBezTo>
                  <a:pt x="6617691" y="3770953"/>
                  <a:pt x="6617691" y="3770953"/>
                  <a:pt x="6627459" y="3780722"/>
                </a:cubicBezTo>
                <a:cubicBezTo>
                  <a:pt x="6627459" y="3780722"/>
                  <a:pt x="6637228" y="3780722"/>
                  <a:pt x="6637228" y="3790492"/>
                </a:cubicBezTo>
                <a:cubicBezTo>
                  <a:pt x="6637228" y="3790492"/>
                  <a:pt x="6646997" y="3800261"/>
                  <a:pt x="6646997" y="3800261"/>
                </a:cubicBezTo>
                <a:cubicBezTo>
                  <a:pt x="6656765" y="3810030"/>
                  <a:pt x="6666534" y="3819799"/>
                  <a:pt x="6666534" y="3819799"/>
                </a:cubicBezTo>
                <a:cubicBezTo>
                  <a:pt x="6676302" y="3819799"/>
                  <a:pt x="6686071" y="3829569"/>
                  <a:pt x="6686071" y="3839338"/>
                </a:cubicBezTo>
                <a:cubicBezTo>
                  <a:pt x="6686071" y="3839338"/>
                  <a:pt x="6695840" y="3858877"/>
                  <a:pt x="6705608" y="3849107"/>
                </a:cubicBezTo>
                <a:cubicBezTo>
                  <a:pt x="6705608" y="3849107"/>
                  <a:pt x="6705608" y="3849107"/>
                  <a:pt x="6715377" y="3858877"/>
                </a:cubicBezTo>
                <a:cubicBezTo>
                  <a:pt x="6715377" y="3858877"/>
                  <a:pt x="6715377" y="3858877"/>
                  <a:pt x="6705608" y="3858877"/>
                </a:cubicBezTo>
                <a:cubicBezTo>
                  <a:pt x="6715377" y="3868646"/>
                  <a:pt x="6715377" y="3868646"/>
                  <a:pt x="6715377" y="3868646"/>
                </a:cubicBezTo>
                <a:cubicBezTo>
                  <a:pt x="6715377" y="3868646"/>
                  <a:pt x="6725145" y="3868646"/>
                  <a:pt x="6725145" y="3868646"/>
                </a:cubicBezTo>
                <a:cubicBezTo>
                  <a:pt x="6725145" y="3868646"/>
                  <a:pt x="6734914" y="3868646"/>
                  <a:pt x="6734914" y="3878415"/>
                </a:cubicBezTo>
                <a:cubicBezTo>
                  <a:pt x="6734914" y="3878415"/>
                  <a:pt x="6734914" y="3878415"/>
                  <a:pt x="6736135" y="3878415"/>
                </a:cubicBezTo>
                <a:lnTo>
                  <a:pt x="6739799" y="3878415"/>
                </a:lnTo>
                <a:cubicBezTo>
                  <a:pt x="6742241" y="3878415"/>
                  <a:pt x="6744683" y="3878415"/>
                  <a:pt x="6744683" y="3878415"/>
                </a:cubicBezTo>
                <a:cubicBezTo>
                  <a:pt x="6744683" y="3888185"/>
                  <a:pt x="6754451" y="3888185"/>
                  <a:pt x="6754451" y="3897954"/>
                </a:cubicBezTo>
                <a:cubicBezTo>
                  <a:pt x="6754451" y="3907723"/>
                  <a:pt x="6754451" y="3907723"/>
                  <a:pt x="6764220" y="3907723"/>
                </a:cubicBezTo>
                <a:cubicBezTo>
                  <a:pt x="6764220" y="3907723"/>
                  <a:pt x="6773988" y="3917493"/>
                  <a:pt x="6773988" y="3917493"/>
                </a:cubicBezTo>
                <a:cubicBezTo>
                  <a:pt x="6783757" y="3927262"/>
                  <a:pt x="6793526" y="3937031"/>
                  <a:pt x="6793526" y="3937031"/>
                </a:cubicBezTo>
                <a:cubicBezTo>
                  <a:pt x="6803294" y="3946800"/>
                  <a:pt x="6803294" y="3946800"/>
                  <a:pt x="6803294" y="3946800"/>
                </a:cubicBezTo>
                <a:cubicBezTo>
                  <a:pt x="6803294" y="3946800"/>
                  <a:pt x="6813063" y="3956570"/>
                  <a:pt x="6813063" y="3956570"/>
                </a:cubicBezTo>
                <a:cubicBezTo>
                  <a:pt x="6822832" y="3966339"/>
                  <a:pt x="6822832" y="3966339"/>
                  <a:pt x="6832600" y="3976108"/>
                </a:cubicBezTo>
                <a:cubicBezTo>
                  <a:pt x="6822832" y="3976108"/>
                  <a:pt x="6822832" y="3976108"/>
                  <a:pt x="6822832" y="3976108"/>
                </a:cubicBezTo>
                <a:cubicBezTo>
                  <a:pt x="6822832" y="3976108"/>
                  <a:pt x="6822832" y="3966339"/>
                  <a:pt x="6813063" y="3966339"/>
                </a:cubicBezTo>
                <a:cubicBezTo>
                  <a:pt x="6813063" y="3966339"/>
                  <a:pt x="6803294" y="3956570"/>
                  <a:pt x="6803294" y="3956570"/>
                </a:cubicBezTo>
                <a:cubicBezTo>
                  <a:pt x="6803294" y="3956570"/>
                  <a:pt x="6803294" y="3956570"/>
                  <a:pt x="6793526" y="3946800"/>
                </a:cubicBezTo>
                <a:cubicBezTo>
                  <a:pt x="6793526" y="3946800"/>
                  <a:pt x="6793526" y="3946800"/>
                  <a:pt x="6783757" y="3937031"/>
                </a:cubicBezTo>
                <a:cubicBezTo>
                  <a:pt x="6783757" y="3937031"/>
                  <a:pt x="6773988" y="3927262"/>
                  <a:pt x="6764220" y="3927262"/>
                </a:cubicBezTo>
                <a:cubicBezTo>
                  <a:pt x="6764220" y="3917493"/>
                  <a:pt x="6754451" y="3907723"/>
                  <a:pt x="6754451" y="3907723"/>
                </a:cubicBezTo>
                <a:cubicBezTo>
                  <a:pt x="6754451" y="3907723"/>
                  <a:pt x="6744683" y="3907723"/>
                  <a:pt x="6744683" y="3897954"/>
                </a:cubicBezTo>
                <a:cubicBezTo>
                  <a:pt x="6734914" y="3888185"/>
                  <a:pt x="6734914" y="3888185"/>
                  <a:pt x="6734914" y="3888185"/>
                </a:cubicBezTo>
                <a:cubicBezTo>
                  <a:pt x="6734914" y="3888185"/>
                  <a:pt x="6725145" y="3888185"/>
                  <a:pt x="6725145" y="3888185"/>
                </a:cubicBezTo>
                <a:cubicBezTo>
                  <a:pt x="6725145" y="3888185"/>
                  <a:pt x="6686071" y="3858877"/>
                  <a:pt x="6676302" y="3849107"/>
                </a:cubicBezTo>
                <a:cubicBezTo>
                  <a:pt x="6676302" y="3849107"/>
                  <a:pt x="6666534" y="3839338"/>
                  <a:pt x="6656765" y="3829569"/>
                </a:cubicBezTo>
                <a:cubicBezTo>
                  <a:pt x="6656765" y="3819799"/>
                  <a:pt x="6637228" y="3810030"/>
                  <a:pt x="6637228" y="3810030"/>
                </a:cubicBezTo>
                <a:cubicBezTo>
                  <a:pt x="6627459" y="3800261"/>
                  <a:pt x="6617691" y="3800261"/>
                  <a:pt x="6617691" y="3790492"/>
                </a:cubicBezTo>
                <a:cubicBezTo>
                  <a:pt x="6617691" y="3790492"/>
                  <a:pt x="6598153" y="3770953"/>
                  <a:pt x="6588385" y="3761184"/>
                </a:cubicBezTo>
                <a:cubicBezTo>
                  <a:pt x="6568848" y="3751414"/>
                  <a:pt x="6559079" y="3731876"/>
                  <a:pt x="6549310" y="3731876"/>
                </a:cubicBezTo>
                <a:cubicBezTo>
                  <a:pt x="6549310" y="3731876"/>
                  <a:pt x="6529773" y="3712337"/>
                  <a:pt x="6520005" y="3702568"/>
                </a:cubicBezTo>
                <a:cubicBezTo>
                  <a:pt x="6510236" y="3702568"/>
                  <a:pt x="6510236" y="3702568"/>
                  <a:pt x="6510236" y="3702568"/>
                </a:cubicBezTo>
                <a:cubicBezTo>
                  <a:pt x="6505352" y="3697683"/>
                  <a:pt x="6500467" y="3692798"/>
                  <a:pt x="6494362" y="3687914"/>
                </a:cubicBezTo>
                <a:lnTo>
                  <a:pt x="6477713" y="3677398"/>
                </a:lnTo>
                <a:lnTo>
                  <a:pt x="6476046" y="3674481"/>
                </a:lnTo>
                <a:cubicBezTo>
                  <a:pt x="6473604" y="3673260"/>
                  <a:pt x="6471162" y="3673260"/>
                  <a:pt x="6471162" y="3673260"/>
                </a:cubicBezTo>
                <a:lnTo>
                  <a:pt x="6477713" y="3677398"/>
                </a:lnTo>
                <a:lnTo>
                  <a:pt x="6480930" y="3683029"/>
                </a:lnTo>
                <a:cubicBezTo>
                  <a:pt x="6490699" y="3683029"/>
                  <a:pt x="6500467" y="3692798"/>
                  <a:pt x="6500467" y="3702568"/>
                </a:cubicBezTo>
                <a:cubicBezTo>
                  <a:pt x="6510236" y="3712337"/>
                  <a:pt x="6520005" y="3712337"/>
                  <a:pt x="6520005" y="3722106"/>
                </a:cubicBezTo>
                <a:cubicBezTo>
                  <a:pt x="6529773" y="3722106"/>
                  <a:pt x="6529773" y="3731876"/>
                  <a:pt x="6529773" y="3731876"/>
                </a:cubicBezTo>
                <a:cubicBezTo>
                  <a:pt x="6539542" y="3731876"/>
                  <a:pt x="6539542" y="3741645"/>
                  <a:pt x="6539542" y="3741645"/>
                </a:cubicBezTo>
                <a:cubicBezTo>
                  <a:pt x="6539542" y="3741645"/>
                  <a:pt x="6539542" y="3741645"/>
                  <a:pt x="6549310" y="3741645"/>
                </a:cubicBezTo>
                <a:cubicBezTo>
                  <a:pt x="6549310" y="3741645"/>
                  <a:pt x="6549310" y="3751414"/>
                  <a:pt x="6559079" y="3761184"/>
                </a:cubicBezTo>
                <a:cubicBezTo>
                  <a:pt x="6559079" y="3761184"/>
                  <a:pt x="6568848" y="3770953"/>
                  <a:pt x="6578616" y="3770953"/>
                </a:cubicBezTo>
                <a:cubicBezTo>
                  <a:pt x="6578616" y="3770953"/>
                  <a:pt x="6588385" y="3780722"/>
                  <a:pt x="6598153" y="3790492"/>
                </a:cubicBezTo>
                <a:cubicBezTo>
                  <a:pt x="6607922" y="3800261"/>
                  <a:pt x="6617691" y="3819799"/>
                  <a:pt x="6617691" y="3819799"/>
                </a:cubicBezTo>
                <a:cubicBezTo>
                  <a:pt x="6627459" y="3819799"/>
                  <a:pt x="6627459" y="3829569"/>
                  <a:pt x="6637228" y="3829569"/>
                </a:cubicBezTo>
                <a:cubicBezTo>
                  <a:pt x="6637228" y="3839338"/>
                  <a:pt x="6637228" y="3839338"/>
                  <a:pt x="6637228" y="3839338"/>
                </a:cubicBezTo>
                <a:cubicBezTo>
                  <a:pt x="6646997" y="3849107"/>
                  <a:pt x="6666534" y="3868646"/>
                  <a:pt x="6666534" y="3868646"/>
                </a:cubicBezTo>
                <a:cubicBezTo>
                  <a:pt x="6666534" y="3868646"/>
                  <a:pt x="6666534" y="3868646"/>
                  <a:pt x="6676302" y="3878415"/>
                </a:cubicBezTo>
                <a:cubicBezTo>
                  <a:pt x="6676302" y="3888185"/>
                  <a:pt x="6686071" y="3888185"/>
                  <a:pt x="6695840" y="3897954"/>
                </a:cubicBezTo>
                <a:cubicBezTo>
                  <a:pt x="6705608" y="3907723"/>
                  <a:pt x="6705608" y="3907723"/>
                  <a:pt x="6705608" y="3907723"/>
                </a:cubicBezTo>
                <a:cubicBezTo>
                  <a:pt x="6715377" y="3917493"/>
                  <a:pt x="6715377" y="3917493"/>
                  <a:pt x="6715377" y="3917493"/>
                </a:cubicBezTo>
                <a:cubicBezTo>
                  <a:pt x="6715377" y="3922378"/>
                  <a:pt x="6715377" y="3924820"/>
                  <a:pt x="6715377" y="3924820"/>
                </a:cubicBezTo>
                <a:lnTo>
                  <a:pt x="6715377" y="3926041"/>
                </a:lnTo>
                <a:cubicBezTo>
                  <a:pt x="6715377" y="3927262"/>
                  <a:pt x="6715377" y="3927262"/>
                  <a:pt x="6715377" y="3927262"/>
                </a:cubicBezTo>
                <a:cubicBezTo>
                  <a:pt x="6725145" y="3937031"/>
                  <a:pt x="6725145" y="3937031"/>
                  <a:pt x="6725145" y="3937031"/>
                </a:cubicBezTo>
                <a:cubicBezTo>
                  <a:pt x="6725145" y="3946800"/>
                  <a:pt x="6734914" y="3956570"/>
                  <a:pt x="6744683" y="3956570"/>
                </a:cubicBezTo>
                <a:cubicBezTo>
                  <a:pt x="6754451" y="3966339"/>
                  <a:pt x="6764220" y="3976108"/>
                  <a:pt x="6764220" y="3985878"/>
                </a:cubicBezTo>
                <a:cubicBezTo>
                  <a:pt x="6764220" y="3985878"/>
                  <a:pt x="6754451" y="3985878"/>
                  <a:pt x="6754451" y="3976108"/>
                </a:cubicBezTo>
                <a:cubicBezTo>
                  <a:pt x="6754451" y="3976108"/>
                  <a:pt x="6744683" y="3966339"/>
                  <a:pt x="6734914" y="3966339"/>
                </a:cubicBezTo>
                <a:cubicBezTo>
                  <a:pt x="6734914" y="3966339"/>
                  <a:pt x="6725145" y="3956570"/>
                  <a:pt x="6725145" y="3956570"/>
                </a:cubicBezTo>
                <a:cubicBezTo>
                  <a:pt x="6715377" y="3946800"/>
                  <a:pt x="6715377" y="3946800"/>
                  <a:pt x="6715377" y="3946800"/>
                </a:cubicBezTo>
                <a:cubicBezTo>
                  <a:pt x="6705608" y="3946800"/>
                  <a:pt x="6705608" y="3937031"/>
                  <a:pt x="6705608" y="3937031"/>
                </a:cubicBezTo>
                <a:cubicBezTo>
                  <a:pt x="6715377" y="3937031"/>
                  <a:pt x="6705608" y="3927262"/>
                  <a:pt x="6695840" y="3917493"/>
                </a:cubicBezTo>
                <a:cubicBezTo>
                  <a:pt x="6695840" y="3917493"/>
                  <a:pt x="6686071" y="3907723"/>
                  <a:pt x="6676302" y="3897954"/>
                </a:cubicBezTo>
                <a:cubicBezTo>
                  <a:pt x="6666534" y="3878415"/>
                  <a:pt x="6646997" y="3868646"/>
                  <a:pt x="6646997" y="3868646"/>
                </a:cubicBezTo>
                <a:cubicBezTo>
                  <a:pt x="6646997" y="3868646"/>
                  <a:pt x="6646997" y="3878415"/>
                  <a:pt x="6646997" y="3878415"/>
                </a:cubicBezTo>
                <a:cubicBezTo>
                  <a:pt x="6656765" y="3878415"/>
                  <a:pt x="6656765" y="3888185"/>
                  <a:pt x="6666534" y="3888185"/>
                </a:cubicBezTo>
                <a:cubicBezTo>
                  <a:pt x="6666534" y="3897954"/>
                  <a:pt x="6666534" y="3897954"/>
                  <a:pt x="6676302" y="3907723"/>
                </a:cubicBezTo>
                <a:cubicBezTo>
                  <a:pt x="6676302" y="3907723"/>
                  <a:pt x="6686071" y="3907723"/>
                  <a:pt x="6676302" y="3917493"/>
                </a:cubicBezTo>
                <a:cubicBezTo>
                  <a:pt x="6676302" y="3917493"/>
                  <a:pt x="6666534" y="3907723"/>
                  <a:pt x="6656765" y="3897954"/>
                </a:cubicBezTo>
                <a:cubicBezTo>
                  <a:pt x="6646997" y="3878415"/>
                  <a:pt x="6627459" y="3868646"/>
                  <a:pt x="6627459" y="3868646"/>
                </a:cubicBezTo>
                <a:cubicBezTo>
                  <a:pt x="6637228" y="3878415"/>
                  <a:pt x="6646997" y="3888185"/>
                  <a:pt x="6646997" y="3888185"/>
                </a:cubicBezTo>
                <a:cubicBezTo>
                  <a:pt x="6646997" y="3888185"/>
                  <a:pt x="6656765" y="3897954"/>
                  <a:pt x="6656765" y="3897954"/>
                </a:cubicBezTo>
                <a:cubicBezTo>
                  <a:pt x="6656765" y="3897954"/>
                  <a:pt x="6686071" y="3927262"/>
                  <a:pt x="6695840" y="3937031"/>
                </a:cubicBezTo>
                <a:cubicBezTo>
                  <a:pt x="6705608" y="3946800"/>
                  <a:pt x="6705608" y="3946800"/>
                  <a:pt x="6695840" y="3946800"/>
                </a:cubicBezTo>
                <a:cubicBezTo>
                  <a:pt x="6725145" y="3976108"/>
                  <a:pt x="6744683" y="3995647"/>
                  <a:pt x="6754451" y="4005416"/>
                </a:cubicBezTo>
                <a:cubicBezTo>
                  <a:pt x="6764220" y="4015186"/>
                  <a:pt x="6773988" y="4024955"/>
                  <a:pt x="6773988" y="4024955"/>
                </a:cubicBezTo>
                <a:cubicBezTo>
                  <a:pt x="6773988" y="4024955"/>
                  <a:pt x="6793526" y="4054263"/>
                  <a:pt x="6803294" y="4054263"/>
                </a:cubicBezTo>
                <a:cubicBezTo>
                  <a:pt x="6803294" y="4054263"/>
                  <a:pt x="6803294" y="4054263"/>
                  <a:pt x="6793526" y="4054263"/>
                </a:cubicBezTo>
                <a:cubicBezTo>
                  <a:pt x="6783757" y="4054263"/>
                  <a:pt x="6783757" y="4044494"/>
                  <a:pt x="6783757" y="4044494"/>
                </a:cubicBezTo>
                <a:cubicBezTo>
                  <a:pt x="6783757" y="4044494"/>
                  <a:pt x="6773988" y="4044494"/>
                  <a:pt x="6773988" y="4044494"/>
                </a:cubicBezTo>
                <a:cubicBezTo>
                  <a:pt x="6764220" y="4034724"/>
                  <a:pt x="6764220" y="4034724"/>
                  <a:pt x="6773988" y="4034724"/>
                </a:cubicBezTo>
                <a:cubicBezTo>
                  <a:pt x="6773988" y="4034724"/>
                  <a:pt x="6773988" y="4034724"/>
                  <a:pt x="6764220" y="4024955"/>
                </a:cubicBezTo>
                <a:cubicBezTo>
                  <a:pt x="6754451" y="4015186"/>
                  <a:pt x="6744683" y="4005416"/>
                  <a:pt x="6744683" y="4005416"/>
                </a:cubicBezTo>
                <a:cubicBezTo>
                  <a:pt x="6734914" y="3995647"/>
                  <a:pt x="6725145" y="3985878"/>
                  <a:pt x="6715377" y="3976108"/>
                </a:cubicBezTo>
                <a:cubicBezTo>
                  <a:pt x="6715377" y="3966339"/>
                  <a:pt x="6705608" y="3966339"/>
                  <a:pt x="6705608" y="3956570"/>
                </a:cubicBezTo>
                <a:cubicBezTo>
                  <a:pt x="6695840" y="3956570"/>
                  <a:pt x="6695840" y="3956570"/>
                  <a:pt x="6695840" y="3956570"/>
                </a:cubicBezTo>
                <a:cubicBezTo>
                  <a:pt x="6695840" y="3956570"/>
                  <a:pt x="6686071" y="3956570"/>
                  <a:pt x="6676302" y="3946800"/>
                </a:cubicBezTo>
                <a:cubicBezTo>
                  <a:pt x="6676302" y="3946800"/>
                  <a:pt x="6666534" y="3937031"/>
                  <a:pt x="6666534" y="3927262"/>
                </a:cubicBezTo>
                <a:cubicBezTo>
                  <a:pt x="6656765" y="3927262"/>
                  <a:pt x="6656765" y="3917493"/>
                  <a:pt x="6646997" y="3917493"/>
                </a:cubicBezTo>
                <a:cubicBezTo>
                  <a:pt x="6646997" y="3907723"/>
                  <a:pt x="6646997" y="3907723"/>
                  <a:pt x="6646997" y="3907723"/>
                </a:cubicBezTo>
                <a:cubicBezTo>
                  <a:pt x="6646997" y="3907723"/>
                  <a:pt x="6637228" y="3907723"/>
                  <a:pt x="6637228" y="3907723"/>
                </a:cubicBezTo>
                <a:cubicBezTo>
                  <a:pt x="6627459" y="3897954"/>
                  <a:pt x="6627459" y="3897954"/>
                  <a:pt x="6627459" y="3897954"/>
                </a:cubicBezTo>
                <a:cubicBezTo>
                  <a:pt x="6627459" y="3897954"/>
                  <a:pt x="6617691" y="3888185"/>
                  <a:pt x="6617691" y="3878415"/>
                </a:cubicBezTo>
                <a:cubicBezTo>
                  <a:pt x="6607922" y="3868646"/>
                  <a:pt x="6598153" y="3868646"/>
                  <a:pt x="6588385" y="3858877"/>
                </a:cubicBezTo>
                <a:cubicBezTo>
                  <a:pt x="6588385" y="3849107"/>
                  <a:pt x="6588385" y="3849107"/>
                  <a:pt x="6578616" y="3849107"/>
                </a:cubicBezTo>
                <a:cubicBezTo>
                  <a:pt x="6568848" y="3849107"/>
                  <a:pt x="6568848" y="3839338"/>
                  <a:pt x="6559079" y="3839338"/>
                </a:cubicBezTo>
                <a:cubicBezTo>
                  <a:pt x="6559079" y="3829569"/>
                  <a:pt x="6549310" y="3829569"/>
                  <a:pt x="6549310" y="3829569"/>
                </a:cubicBezTo>
                <a:cubicBezTo>
                  <a:pt x="6549310" y="3829569"/>
                  <a:pt x="6559079" y="3839338"/>
                  <a:pt x="6559079" y="3839338"/>
                </a:cubicBezTo>
                <a:cubicBezTo>
                  <a:pt x="6568848" y="3849107"/>
                  <a:pt x="6568848" y="3849107"/>
                  <a:pt x="6568848" y="3849107"/>
                </a:cubicBezTo>
                <a:cubicBezTo>
                  <a:pt x="6578616" y="3858877"/>
                  <a:pt x="6588385" y="3868646"/>
                  <a:pt x="6598153" y="3878415"/>
                </a:cubicBezTo>
                <a:cubicBezTo>
                  <a:pt x="6627459" y="3897954"/>
                  <a:pt x="6627459" y="3897954"/>
                  <a:pt x="6637228" y="3907723"/>
                </a:cubicBezTo>
                <a:cubicBezTo>
                  <a:pt x="6637228" y="3917493"/>
                  <a:pt x="6646997" y="3917493"/>
                  <a:pt x="6656765" y="3927262"/>
                </a:cubicBezTo>
                <a:cubicBezTo>
                  <a:pt x="6656765" y="3937031"/>
                  <a:pt x="6666534" y="3946800"/>
                  <a:pt x="6676302" y="3946800"/>
                </a:cubicBezTo>
                <a:cubicBezTo>
                  <a:pt x="6676302" y="3956570"/>
                  <a:pt x="6686071" y="3966339"/>
                  <a:pt x="6686071" y="3966339"/>
                </a:cubicBezTo>
                <a:cubicBezTo>
                  <a:pt x="6686071" y="3966339"/>
                  <a:pt x="6676302" y="3956570"/>
                  <a:pt x="6666534" y="3956570"/>
                </a:cubicBezTo>
                <a:cubicBezTo>
                  <a:pt x="6656765" y="3937031"/>
                  <a:pt x="6637228" y="3917493"/>
                  <a:pt x="6637228" y="3917493"/>
                </a:cubicBezTo>
                <a:cubicBezTo>
                  <a:pt x="6637228" y="3917493"/>
                  <a:pt x="6634786" y="3917493"/>
                  <a:pt x="6632343" y="3917493"/>
                </a:cubicBezTo>
                <a:lnTo>
                  <a:pt x="6627460" y="3917493"/>
                </a:lnTo>
                <a:lnTo>
                  <a:pt x="6627459" y="3917492"/>
                </a:lnTo>
                <a:lnTo>
                  <a:pt x="6627459" y="3908944"/>
                </a:lnTo>
                <a:cubicBezTo>
                  <a:pt x="6627459" y="3907723"/>
                  <a:pt x="6627459" y="3907723"/>
                  <a:pt x="6627459" y="3907723"/>
                </a:cubicBezTo>
                <a:cubicBezTo>
                  <a:pt x="6617691" y="3907723"/>
                  <a:pt x="6617691" y="3907723"/>
                  <a:pt x="6617691" y="3897954"/>
                </a:cubicBezTo>
                <a:cubicBezTo>
                  <a:pt x="6617691" y="3897954"/>
                  <a:pt x="6607922" y="3897954"/>
                  <a:pt x="6607922" y="3897954"/>
                </a:cubicBezTo>
                <a:cubicBezTo>
                  <a:pt x="6607922" y="3897954"/>
                  <a:pt x="6607922" y="3897954"/>
                  <a:pt x="6624407" y="3914440"/>
                </a:cubicBezTo>
                <a:lnTo>
                  <a:pt x="6627459" y="3917492"/>
                </a:lnTo>
                <a:lnTo>
                  <a:pt x="6627459" y="3917493"/>
                </a:lnTo>
                <a:lnTo>
                  <a:pt x="6627460" y="3917493"/>
                </a:lnTo>
                <a:lnTo>
                  <a:pt x="6646997" y="3937031"/>
                </a:lnTo>
                <a:cubicBezTo>
                  <a:pt x="6666534" y="3956570"/>
                  <a:pt x="6676302" y="3966339"/>
                  <a:pt x="6676302" y="3966339"/>
                </a:cubicBezTo>
                <a:cubicBezTo>
                  <a:pt x="6695840" y="3995647"/>
                  <a:pt x="6725145" y="4015186"/>
                  <a:pt x="6725145" y="4015186"/>
                </a:cubicBezTo>
                <a:cubicBezTo>
                  <a:pt x="6725145" y="4015186"/>
                  <a:pt x="6725145" y="4015186"/>
                  <a:pt x="6715377" y="4015186"/>
                </a:cubicBezTo>
                <a:cubicBezTo>
                  <a:pt x="6725145" y="4015186"/>
                  <a:pt x="6725145" y="4024955"/>
                  <a:pt x="6725145" y="4024955"/>
                </a:cubicBezTo>
                <a:cubicBezTo>
                  <a:pt x="6734914" y="4024955"/>
                  <a:pt x="6744683" y="4034724"/>
                  <a:pt x="6734914" y="4034724"/>
                </a:cubicBezTo>
                <a:cubicBezTo>
                  <a:pt x="6734914" y="4034724"/>
                  <a:pt x="6734914" y="4034724"/>
                  <a:pt x="6744683" y="4044494"/>
                </a:cubicBezTo>
                <a:cubicBezTo>
                  <a:pt x="6744683" y="4044494"/>
                  <a:pt x="6754451" y="4064032"/>
                  <a:pt x="6764220" y="4064032"/>
                </a:cubicBezTo>
                <a:cubicBezTo>
                  <a:pt x="6793526" y="4093340"/>
                  <a:pt x="6803294" y="4103109"/>
                  <a:pt x="6803294" y="4103109"/>
                </a:cubicBezTo>
                <a:cubicBezTo>
                  <a:pt x="6803294" y="4112879"/>
                  <a:pt x="6803294" y="4112879"/>
                  <a:pt x="6813063" y="4122648"/>
                </a:cubicBezTo>
                <a:cubicBezTo>
                  <a:pt x="6813063" y="4132417"/>
                  <a:pt x="6822832" y="4142187"/>
                  <a:pt x="6822832" y="4142187"/>
                </a:cubicBezTo>
                <a:cubicBezTo>
                  <a:pt x="6832600" y="4142187"/>
                  <a:pt x="6832600" y="4151956"/>
                  <a:pt x="6842369" y="4151956"/>
                </a:cubicBezTo>
                <a:cubicBezTo>
                  <a:pt x="6842369" y="4161725"/>
                  <a:pt x="6842369" y="4161725"/>
                  <a:pt x="6842369" y="4161725"/>
                </a:cubicBezTo>
                <a:cubicBezTo>
                  <a:pt x="6842369" y="4161725"/>
                  <a:pt x="6842369" y="4171495"/>
                  <a:pt x="6842369" y="4171495"/>
                </a:cubicBezTo>
                <a:cubicBezTo>
                  <a:pt x="6852137" y="4171495"/>
                  <a:pt x="6852137" y="4181264"/>
                  <a:pt x="6861906" y="4181264"/>
                </a:cubicBezTo>
                <a:cubicBezTo>
                  <a:pt x="6861906" y="4191033"/>
                  <a:pt x="6871675" y="4200803"/>
                  <a:pt x="6871675" y="4200803"/>
                </a:cubicBezTo>
                <a:cubicBezTo>
                  <a:pt x="6871675" y="4200803"/>
                  <a:pt x="6871675" y="4200803"/>
                  <a:pt x="6881443" y="4210572"/>
                </a:cubicBezTo>
                <a:cubicBezTo>
                  <a:pt x="6881443" y="4210572"/>
                  <a:pt x="6881443" y="4210572"/>
                  <a:pt x="6891212" y="4220341"/>
                </a:cubicBezTo>
                <a:cubicBezTo>
                  <a:pt x="6891212" y="4230110"/>
                  <a:pt x="6881443" y="4220341"/>
                  <a:pt x="6871675" y="4210572"/>
                </a:cubicBezTo>
                <a:cubicBezTo>
                  <a:pt x="6866790" y="4205687"/>
                  <a:pt x="6859464" y="4198360"/>
                  <a:pt x="6853358" y="4192255"/>
                </a:cubicBezTo>
                <a:lnTo>
                  <a:pt x="6852137" y="4191033"/>
                </a:lnTo>
                <a:lnTo>
                  <a:pt x="6852137" y="4191033"/>
                </a:lnTo>
                <a:lnTo>
                  <a:pt x="6852137" y="4191033"/>
                </a:lnTo>
                <a:lnTo>
                  <a:pt x="6842369" y="4181264"/>
                </a:lnTo>
                <a:cubicBezTo>
                  <a:pt x="6842369" y="4181264"/>
                  <a:pt x="6842369" y="4183707"/>
                  <a:pt x="6843590" y="4186149"/>
                </a:cubicBezTo>
                <a:lnTo>
                  <a:pt x="6852137" y="4191033"/>
                </a:lnTo>
                <a:lnTo>
                  <a:pt x="6852137" y="4191033"/>
                </a:lnTo>
                <a:lnTo>
                  <a:pt x="6852137" y="4195918"/>
                </a:lnTo>
                <a:cubicBezTo>
                  <a:pt x="6852137" y="4198360"/>
                  <a:pt x="6852137" y="4200803"/>
                  <a:pt x="6852137" y="4200803"/>
                </a:cubicBezTo>
                <a:cubicBezTo>
                  <a:pt x="6852137" y="4200803"/>
                  <a:pt x="6852137" y="4210572"/>
                  <a:pt x="6852137" y="4210572"/>
                </a:cubicBezTo>
                <a:cubicBezTo>
                  <a:pt x="6852137" y="4210572"/>
                  <a:pt x="6861906" y="4210572"/>
                  <a:pt x="6861906" y="4210572"/>
                </a:cubicBezTo>
                <a:cubicBezTo>
                  <a:pt x="6861906" y="4220341"/>
                  <a:pt x="6910749" y="4269188"/>
                  <a:pt x="6920518" y="4278957"/>
                </a:cubicBezTo>
                <a:cubicBezTo>
                  <a:pt x="6920518" y="4288726"/>
                  <a:pt x="6920518" y="4288726"/>
                  <a:pt x="6920518" y="4288726"/>
                </a:cubicBezTo>
                <a:cubicBezTo>
                  <a:pt x="6920518" y="4298496"/>
                  <a:pt x="6930286" y="4308265"/>
                  <a:pt x="6940055" y="4308265"/>
                </a:cubicBezTo>
                <a:cubicBezTo>
                  <a:pt x="6940055" y="4308265"/>
                  <a:pt x="6940055" y="4318034"/>
                  <a:pt x="6949823" y="4318034"/>
                </a:cubicBezTo>
                <a:cubicBezTo>
                  <a:pt x="6959592" y="4327804"/>
                  <a:pt x="6959592" y="4327804"/>
                  <a:pt x="6949823" y="4327804"/>
                </a:cubicBezTo>
                <a:cubicBezTo>
                  <a:pt x="6940055" y="4327804"/>
                  <a:pt x="6949823" y="4337573"/>
                  <a:pt x="6969361" y="4347342"/>
                </a:cubicBezTo>
                <a:cubicBezTo>
                  <a:pt x="6979129" y="4357111"/>
                  <a:pt x="6979129" y="4366881"/>
                  <a:pt x="6998667" y="4386419"/>
                </a:cubicBezTo>
                <a:cubicBezTo>
                  <a:pt x="6998667" y="4396189"/>
                  <a:pt x="7008435" y="4405958"/>
                  <a:pt x="7008435" y="4405958"/>
                </a:cubicBezTo>
                <a:cubicBezTo>
                  <a:pt x="7008435" y="4405958"/>
                  <a:pt x="6998667" y="4405958"/>
                  <a:pt x="6998667" y="4405958"/>
                </a:cubicBezTo>
                <a:cubicBezTo>
                  <a:pt x="6998667" y="4396189"/>
                  <a:pt x="6998667" y="4396189"/>
                  <a:pt x="6998667" y="4396189"/>
                </a:cubicBezTo>
                <a:cubicBezTo>
                  <a:pt x="6988898" y="4396189"/>
                  <a:pt x="6969361" y="4366881"/>
                  <a:pt x="6949823" y="4337573"/>
                </a:cubicBezTo>
                <a:cubicBezTo>
                  <a:pt x="6940055" y="4327804"/>
                  <a:pt x="6930286" y="4318034"/>
                  <a:pt x="6920518" y="4308265"/>
                </a:cubicBezTo>
                <a:cubicBezTo>
                  <a:pt x="6910749" y="4298496"/>
                  <a:pt x="6891212" y="4278957"/>
                  <a:pt x="6891212" y="4269188"/>
                </a:cubicBezTo>
                <a:cubicBezTo>
                  <a:pt x="6881443" y="4269188"/>
                  <a:pt x="6881443" y="4259418"/>
                  <a:pt x="6871675" y="4259418"/>
                </a:cubicBezTo>
                <a:cubicBezTo>
                  <a:pt x="6871675" y="4249649"/>
                  <a:pt x="6861906" y="4239880"/>
                  <a:pt x="6852137" y="4239880"/>
                </a:cubicBezTo>
                <a:cubicBezTo>
                  <a:pt x="6852137" y="4230110"/>
                  <a:pt x="6842369" y="4230110"/>
                  <a:pt x="6842369" y="4220341"/>
                </a:cubicBezTo>
                <a:cubicBezTo>
                  <a:pt x="6842369" y="4220341"/>
                  <a:pt x="6832600" y="4210572"/>
                  <a:pt x="6832600" y="4220341"/>
                </a:cubicBezTo>
                <a:cubicBezTo>
                  <a:pt x="6842369" y="4230110"/>
                  <a:pt x="6842369" y="4230110"/>
                  <a:pt x="6842369" y="4230110"/>
                </a:cubicBezTo>
                <a:cubicBezTo>
                  <a:pt x="6842369" y="4230110"/>
                  <a:pt x="6842369" y="4239880"/>
                  <a:pt x="6842369" y="4239880"/>
                </a:cubicBezTo>
                <a:cubicBezTo>
                  <a:pt x="6852137" y="4249649"/>
                  <a:pt x="6852137" y="4249649"/>
                  <a:pt x="6852137" y="4259418"/>
                </a:cubicBezTo>
                <a:cubicBezTo>
                  <a:pt x="6861906" y="4259418"/>
                  <a:pt x="6861906" y="4269188"/>
                  <a:pt x="6861906" y="4269188"/>
                </a:cubicBezTo>
                <a:cubicBezTo>
                  <a:pt x="6871675" y="4269188"/>
                  <a:pt x="6871675" y="4269188"/>
                  <a:pt x="6871675" y="4269188"/>
                </a:cubicBezTo>
                <a:cubicBezTo>
                  <a:pt x="6881443" y="4278957"/>
                  <a:pt x="6891212" y="4298496"/>
                  <a:pt x="6900980" y="4308265"/>
                </a:cubicBezTo>
                <a:cubicBezTo>
                  <a:pt x="6910749" y="4318034"/>
                  <a:pt x="6930286" y="4337573"/>
                  <a:pt x="6930286" y="4337573"/>
                </a:cubicBezTo>
                <a:cubicBezTo>
                  <a:pt x="6930286" y="4337573"/>
                  <a:pt x="6930286" y="4337573"/>
                  <a:pt x="6930286" y="4347342"/>
                </a:cubicBezTo>
                <a:cubicBezTo>
                  <a:pt x="6940055" y="4347342"/>
                  <a:pt x="6940055" y="4357111"/>
                  <a:pt x="6949823" y="4357111"/>
                </a:cubicBezTo>
                <a:cubicBezTo>
                  <a:pt x="6959592" y="4366881"/>
                  <a:pt x="6969361" y="4386419"/>
                  <a:pt x="6979129" y="4396189"/>
                </a:cubicBezTo>
                <a:cubicBezTo>
                  <a:pt x="7008435" y="4425497"/>
                  <a:pt x="7027972" y="4454805"/>
                  <a:pt x="7018204" y="4454805"/>
                </a:cubicBezTo>
                <a:cubicBezTo>
                  <a:pt x="7018204" y="4454805"/>
                  <a:pt x="7018204" y="4445035"/>
                  <a:pt x="7008435" y="4445035"/>
                </a:cubicBezTo>
                <a:cubicBezTo>
                  <a:pt x="7008435" y="4435266"/>
                  <a:pt x="6998667" y="4435266"/>
                  <a:pt x="6998667" y="4425497"/>
                </a:cubicBezTo>
                <a:cubicBezTo>
                  <a:pt x="6998667" y="4425497"/>
                  <a:pt x="6988898" y="4425497"/>
                  <a:pt x="6988898" y="4415727"/>
                </a:cubicBezTo>
                <a:cubicBezTo>
                  <a:pt x="6969361" y="4396189"/>
                  <a:pt x="6959592" y="4386419"/>
                  <a:pt x="6959592" y="4376650"/>
                </a:cubicBezTo>
                <a:cubicBezTo>
                  <a:pt x="6949823" y="4376650"/>
                  <a:pt x="6930286" y="4347342"/>
                  <a:pt x="6920518" y="4347342"/>
                </a:cubicBezTo>
                <a:cubicBezTo>
                  <a:pt x="6920518" y="4337573"/>
                  <a:pt x="6920518" y="4337573"/>
                  <a:pt x="6910749" y="4337573"/>
                </a:cubicBezTo>
                <a:cubicBezTo>
                  <a:pt x="6910749" y="4337573"/>
                  <a:pt x="6910749" y="4337573"/>
                  <a:pt x="6900980" y="4337573"/>
                </a:cubicBezTo>
                <a:cubicBezTo>
                  <a:pt x="6891212" y="4327804"/>
                  <a:pt x="6891212" y="4318034"/>
                  <a:pt x="6900980" y="4327804"/>
                </a:cubicBezTo>
                <a:cubicBezTo>
                  <a:pt x="6900980" y="4327804"/>
                  <a:pt x="6891212" y="4308265"/>
                  <a:pt x="6881443" y="4298496"/>
                </a:cubicBezTo>
                <a:cubicBezTo>
                  <a:pt x="6871675" y="4298496"/>
                  <a:pt x="6852137" y="4269188"/>
                  <a:pt x="6842369" y="4259418"/>
                </a:cubicBezTo>
                <a:cubicBezTo>
                  <a:pt x="6842369" y="4259418"/>
                  <a:pt x="6832600" y="4249649"/>
                  <a:pt x="6832600" y="4249649"/>
                </a:cubicBezTo>
                <a:cubicBezTo>
                  <a:pt x="6822832" y="4249649"/>
                  <a:pt x="6822832" y="4239880"/>
                  <a:pt x="6813063" y="4230110"/>
                </a:cubicBezTo>
                <a:cubicBezTo>
                  <a:pt x="6793526" y="4210572"/>
                  <a:pt x="6764220" y="4191033"/>
                  <a:pt x="6764220" y="4181264"/>
                </a:cubicBezTo>
                <a:cubicBezTo>
                  <a:pt x="6764220" y="4181264"/>
                  <a:pt x="6744683" y="4171495"/>
                  <a:pt x="6734914" y="4151956"/>
                </a:cubicBezTo>
                <a:cubicBezTo>
                  <a:pt x="6725145" y="4142187"/>
                  <a:pt x="6715377" y="4132417"/>
                  <a:pt x="6715377" y="4132417"/>
                </a:cubicBezTo>
                <a:cubicBezTo>
                  <a:pt x="6715377" y="4122648"/>
                  <a:pt x="6705608" y="4122648"/>
                  <a:pt x="6705608" y="4122648"/>
                </a:cubicBezTo>
                <a:cubicBezTo>
                  <a:pt x="6695840" y="4122648"/>
                  <a:pt x="6695840" y="4112879"/>
                  <a:pt x="6695840" y="4112879"/>
                </a:cubicBezTo>
                <a:cubicBezTo>
                  <a:pt x="6695840" y="4112879"/>
                  <a:pt x="6686071" y="4103109"/>
                  <a:pt x="6686071" y="4103109"/>
                </a:cubicBezTo>
                <a:cubicBezTo>
                  <a:pt x="6676302" y="4103109"/>
                  <a:pt x="6676302" y="4093340"/>
                  <a:pt x="6666534" y="4083571"/>
                </a:cubicBezTo>
                <a:cubicBezTo>
                  <a:pt x="6656765" y="4073801"/>
                  <a:pt x="6656765" y="4073801"/>
                  <a:pt x="6646997" y="4064032"/>
                </a:cubicBezTo>
                <a:cubicBezTo>
                  <a:pt x="6646997" y="4064032"/>
                  <a:pt x="6646997" y="4064032"/>
                  <a:pt x="6637228" y="4054263"/>
                </a:cubicBezTo>
                <a:cubicBezTo>
                  <a:pt x="6637228" y="4054263"/>
                  <a:pt x="6627459" y="4054263"/>
                  <a:pt x="6627459" y="4044494"/>
                </a:cubicBezTo>
                <a:cubicBezTo>
                  <a:pt x="6617691" y="4034724"/>
                  <a:pt x="6617691" y="4024955"/>
                  <a:pt x="6607922" y="4024955"/>
                </a:cubicBezTo>
                <a:cubicBezTo>
                  <a:pt x="6607922" y="4024955"/>
                  <a:pt x="6578616" y="4005416"/>
                  <a:pt x="6559079" y="3976108"/>
                </a:cubicBezTo>
                <a:cubicBezTo>
                  <a:pt x="6559079" y="3976108"/>
                  <a:pt x="6549310" y="3966339"/>
                  <a:pt x="6539542" y="3966339"/>
                </a:cubicBezTo>
                <a:cubicBezTo>
                  <a:pt x="6539542" y="3956570"/>
                  <a:pt x="6529773" y="3946800"/>
                  <a:pt x="6529773" y="3946800"/>
                </a:cubicBezTo>
                <a:cubicBezTo>
                  <a:pt x="6520005" y="3937031"/>
                  <a:pt x="6510236" y="3937031"/>
                  <a:pt x="6510236" y="3927262"/>
                </a:cubicBezTo>
                <a:cubicBezTo>
                  <a:pt x="6500467" y="3927262"/>
                  <a:pt x="6480930" y="3907723"/>
                  <a:pt x="6480930" y="3907723"/>
                </a:cubicBezTo>
                <a:cubicBezTo>
                  <a:pt x="6471162" y="3897954"/>
                  <a:pt x="6471162" y="3897954"/>
                  <a:pt x="6461393" y="3888185"/>
                </a:cubicBezTo>
                <a:cubicBezTo>
                  <a:pt x="6461393" y="3888185"/>
                  <a:pt x="6451624" y="3878415"/>
                  <a:pt x="6451624" y="3878415"/>
                </a:cubicBezTo>
                <a:cubicBezTo>
                  <a:pt x="6451624" y="3878415"/>
                  <a:pt x="6441856" y="3878415"/>
                  <a:pt x="6441856" y="3868646"/>
                </a:cubicBezTo>
                <a:cubicBezTo>
                  <a:pt x="6432087" y="3868646"/>
                  <a:pt x="6432087" y="3868646"/>
                  <a:pt x="6432087" y="3858877"/>
                </a:cubicBezTo>
                <a:cubicBezTo>
                  <a:pt x="6422318" y="3858877"/>
                  <a:pt x="6422318" y="3858877"/>
                  <a:pt x="6422318" y="3858877"/>
                </a:cubicBezTo>
                <a:lnTo>
                  <a:pt x="6422318" y="3862899"/>
                </a:lnTo>
                <a:lnTo>
                  <a:pt x="6411329" y="3856434"/>
                </a:lnTo>
                <a:cubicBezTo>
                  <a:pt x="6402781" y="3849107"/>
                  <a:pt x="6393013" y="3839338"/>
                  <a:pt x="6383244" y="3829569"/>
                </a:cubicBezTo>
                <a:cubicBezTo>
                  <a:pt x="6383244" y="3829569"/>
                  <a:pt x="6383244" y="3829569"/>
                  <a:pt x="6373475" y="3819799"/>
                </a:cubicBezTo>
                <a:cubicBezTo>
                  <a:pt x="6373475" y="3819799"/>
                  <a:pt x="6363707" y="3810030"/>
                  <a:pt x="6363707" y="3810030"/>
                </a:cubicBezTo>
                <a:cubicBezTo>
                  <a:pt x="6353938" y="3800261"/>
                  <a:pt x="6344170" y="3790492"/>
                  <a:pt x="6344170" y="3790492"/>
                </a:cubicBezTo>
                <a:cubicBezTo>
                  <a:pt x="6334401" y="3780722"/>
                  <a:pt x="6324632" y="3780722"/>
                  <a:pt x="6314864" y="3770953"/>
                </a:cubicBezTo>
                <a:cubicBezTo>
                  <a:pt x="6305095" y="3761184"/>
                  <a:pt x="6295327" y="3751414"/>
                  <a:pt x="6295327" y="3751414"/>
                </a:cubicBezTo>
                <a:cubicBezTo>
                  <a:pt x="6295327" y="3751414"/>
                  <a:pt x="6285558" y="3741645"/>
                  <a:pt x="6275789" y="3731876"/>
                </a:cubicBezTo>
                <a:cubicBezTo>
                  <a:pt x="6275789" y="3731876"/>
                  <a:pt x="6275789" y="3731876"/>
                  <a:pt x="6266021" y="3731876"/>
                </a:cubicBezTo>
                <a:cubicBezTo>
                  <a:pt x="6256252" y="3712337"/>
                  <a:pt x="6246483" y="3712337"/>
                  <a:pt x="6236715" y="3702568"/>
                </a:cubicBezTo>
                <a:cubicBezTo>
                  <a:pt x="6236715" y="3692798"/>
                  <a:pt x="6226946" y="3692798"/>
                  <a:pt x="6226946" y="3692798"/>
                </a:cubicBezTo>
                <a:cubicBezTo>
                  <a:pt x="6217178" y="3692798"/>
                  <a:pt x="6207409" y="3683029"/>
                  <a:pt x="6207409" y="3683029"/>
                </a:cubicBezTo>
                <a:lnTo>
                  <a:pt x="6208386" y="3677168"/>
                </a:lnTo>
                <a:lnTo>
                  <a:pt x="6208630" y="3678145"/>
                </a:lnTo>
                <a:cubicBezTo>
                  <a:pt x="6209851" y="3680587"/>
                  <a:pt x="6212293" y="3683029"/>
                  <a:pt x="6217178" y="3683029"/>
                </a:cubicBezTo>
                <a:cubicBezTo>
                  <a:pt x="6212293" y="3678145"/>
                  <a:pt x="6209851" y="3675703"/>
                  <a:pt x="6208630" y="3675703"/>
                </a:cubicBezTo>
                <a:lnTo>
                  <a:pt x="6208386" y="3677168"/>
                </a:lnTo>
                <a:lnTo>
                  <a:pt x="6207409" y="3673260"/>
                </a:lnTo>
                <a:cubicBezTo>
                  <a:pt x="6197640" y="3673260"/>
                  <a:pt x="6197640" y="3673260"/>
                  <a:pt x="6187872" y="3673260"/>
                </a:cubicBezTo>
                <a:cubicBezTo>
                  <a:pt x="6187872" y="3673260"/>
                  <a:pt x="6197640" y="3683029"/>
                  <a:pt x="6197640" y="3683029"/>
                </a:cubicBezTo>
                <a:cubicBezTo>
                  <a:pt x="6207409" y="3692798"/>
                  <a:pt x="6217178" y="3702568"/>
                  <a:pt x="6236715" y="3712337"/>
                </a:cubicBezTo>
                <a:cubicBezTo>
                  <a:pt x="6246483" y="3722106"/>
                  <a:pt x="6275789" y="3741645"/>
                  <a:pt x="6266021" y="3741645"/>
                </a:cubicBezTo>
                <a:lnTo>
                  <a:pt x="6262422" y="3740745"/>
                </a:lnTo>
                <a:lnTo>
                  <a:pt x="6256252" y="3731876"/>
                </a:lnTo>
                <a:cubicBezTo>
                  <a:pt x="6256252" y="3736761"/>
                  <a:pt x="6258694" y="3739203"/>
                  <a:pt x="6261137" y="3740424"/>
                </a:cubicBezTo>
                <a:lnTo>
                  <a:pt x="6262422" y="3740745"/>
                </a:lnTo>
                <a:lnTo>
                  <a:pt x="6275789" y="3759963"/>
                </a:lnTo>
                <a:cubicBezTo>
                  <a:pt x="6283116" y="3768511"/>
                  <a:pt x="6290442" y="3775838"/>
                  <a:pt x="6295327" y="3780722"/>
                </a:cubicBezTo>
                <a:cubicBezTo>
                  <a:pt x="6305095" y="3790492"/>
                  <a:pt x="6314864" y="3800261"/>
                  <a:pt x="6314864" y="3800261"/>
                </a:cubicBezTo>
                <a:cubicBezTo>
                  <a:pt x="6324632" y="3800261"/>
                  <a:pt x="6324632" y="3810030"/>
                  <a:pt x="6324632" y="3810030"/>
                </a:cubicBezTo>
                <a:cubicBezTo>
                  <a:pt x="6334401" y="3810030"/>
                  <a:pt x="6344170" y="3829569"/>
                  <a:pt x="6344170" y="3829569"/>
                </a:cubicBezTo>
                <a:cubicBezTo>
                  <a:pt x="6353938" y="3829569"/>
                  <a:pt x="6353938" y="3829569"/>
                  <a:pt x="6363707" y="3839338"/>
                </a:cubicBezTo>
                <a:cubicBezTo>
                  <a:pt x="6363707" y="3839338"/>
                  <a:pt x="6363707" y="3849107"/>
                  <a:pt x="6373475" y="3849107"/>
                </a:cubicBezTo>
                <a:cubicBezTo>
                  <a:pt x="6373475" y="3849107"/>
                  <a:pt x="6373475" y="3851550"/>
                  <a:pt x="6373475" y="3853992"/>
                </a:cubicBezTo>
                <a:lnTo>
                  <a:pt x="6373475" y="3855946"/>
                </a:lnTo>
                <a:lnTo>
                  <a:pt x="6363707" y="3849107"/>
                </a:lnTo>
                <a:cubicBezTo>
                  <a:pt x="6353938" y="3839338"/>
                  <a:pt x="6334401" y="3829569"/>
                  <a:pt x="6334401" y="3829569"/>
                </a:cubicBezTo>
                <a:cubicBezTo>
                  <a:pt x="6334401" y="3839338"/>
                  <a:pt x="6344170" y="3839338"/>
                  <a:pt x="6363707" y="3858877"/>
                </a:cubicBezTo>
                <a:cubicBezTo>
                  <a:pt x="6363707" y="3858877"/>
                  <a:pt x="6373475" y="3858877"/>
                  <a:pt x="6373475" y="3868646"/>
                </a:cubicBezTo>
                <a:cubicBezTo>
                  <a:pt x="6373475" y="3868646"/>
                  <a:pt x="6383244" y="3878415"/>
                  <a:pt x="6383244" y="3878415"/>
                </a:cubicBezTo>
                <a:cubicBezTo>
                  <a:pt x="6393013" y="3888185"/>
                  <a:pt x="6402781" y="3897954"/>
                  <a:pt x="6402781" y="3897954"/>
                </a:cubicBezTo>
                <a:cubicBezTo>
                  <a:pt x="6402781" y="3897954"/>
                  <a:pt x="6412550" y="3907723"/>
                  <a:pt x="6412550" y="3907723"/>
                </a:cubicBezTo>
                <a:cubicBezTo>
                  <a:pt x="6422318" y="3917493"/>
                  <a:pt x="6422318" y="3917493"/>
                  <a:pt x="6422318" y="3917493"/>
                </a:cubicBezTo>
                <a:cubicBezTo>
                  <a:pt x="6432087" y="3927262"/>
                  <a:pt x="6441856" y="3937031"/>
                  <a:pt x="6441856" y="3937031"/>
                </a:cubicBezTo>
                <a:cubicBezTo>
                  <a:pt x="6441856" y="3937031"/>
                  <a:pt x="6451624" y="3946800"/>
                  <a:pt x="6451624" y="3946800"/>
                </a:cubicBezTo>
                <a:cubicBezTo>
                  <a:pt x="6451624" y="3956570"/>
                  <a:pt x="6471162" y="3976108"/>
                  <a:pt x="6500467" y="3995647"/>
                </a:cubicBezTo>
                <a:cubicBezTo>
                  <a:pt x="6500467" y="4005416"/>
                  <a:pt x="6500467" y="4005416"/>
                  <a:pt x="6510236" y="4005416"/>
                </a:cubicBezTo>
                <a:cubicBezTo>
                  <a:pt x="6510236" y="4015186"/>
                  <a:pt x="6520005" y="4024955"/>
                  <a:pt x="6539542" y="4044494"/>
                </a:cubicBezTo>
                <a:cubicBezTo>
                  <a:pt x="6549310" y="4054263"/>
                  <a:pt x="6549310" y="4054263"/>
                  <a:pt x="6549310" y="4054263"/>
                </a:cubicBezTo>
                <a:cubicBezTo>
                  <a:pt x="6559079" y="4064032"/>
                  <a:pt x="6568848" y="4073801"/>
                  <a:pt x="6568848" y="4073801"/>
                </a:cubicBezTo>
                <a:lnTo>
                  <a:pt x="6573122" y="4081281"/>
                </a:lnTo>
                <a:lnTo>
                  <a:pt x="6563963" y="4077465"/>
                </a:lnTo>
                <a:cubicBezTo>
                  <a:pt x="6559079" y="4073801"/>
                  <a:pt x="6554195" y="4068917"/>
                  <a:pt x="6549310" y="4064032"/>
                </a:cubicBezTo>
                <a:cubicBezTo>
                  <a:pt x="6539542" y="4064032"/>
                  <a:pt x="6539542" y="4064032"/>
                  <a:pt x="6539542" y="4064032"/>
                </a:cubicBezTo>
                <a:cubicBezTo>
                  <a:pt x="6539542" y="4054263"/>
                  <a:pt x="6539542" y="4054263"/>
                  <a:pt x="6529773" y="4054263"/>
                </a:cubicBezTo>
                <a:cubicBezTo>
                  <a:pt x="6529773" y="4054263"/>
                  <a:pt x="6529773" y="4054263"/>
                  <a:pt x="6529773" y="4044494"/>
                </a:cubicBezTo>
                <a:cubicBezTo>
                  <a:pt x="6529773" y="4044494"/>
                  <a:pt x="6520005" y="4044494"/>
                  <a:pt x="6520005" y="4034724"/>
                </a:cubicBezTo>
                <a:cubicBezTo>
                  <a:pt x="6510236" y="4034724"/>
                  <a:pt x="6510236" y="4034724"/>
                  <a:pt x="6510236" y="4034724"/>
                </a:cubicBezTo>
                <a:cubicBezTo>
                  <a:pt x="6520005" y="4054263"/>
                  <a:pt x="6510236" y="4044494"/>
                  <a:pt x="6490699" y="4024955"/>
                </a:cubicBezTo>
                <a:cubicBezTo>
                  <a:pt x="6471162" y="3995647"/>
                  <a:pt x="6461393" y="3985878"/>
                  <a:pt x="6441856" y="3966339"/>
                </a:cubicBezTo>
                <a:cubicBezTo>
                  <a:pt x="6432087" y="3956570"/>
                  <a:pt x="6422318" y="3956570"/>
                  <a:pt x="6422318" y="3956570"/>
                </a:cubicBezTo>
                <a:cubicBezTo>
                  <a:pt x="6422318" y="3946800"/>
                  <a:pt x="6422318" y="3946800"/>
                  <a:pt x="6412550" y="3946800"/>
                </a:cubicBezTo>
                <a:cubicBezTo>
                  <a:pt x="6412550" y="3946800"/>
                  <a:pt x="6412550" y="3937031"/>
                  <a:pt x="6402781" y="3937031"/>
                </a:cubicBezTo>
                <a:cubicBezTo>
                  <a:pt x="6402781" y="3927262"/>
                  <a:pt x="6383244" y="3917493"/>
                  <a:pt x="6363707" y="3897954"/>
                </a:cubicBezTo>
                <a:cubicBezTo>
                  <a:pt x="6344170" y="3878415"/>
                  <a:pt x="6334401" y="3868646"/>
                  <a:pt x="6295327" y="3829569"/>
                </a:cubicBezTo>
                <a:cubicBezTo>
                  <a:pt x="6285558" y="3819799"/>
                  <a:pt x="6275789" y="3819799"/>
                  <a:pt x="6275789" y="3810030"/>
                </a:cubicBezTo>
                <a:cubicBezTo>
                  <a:pt x="6266021" y="3810030"/>
                  <a:pt x="6266021" y="3810030"/>
                  <a:pt x="6266021" y="3810030"/>
                </a:cubicBezTo>
                <a:cubicBezTo>
                  <a:pt x="6266021" y="3810030"/>
                  <a:pt x="6266021" y="3810030"/>
                  <a:pt x="6256252" y="3800261"/>
                </a:cubicBezTo>
                <a:cubicBezTo>
                  <a:pt x="6256252" y="3800261"/>
                  <a:pt x="6256252" y="3800261"/>
                  <a:pt x="6246483" y="3790492"/>
                </a:cubicBezTo>
                <a:cubicBezTo>
                  <a:pt x="6246483" y="3790492"/>
                  <a:pt x="6229999" y="3784996"/>
                  <a:pt x="6221757" y="3778127"/>
                </a:cubicBezTo>
                <a:lnTo>
                  <a:pt x="6218430" y="3772915"/>
                </a:lnTo>
                <a:lnTo>
                  <a:pt x="6226946" y="3780722"/>
                </a:lnTo>
                <a:cubicBezTo>
                  <a:pt x="6226946" y="3770953"/>
                  <a:pt x="6207409" y="3761184"/>
                  <a:pt x="6207409" y="3751414"/>
                </a:cubicBezTo>
                <a:cubicBezTo>
                  <a:pt x="6197640" y="3751414"/>
                  <a:pt x="6197640" y="3741645"/>
                  <a:pt x="6187872" y="3741645"/>
                </a:cubicBezTo>
                <a:cubicBezTo>
                  <a:pt x="6187872" y="3731876"/>
                  <a:pt x="6178103" y="3731876"/>
                  <a:pt x="6178103" y="3731876"/>
                </a:cubicBezTo>
                <a:cubicBezTo>
                  <a:pt x="6178103" y="3731876"/>
                  <a:pt x="6168335" y="3722106"/>
                  <a:pt x="6168335" y="3722106"/>
                </a:cubicBezTo>
                <a:cubicBezTo>
                  <a:pt x="6168335" y="3722106"/>
                  <a:pt x="6158566" y="3712337"/>
                  <a:pt x="6158566" y="3712337"/>
                </a:cubicBezTo>
                <a:cubicBezTo>
                  <a:pt x="6148797" y="3712337"/>
                  <a:pt x="6148797" y="3712337"/>
                  <a:pt x="6148797" y="3702568"/>
                </a:cubicBezTo>
                <a:cubicBezTo>
                  <a:pt x="6139029" y="3702568"/>
                  <a:pt x="6139029" y="3712337"/>
                  <a:pt x="6139029" y="3712337"/>
                </a:cubicBezTo>
                <a:cubicBezTo>
                  <a:pt x="6129260" y="3712337"/>
                  <a:pt x="6129260" y="3712337"/>
                  <a:pt x="6129260" y="3712337"/>
                </a:cubicBezTo>
                <a:cubicBezTo>
                  <a:pt x="6139029" y="3712337"/>
                  <a:pt x="6139029" y="3722106"/>
                  <a:pt x="6139029" y="3722106"/>
                </a:cubicBezTo>
                <a:cubicBezTo>
                  <a:pt x="6148797" y="3731876"/>
                  <a:pt x="6148797" y="3731876"/>
                  <a:pt x="6148797" y="3731876"/>
                </a:cubicBezTo>
                <a:cubicBezTo>
                  <a:pt x="6148797" y="3741645"/>
                  <a:pt x="6148797" y="3751414"/>
                  <a:pt x="6168335" y="3761184"/>
                </a:cubicBezTo>
                <a:cubicBezTo>
                  <a:pt x="6187872" y="3770953"/>
                  <a:pt x="6197640" y="3780722"/>
                  <a:pt x="6197640" y="3780722"/>
                </a:cubicBezTo>
                <a:cubicBezTo>
                  <a:pt x="6197640" y="3780722"/>
                  <a:pt x="6207409" y="3790492"/>
                  <a:pt x="6207409" y="3790492"/>
                </a:cubicBezTo>
                <a:cubicBezTo>
                  <a:pt x="6207409" y="3790492"/>
                  <a:pt x="6168335" y="3770953"/>
                  <a:pt x="6158566" y="3761184"/>
                </a:cubicBezTo>
                <a:cubicBezTo>
                  <a:pt x="6148797" y="3761184"/>
                  <a:pt x="6139029" y="3751414"/>
                  <a:pt x="6139029" y="3751414"/>
                </a:cubicBezTo>
                <a:cubicBezTo>
                  <a:pt x="6139029" y="3751414"/>
                  <a:pt x="6136587" y="3748972"/>
                  <a:pt x="6132924" y="3746530"/>
                </a:cubicBezTo>
                <a:lnTo>
                  <a:pt x="6120555" y="3742032"/>
                </a:lnTo>
                <a:lnTo>
                  <a:pt x="6118740" y="3740330"/>
                </a:lnTo>
                <a:lnTo>
                  <a:pt x="6114607" y="3733097"/>
                </a:lnTo>
                <a:cubicBezTo>
                  <a:pt x="6112165" y="3731876"/>
                  <a:pt x="6109723" y="3731876"/>
                  <a:pt x="6109723" y="3731876"/>
                </a:cubicBezTo>
                <a:lnTo>
                  <a:pt x="6118740" y="3740330"/>
                </a:lnTo>
                <a:lnTo>
                  <a:pt x="6119492" y="3741645"/>
                </a:lnTo>
                <a:lnTo>
                  <a:pt x="6120555" y="3742032"/>
                </a:lnTo>
                <a:lnTo>
                  <a:pt x="6129260" y="3750193"/>
                </a:lnTo>
                <a:cubicBezTo>
                  <a:pt x="6136587" y="3756299"/>
                  <a:pt x="6143913" y="3761184"/>
                  <a:pt x="6148797" y="3761184"/>
                </a:cubicBezTo>
                <a:cubicBezTo>
                  <a:pt x="6148797" y="3761184"/>
                  <a:pt x="6148797" y="3770953"/>
                  <a:pt x="6158566" y="3770953"/>
                </a:cubicBezTo>
                <a:cubicBezTo>
                  <a:pt x="6158566" y="3780722"/>
                  <a:pt x="6158566" y="3780722"/>
                  <a:pt x="6158566" y="3780722"/>
                </a:cubicBezTo>
                <a:cubicBezTo>
                  <a:pt x="6168335" y="3780722"/>
                  <a:pt x="6168335" y="3780722"/>
                  <a:pt x="6168335" y="3780722"/>
                </a:cubicBezTo>
                <a:cubicBezTo>
                  <a:pt x="6168335" y="3790492"/>
                  <a:pt x="6168335" y="3790492"/>
                  <a:pt x="6168335" y="3790492"/>
                </a:cubicBezTo>
                <a:cubicBezTo>
                  <a:pt x="6178103" y="3800261"/>
                  <a:pt x="6197640" y="3810030"/>
                  <a:pt x="6197640" y="3819799"/>
                </a:cubicBezTo>
                <a:cubicBezTo>
                  <a:pt x="6207409" y="3819799"/>
                  <a:pt x="6207409" y="3829569"/>
                  <a:pt x="6217178" y="3829569"/>
                </a:cubicBezTo>
                <a:cubicBezTo>
                  <a:pt x="6217178" y="3839338"/>
                  <a:pt x="6226946" y="3849107"/>
                  <a:pt x="6236715" y="3858877"/>
                </a:cubicBezTo>
                <a:cubicBezTo>
                  <a:pt x="6266021" y="3878415"/>
                  <a:pt x="6275789" y="3888185"/>
                  <a:pt x="6305095" y="3917493"/>
                </a:cubicBezTo>
                <a:cubicBezTo>
                  <a:pt x="6314864" y="3917493"/>
                  <a:pt x="6314864" y="3927262"/>
                  <a:pt x="6324632" y="3927262"/>
                </a:cubicBezTo>
                <a:cubicBezTo>
                  <a:pt x="6324632" y="3937031"/>
                  <a:pt x="6334401" y="3946800"/>
                  <a:pt x="6344170" y="3956570"/>
                </a:cubicBezTo>
                <a:cubicBezTo>
                  <a:pt x="6353938" y="3966339"/>
                  <a:pt x="6363707" y="3976108"/>
                  <a:pt x="6363707" y="3976108"/>
                </a:cubicBezTo>
                <a:cubicBezTo>
                  <a:pt x="6373475" y="3985878"/>
                  <a:pt x="6402781" y="4015186"/>
                  <a:pt x="6412550" y="4015186"/>
                </a:cubicBezTo>
                <a:cubicBezTo>
                  <a:pt x="6412550" y="4024955"/>
                  <a:pt x="6422318" y="4034724"/>
                  <a:pt x="6432087" y="4044494"/>
                </a:cubicBezTo>
                <a:cubicBezTo>
                  <a:pt x="6441856" y="4054263"/>
                  <a:pt x="6441856" y="4054263"/>
                  <a:pt x="6441856" y="4054263"/>
                </a:cubicBezTo>
                <a:cubicBezTo>
                  <a:pt x="6451624" y="4064032"/>
                  <a:pt x="6461393" y="4073801"/>
                  <a:pt x="6471162" y="4083571"/>
                </a:cubicBezTo>
                <a:cubicBezTo>
                  <a:pt x="6480930" y="4093340"/>
                  <a:pt x="6490699" y="4103109"/>
                  <a:pt x="6490699" y="4103109"/>
                </a:cubicBezTo>
                <a:cubicBezTo>
                  <a:pt x="6490699" y="4103109"/>
                  <a:pt x="6500467" y="4112879"/>
                  <a:pt x="6500467" y="4112879"/>
                </a:cubicBezTo>
                <a:cubicBezTo>
                  <a:pt x="6500467" y="4112879"/>
                  <a:pt x="6510236" y="4122648"/>
                  <a:pt x="6520005" y="4132417"/>
                </a:cubicBezTo>
                <a:cubicBezTo>
                  <a:pt x="6529773" y="4142187"/>
                  <a:pt x="6539542" y="4151956"/>
                  <a:pt x="6549310" y="4161725"/>
                </a:cubicBezTo>
                <a:cubicBezTo>
                  <a:pt x="6559079" y="4171495"/>
                  <a:pt x="6568848" y="4181264"/>
                  <a:pt x="6578616" y="4191033"/>
                </a:cubicBezTo>
                <a:cubicBezTo>
                  <a:pt x="6617691" y="4230110"/>
                  <a:pt x="6637228" y="4249649"/>
                  <a:pt x="6637228" y="4249649"/>
                </a:cubicBezTo>
                <a:cubicBezTo>
                  <a:pt x="6637228" y="4259418"/>
                  <a:pt x="6637228" y="4259418"/>
                  <a:pt x="6627459" y="4249649"/>
                </a:cubicBezTo>
                <a:cubicBezTo>
                  <a:pt x="6627459" y="4249649"/>
                  <a:pt x="6617691" y="4239880"/>
                  <a:pt x="6617691" y="4239880"/>
                </a:cubicBezTo>
                <a:cubicBezTo>
                  <a:pt x="6607922" y="4230110"/>
                  <a:pt x="6598153" y="4220341"/>
                  <a:pt x="6598153" y="4220341"/>
                </a:cubicBezTo>
                <a:cubicBezTo>
                  <a:pt x="6598153" y="4220341"/>
                  <a:pt x="6588385" y="4220341"/>
                  <a:pt x="6588385" y="4210572"/>
                </a:cubicBezTo>
                <a:cubicBezTo>
                  <a:pt x="6588385" y="4210572"/>
                  <a:pt x="6578616" y="4210572"/>
                  <a:pt x="6578616" y="4210572"/>
                </a:cubicBezTo>
                <a:cubicBezTo>
                  <a:pt x="6578616" y="4210572"/>
                  <a:pt x="6578616" y="4210572"/>
                  <a:pt x="6578616" y="4200803"/>
                </a:cubicBezTo>
                <a:cubicBezTo>
                  <a:pt x="6578616" y="4200803"/>
                  <a:pt x="6568848" y="4200803"/>
                  <a:pt x="6568848" y="4200803"/>
                </a:cubicBezTo>
                <a:cubicBezTo>
                  <a:pt x="6568848" y="4191033"/>
                  <a:pt x="6559079" y="4191033"/>
                  <a:pt x="6559079" y="4191033"/>
                </a:cubicBezTo>
                <a:cubicBezTo>
                  <a:pt x="6559079" y="4181264"/>
                  <a:pt x="6549310" y="4181264"/>
                  <a:pt x="6549310" y="4181264"/>
                </a:cubicBezTo>
                <a:cubicBezTo>
                  <a:pt x="6549310" y="4181264"/>
                  <a:pt x="6529773" y="4161725"/>
                  <a:pt x="6529773" y="4161725"/>
                </a:cubicBezTo>
                <a:cubicBezTo>
                  <a:pt x="6529773" y="4161725"/>
                  <a:pt x="6529773" y="4151956"/>
                  <a:pt x="6520005" y="4151956"/>
                </a:cubicBezTo>
                <a:cubicBezTo>
                  <a:pt x="6520005" y="4151956"/>
                  <a:pt x="6520005" y="4151956"/>
                  <a:pt x="6510236" y="4142187"/>
                </a:cubicBezTo>
                <a:cubicBezTo>
                  <a:pt x="6510236" y="4142187"/>
                  <a:pt x="6510236" y="4144629"/>
                  <a:pt x="6510236" y="4147072"/>
                </a:cubicBezTo>
                <a:lnTo>
                  <a:pt x="6510236" y="4151068"/>
                </a:lnTo>
                <a:lnTo>
                  <a:pt x="6500467" y="4142187"/>
                </a:lnTo>
                <a:cubicBezTo>
                  <a:pt x="6490699" y="4142187"/>
                  <a:pt x="6480930" y="4132417"/>
                  <a:pt x="6480930" y="4132417"/>
                </a:cubicBezTo>
                <a:cubicBezTo>
                  <a:pt x="6471162" y="4122648"/>
                  <a:pt x="6471162" y="4122648"/>
                  <a:pt x="6461393" y="4112879"/>
                </a:cubicBezTo>
                <a:cubicBezTo>
                  <a:pt x="6451624" y="4103109"/>
                  <a:pt x="6441856" y="4093340"/>
                  <a:pt x="6432087" y="4093340"/>
                </a:cubicBezTo>
                <a:cubicBezTo>
                  <a:pt x="6422318" y="4083571"/>
                  <a:pt x="6412550" y="4073801"/>
                  <a:pt x="6412550" y="4073801"/>
                </a:cubicBezTo>
                <a:cubicBezTo>
                  <a:pt x="6402781" y="4064032"/>
                  <a:pt x="6393013" y="4064032"/>
                  <a:pt x="6373475" y="4044494"/>
                </a:cubicBezTo>
                <a:cubicBezTo>
                  <a:pt x="6344170" y="4024955"/>
                  <a:pt x="6334401" y="4015186"/>
                  <a:pt x="6334401" y="4015186"/>
                </a:cubicBezTo>
                <a:cubicBezTo>
                  <a:pt x="6334401" y="4015186"/>
                  <a:pt x="6324632" y="4015186"/>
                  <a:pt x="6314864" y="4005416"/>
                </a:cubicBezTo>
                <a:cubicBezTo>
                  <a:pt x="6324632" y="4015186"/>
                  <a:pt x="6334401" y="4024955"/>
                  <a:pt x="6334401" y="4024955"/>
                </a:cubicBezTo>
                <a:cubicBezTo>
                  <a:pt x="6334401" y="4034724"/>
                  <a:pt x="6344170" y="4034724"/>
                  <a:pt x="6344170" y="4034724"/>
                </a:cubicBezTo>
                <a:cubicBezTo>
                  <a:pt x="6344170" y="4034724"/>
                  <a:pt x="6353938" y="4044494"/>
                  <a:pt x="6363707" y="4054263"/>
                </a:cubicBezTo>
                <a:cubicBezTo>
                  <a:pt x="6363707" y="4064032"/>
                  <a:pt x="6383244" y="4073801"/>
                  <a:pt x="6393013" y="4083571"/>
                </a:cubicBezTo>
                <a:cubicBezTo>
                  <a:pt x="6393013" y="4093340"/>
                  <a:pt x="6412550" y="4103109"/>
                  <a:pt x="6412550" y="4112879"/>
                </a:cubicBezTo>
                <a:cubicBezTo>
                  <a:pt x="6422318" y="4112879"/>
                  <a:pt x="6432087" y="4122648"/>
                  <a:pt x="6432087" y="4122648"/>
                </a:cubicBezTo>
                <a:cubicBezTo>
                  <a:pt x="6422318" y="4122648"/>
                  <a:pt x="6422318" y="4122648"/>
                  <a:pt x="6422318" y="4122648"/>
                </a:cubicBezTo>
                <a:cubicBezTo>
                  <a:pt x="6422318" y="4132417"/>
                  <a:pt x="6412550" y="4132417"/>
                  <a:pt x="6402781" y="4112879"/>
                </a:cubicBezTo>
                <a:cubicBezTo>
                  <a:pt x="6402781" y="4112879"/>
                  <a:pt x="6383244" y="4103109"/>
                  <a:pt x="6373475" y="4093340"/>
                </a:cubicBezTo>
                <a:cubicBezTo>
                  <a:pt x="6353938" y="4073801"/>
                  <a:pt x="6344170" y="4064032"/>
                  <a:pt x="6324632" y="4034724"/>
                </a:cubicBezTo>
                <a:cubicBezTo>
                  <a:pt x="6314864" y="4034724"/>
                  <a:pt x="6314864" y="4034724"/>
                  <a:pt x="6305095" y="4024955"/>
                </a:cubicBezTo>
                <a:cubicBezTo>
                  <a:pt x="6305095" y="4024955"/>
                  <a:pt x="6305095" y="4024955"/>
                  <a:pt x="6295327" y="4024955"/>
                </a:cubicBezTo>
                <a:cubicBezTo>
                  <a:pt x="6285558" y="4015186"/>
                  <a:pt x="6275789" y="4015186"/>
                  <a:pt x="6266021" y="4015186"/>
                </a:cubicBezTo>
                <a:cubicBezTo>
                  <a:pt x="6266021" y="4015186"/>
                  <a:pt x="6256252" y="4015186"/>
                  <a:pt x="6256252" y="4015186"/>
                </a:cubicBezTo>
                <a:cubicBezTo>
                  <a:pt x="6256252" y="4015186"/>
                  <a:pt x="6256252" y="4015186"/>
                  <a:pt x="6256252" y="4024955"/>
                </a:cubicBezTo>
                <a:cubicBezTo>
                  <a:pt x="6266021" y="4024955"/>
                  <a:pt x="6266021" y="4024955"/>
                  <a:pt x="6256252" y="4034724"/>
                </a:cubicBezTo>
                <a:cubicBezTo>
                  <a:pt x="6256252" y="4034724"/>
                  <a:pt x="6256252" y="4044494"/>
                  <a:pt x="6266021" y="4044494"/>
                </a:cubicBezTo>
                <a:cubicBezTo>
                  <a:pt x="6266021" y="4044494"/>
                  <a:pt x="6275789" y="4044494"/>
                  <a:pt x="6275789" y="4044494"/>
                </a:cubicBezTo>
                <a:cubicBezTo>
                  <a:pt x="6275789" y="4044494"/>
                  <a:pt x="6275789" y="4054263"/>
                  <a:pt x="6285558" y="4054263"/>
                </a:cubicBezTo>
                <a:cubicBezTo>
                  <a:pt x="6285558" y="4054263"/>
                  <a:pt x="6285558" y="4054263"/>
                  <a:pt x="6285558" y="4064032"/>
                </a:cubicBezTo>
                <a:cubicBezTo>
                  <a:pt x="6285558" y="4064032"/>
                  <a:pt x="6285558" y="4064032"/>
                  <a:pt x="6295327" y="4064032"/>
                </a:cubicBezTo>
                <a:cubicBezTo>
                  <a:pt x="6295327" y="4064032"/>
                  <a:pt x="6305095" y="4064032"/>
                  <a:pt x="6305095" y="4073801"/>
                </a:cubicBezTo>
                <a:cubicBezTo>
                  <a:pt x="6305095" y="4073801"/>
                  <a:pt x="6305095" y="4073801"/>
                  <a:pt x="6314864" y="4083571"/>
                </a:cubicBezTo>
                <a:cubicBezTo>
                  <a:pt x="6314864" y="4083571"/>
                  <a:pt x="6324632" y="4093340"/>
                  <a:pt x="6324632" y="4093340"/>
                </a:cubicBezTo>
                <a:cubicBezTo>
                  <a:pt x="6324632" y="4093340"/>
                  <a:pt x="6324632" y="4093340"/>
                  <a:pt x="6334401" y="4093340"/>
                </a:cubicBezTo>
                <a:cubicBezTo>
                  <a:pt x="6344170" y="4103109"/>
                  <a:pt x="6363707" y="4112879"/>
                  <a:pt x="6363707" y="4122648"/>
                </a:cubicBezTo>
                <a:cubicBezTo>
                  <a:pt x="6373475" y="4132417"/>
                  <a:pt x="6422318" y="4171495"/>
                  <a:pt x="6422318" y="4171495"/>
                </a:cubicBezTo>
                <a:cubicBezTo>
                  <a:pt x="6422318" y="4171495"/>
                  <a:pt x="6422318" y="4171495"/>
                  <a:pt x="6402781" y="4161725"/>
                </a:cubicBezTo>
                <a:cubicBezTo>
                  <a:pt x="6402781" y="4151956"/>
                  <a:pt x="6393013" y="4151956"/>
                  <a:pt x="6393013" y="4151956"/>
                </a:cubicBezTo>
                <a:cubicBezTo>
                  <a:pt x="6383244" y="4142187"/>
                  <a:pt x="6383244" y="4142187"/>
                  <a:pt x="6353938" y="4122648"/>
                </a:cubicBezTo>
                <a:cubicBezTo>
                  <a:pt x="6353938" y="4122648"/>
                  <a:pt x="6344170" y="4112879"/>
                  <a:pt x="6334401" y="4112879"/>
                </a:cubicBezTo>
                <a:cubicBezTo>
                  <a:pt x="6334401" y="4112879"/>
                  <a:pt x="6324632" y="4103109"/>
                  <a:pt x="6324632" y="4103109"/>
                </a:cubicBezTo>
                <a:cubicBezTo>
                  <a:pt x="6324632" y="4103109"/>
                  <a:pt x="6314864" y="4093340"/>
                  <a:pt x="6314864" y="4093340"/>
                </a:cubicBezTo>
                <a:cubicBezTo>
                  <a:pt x="6305095" y="4093340"/>
                  <a:pt x="6295327" y="4083571"/>
                  <a:pt x="6295327" y="4083571"/>
                </a:cubicBezTo>
                <a:cubicBezTo>
                  <a:pt x="6295327" y="4073801"/>
                  <a:pt x="6285558" y="4064032"/>
                  <a:pt x="6275789" y="4064032"/>
                </a:cubicBezTo>
                <a:cubicBezTo>
                  <a:pt x="6275789" y="4064032"/>
                  <a:pt x="6266021" y="4064032"/>
                  <a:pt x="6275789" y="4073801"/>
                </a:cubicBezTo>
                <a:cubicBezTo>
                  <a:pt x="6285558" y="4073801"/>
                  <a:pt x="6285558" y="4073801"/>
                  <a:pt x="6285558" y="4083571"/>
                </a:cubicBezTo>
                <a:cubicBezTo>
                  <a:pt x="6285558" y="4083571"/>
                  <a:pt x="6295327" y="4093340"/>
                  <a:pt x="6305095" y="4093340"/>
                </a:cubicBezTo>
                <a:cubicBezTo>
                  <a:pt x="6305095" y="4103109"/>
                  <a:pt x="6314864" y="4103109"/>
                  <a:pt x="6314864" y="4112879"/>
                </a:cubicBezTo>
                <a:cubicBezTo>
                  <a:pt x="6324632" y="4112879"/>
                  <a:pt x="6344170" y="4132417"/>
                  <a:pt x="6353938" y="4142187"/>
                </a:cubicBezTo>
                <a:cubicBezTo>
                  <a:pt x="6363707" y="4142187"/>
                  <a:pt x="6373475" y="4151956"/>
                  <a:pt x="6373475" y="4151956"/>
                </a:cubicBezTo>
                <a:cubicBezTo>
                  <a:pt x="6373475" y="4151956"/>
                  <a:pt x="6383244" y="4161725"/>
                  <a:pt x="6393013" y="4161725"/>
                </a:cubicBezTo>
                <a:cubicBezTo>
                  <a:pt x="6393013" y="4171495"/>
                  <a:pt x="6402781" y="4171495"/>
                  <a:pt x="6402781" y="4171495"/>
                </a:cubicBezTo>
                <a:cubicBezTo>
                  <a:pt x="6402781" y="4181264"/>
                  <a:pt x="6412550" y="4191033"/>
                  <a:pt x="6422318" y="4191033"/>
                </a:cubicBezTo>
                <a:lnTo>
                  <a:pt x="6441856" y="4210572"/>
                </a:lnTo>
                <a:lnTo>
                  <a:pt x="6436971" y="4210572"/>
                </a:lnTo>
                <a:cubicBezTo>
                  <a:pt x="6434529" y="4210572"/>
                  <a:pt x="6432087" y="4210572"/>
                  <a:pt x="6432087" y="4210572"/>
                </a:cubicBezTo>
                <a:cubicBezTo>
                  <a:pt x="6422318" y="4210572"/>
                  <a:pt x="6422318" y="4220341"/>
                  <a:pt x="6441856" y="4230110"/>
                </a:cubicBezTo>
                <a:cubicBezTo>
                  <a:pt x="6451624" y="4239880"/>
                  <a:pt x="6461393" y="4249649"/>
                  <a:pt x="6461393" y="4249649"/>
                </a:cubicBezTo>
                <a:cubicBezTo>
                  <a:pt x="6471162" y="4249649"/>
                  <a:pt x="6471162" y="4259418"/>
                  <a:pt x="6480930" y="4269188"/>
                </a:cubicBezTo>
                <a:cubicBezTo>
                  <a:pt x="6490699" y="4278957"/>
                  <a:pt x="6490699" y="4278957"/>
                  <a:pt x="6490699" y="4288726"/>
                </a:cubicBezTo>
                <a:cubicBezTo>
                  <a:pt x="6490699" y="4288726"/>
                  <a:pt x="6490699" y="4288726"/>
                  <a:pt x="6461393" y="4269188"/>
                </a:cubicBezTo>
                <a:cubicBezTo>
                  <a:pt x="6451624" y="4249649"/>
                  <a:pt x="6441856" y="4249649"/>
                  <a:pt x="6441856" y="4249649"/>
                </a:cubicBezTo>
                <a:cubicBezTo>
                  <a:pt x="6432087" y="4249649"/>
                  <a:pt x="6432087" y="4249649"/>
                  <a:pt x="6412550" y="4230110"/>
                </a:cubicBezTo>
                <a:cubicBezTo>
                  <a:pt x="6412550" y="4230110"/>
                  <a:pt x="6412550" y="4220341"/>
                  <a:pt x="6402781" y="4220341"/>
                </a:cubicBezTo>
                <a:cubicBezTo>
                  <a:pt x="6402781" y="4220341"/>
                  <a:pt x="6393013" y="4210572"/>
                  <a:pt x="6393013" y="4210572"/>
                </a:cubicBezTo>
                <a:cubicBezTo>
                  <a:pt x="6383244" y="4200803"/>
                  <a:pt x="6373475" y="4191033"/>
                  <a:pt x="6363707" y="4200803"/>
                </a:cubicBezTo>
                <a:cubicBezTo>
                  <a:pt x="6353938" y="4200803"/>
                  <a:pt x="6353938" y="4200803"/>
                  <a:pt x="6344170" y="4191033"/>
                </a:cubicBezTo>
                <a:cubicBezTo>
                  <a:pt x="6344170" y="4191033"/>
                  <a:pt x="6334401" y="4181264"/>
                  <a:pt x="6334401" y="4181264"/>
                </a:cubicBezTo>
                <a:cubicBezTo>
                  <a:pt x="6324632" y="4181264"/>
                  <a:pt x="6324632" y="4181264"/>
                  <a:pt x="6324632" y="4171495"/>
                </a:cubicBezTo>
                <a:cubicBezTo>
                  <a:pt x="6324632" y="4171495"/>
                  <a:pt x="6305095" y="4151956"/>
                  <a:pt x="6295327" y="4151956"/>
                </a:cubicBezTo>
                <a:cubicBezTo>
                  <a:pt x="6285558" y="4142187"/>
                  <a:pt x="6275789" y="4142187"/>
                  <a:pt x="6275789" y="4142187"/>
                </a:cubicBezTo>
                <a:cubicBezTo>
                  <a:pt x="6266021" y="4132417"/>
                  <a:pt x="6246483" y="4122648"/>
                  <a:pt x="6246483" y="4122648"/>
                </a:cubicBezTo>
                <a:cubicBezTo>
                  <a:pt x="6246483" y="4112879"/>
                  <a:pt x="6246483" y="4112879"/>
                  <a:pt x="6246483" y="4112879"/>
                </a:cubicBezTo>
                <a:cubicBezTo>
                  <a:pt x="6236715" y="4112879"/>
                  <a:pt x="6236715" y="4103109"/>
                  <a:pt x="6236715" y="4103109"/>
                </a:cubicBezTo>
                <a:cubicBezTo>
                  <a:pt x="6236715" y="4093340"/>
                  <a:pt x="6236715" y="4093340"/>
                  <a:pt x="6226946" y="4093340"/>
                </a:cubicBezTo>
                <a:cubicBezTo>
                  <a:pt x="6217178" y="4093340"/>
                  <a:pt x="6217178" y="4093340"/>
                  <a:pt x="6226946" y="4103109"/>
                </a:cubicBezTo>
                <a:cubicBezTo>
                  <a:pt x="6226946" y="4103109"/>
                  <a:pt x="6226946" y="4112879"/>
                  <a:pt x="6236715" y="4112879"/>
                </a:cubicBezTo>
                <a:cubicBezTo>
                  <a:pt x="6236715" y="4112879"/>
                  <a:pt x="6236715" y="4112879"/>
                  <a:pt x="6236715" y="4122648"/>
                </a:cubicBezTo>
                <a:cubicBezTo>
                  <a:pt x="6236715" y="4122648"/>
                  <a:pt x="6226946" y="4112879"/>
                  <a:pt x="6217178" y="4103109"/>
                </a:cubicBezTo>
                <a:cubicBezTo>
                  <a:pt x="6217178" y="4103109"/>
                  <a:pt x="6207409" y="4093340"/>
                  <a:pt x="6207409" y="4093340"/>
                </a:cubicBezTo>
                <a:cubicBezTo>
                  <a:pt x="6207409" y="4093340"/>
                  <a:pt x="6207409" y="4093340"/>
                  <a:pt x="6197640" y="4083571"/>
                </a:cubicBezTo>
                <a:cubicBezTo>
                  <a:pt x="6197640" y="4083571"/>
                  <a:pt x="6197640" y="4083571"/>
                  <a:pt x="6168335" y="4073801"/>
                </a:cubicBezTo>
                <a:cubicBezTo>
                  <a:pt x="6148797" y="4064032"/>
                  <a:pt x="6139029" y="4054263"/>
                  <a:pt x="6139029" y="4054263"/>
                </a:cubicBezTo>
                <a:cubicBezTo>
                  <a:pt x="6109723" y="4024955"/>
                  <a:pt x="6090186" y="4005416"/>
                  <a:pt x="6080417" y="4005416"/>
                </a:cubicBezTo>
                <a:cubicBezTo>
                  <a:pt x="6080417" y="4015186"/>
                  <a:pt x="6090186" y="4024955"/>
                  <a:pt x="6099954" y="4024955"/>
                </a:cubicBezTo>
                <a:cubicBezTo>
                  <a:pt x="6109723" y="4034724"/>
                  <a:pt x="6109723" y="4044494"/>
                  <a:pt x="6119492" y="4044494"/>
                </a:cubicBezTo>
                <a:cubicBezTo>
                  <a:pt x="6129260" y="4054263"/>
                  <a:pt x="6139029" y="4064032"/>
                  <a:pt x="6148797" y="4073801"/>
                </a:cubicBezTo>
                <a:cubicBezTo>
                  <a:pt x="6148797" y="4073801"/>
                  <a:pt x="6158566" y="4083571"/>
                  <a:pt x="6158566" y="4083571"/>
                </a:cubicBezTo>
                <a:cubicBezTo>
                  <a:pt x="6158566" y="4083571"/>
                  <a:pt x="6168335" y="4083571"/>
                  <a:pt x="6168335" y="4093340"/>
                </a:cubicBezTo>
                <a:cubicBezTo>
                  <a:pt x="6168335" y="4093340"/>
                  <a:pt x="6178103" y="4093340"/>
                  <a:pt x="6178103" y="4093340"/>
                </a:cubicBezTo>
                <a:cubicBezTo>
                  <a:pt x="6178103" y="4103109"/>
                  <a:pt x="6178103" y="4103109"/>
                  <a:pt x="6168335" y="4103109"/>
                </a:cubicBezTo>
                <a:cubicBezTo>
                  <a:pt x="6178103" y="4103109"/>
                  <a:pt x="6178103" y="4103109"/>
                  <a:pt x="6178103" y="4103109"/>
                </a:cubicBezTo>
                <a:cubicBezTo>
                  <a:pt x="6178103" y="4103109"/>
                  <a:pt x="6178103" y="4103109"/>
                  <a:pt x="6187872" y="4112879"/>
                </a:cubicBezTo>
                <a:cubicBezTo>
                  <a:pt x="6197640" y="4112879"/>
                  <a:pt x="6197640" y="4112879"/>
                  <a:pt x="6207409" y="4122648"/>
                </a:cubicBezTo>
                <a:cubicBezTo>
                  <a:pt x="6207409" y="4122648"/>
                  <a:pt x="6197640" y="4122648"/>
                  <a:pt x="6197640" y="4122648"/>
                </a:cubicBezTo>
                <a:cubicBezTo>
                  <a:pt x="6187872" y="4112879"/>
                  <a:pt x="6187872" y="4112879"/>
                  <a:pt x="6187872" y="4122648"/>
                </a:cubicBezTo>
                <a:cubicBezTo>
                  <a:pt x="6187872" y="4122648"/>
                  <a:pt x="6197640" y="4122648"/>
                  <a:pt x="6197640" y="4122648"/>
                </a:cubicBezTo>
                <a:cubicBezTo>
                  <a:pt x="6197640" y="4122648"/>
                  <a:pt x="6207409" y="4132417"/>
                  <a:pt x="6217178" y="4142187"/>
                </a:cubicBezTo>
                <a:cubicBezTo>
                  <a:pt x="6226946" y="4151956"/>
                  <a:pt x="6226946" y="4151956"/>
                  <a:pt x="6226946" y="4151956"/>
                </a:cubicBezTo>
                <a:cubicBezTo>
                  <a:pt x="6217178" y="4151956"/>
                  <a:pt x="6197640" y="4132417"/>
                  <a:pt x="6197640" y="4132417"/>
                </a:cubicBezTo>
                <a:cubicBezTo>
                  <a:pt x="6197640" y="4132417"/>
                  <a:pt x="6207409" y="4142187"/>
                  <a:pt x="6207409" y="4151956"/>
                </a:cubicBezTo>
                <a:cubicBezTo>
                  <a:pt x="6197640" y="4142187"/>
                  <a:pt x="6168335" y="4112879"/>
                  <a:pt x="6158566" y="4103109"/>
                </a:cubicBezTo>
                <a:cubicBezTo>
                  <a:pt x="6148797" y="4093340"/>
                  <a:pt x="6148797" y="4093340"/>
                  <a:pt x="6148797" y="4093340"/>
                </a:cubicBezTo>
                <a:cubicBezTo>
                  <a:pt x="6148797" y="4093340"/>
                  <a:pt x="6139029" y="4093340"/>
                  <a:pt x="6139029" y="4093340"/>
                </a:cubicBezTo>
                <a:cubicBezTo>
                  <a:pt x="6139029" y="4083571"/>
                  <a:pt x="6139029" y="4083571"/>
                  <a:pt x="6129260" y="4083571"/>
                </a:cubicBezTo>
                <a:cubicBezTo>
                  <a:pt x="6109723" y="4083571"/>
                  <a:pt x="6099954" y="4083571"/>
                  <a:pt x="6099954" y="4083571"/>
                </a:cubicBezTo>
                <a:cubicBezTo>
                  <a:pt x="6099954" y="4093340"/>
                  <a:pt x="6099954" y="4093340"/>
                  <a:pt x="6090186" y="4083571"/>
                </a:cubicBezTo>
                <a:cubicBezTo>
                  <a:pt x="6090186" y="4083571"/>
                  <a:pt x="6080417" y="4083571"/>
                  <a:pt x="6070648" y="4073801"/>
                </a:cubicBezTo>
                <a:cubicBezTo>
                  <a:pt x="6060880" y="4064032"/>
                  <a:pt x="6060880" y="4064032"/>
                  <a:pt x="6051111" y="4064032"/>
                </a:cubicBezTo>
                <a:cubicBezTo>
                  <a:pt x="6051111" y="4064032"/>
                  <a:pt x="6041343" y="4064032"/>
                  <a:pt x="6041343" y="4054263"/>
                </a:cubicBezTo>
                <a:cubicBezTo>
                  <a:pt x="6041343" y="4044494"/>
                  <a:pt x="6031574" y="4044494"/>
                  <a:pt x="6031574" y="4044494"/>
                </a:cubicBezTo>
                <a:cubicBezTo>
                  <a:pt x="6031574" y="4044494"/>
                  <a:pt x="6031574" y="4034724"/>
                  <a:pt x="6031574" y="4034724"/>
                </a:cubicBezTo>
                <a:cubicBezTo>
                  <a:pt x="6031574" y="4034724"/>
                  <a:pt x="6021805" y="4034724"/>
                  <a:pt x="6021805" y="4034724"/>
                </a:cubicBezTo>
                <a:cubicBezTo>
                  <a:pt x="6021805" y="4034724"/>
                  <a:pt x="6021805" y="4024955"/>
                  <a:pt x="6021805" y="4024955"/>
                </a:cubicBezTo>
                <a:cubicBezTo>
                  <a:pt x="6021805" y="4024955"/>
                  <a:pt x="6012037" y="4024955"/>
                  <a:pt x="6012037" y="4024955"/>
                </a:cubicBezTo>
                <a:cubicBezTo>
                  <a:pt x="6012037" y="4015186"/>
                  <a:pt x="5992500" y="4005416"/>
                  <a:pt x="5982731" y="3995647"/>
                </a:cubicBezTo>
                <a:cubicBezTo>
                  <a:pt x="5982731" y="3985878"/>
                  <a:pt x="5953425" y="3966339"/>
                  <a:pt x="5953425" y="3966339"/>
                </a:cubicBezTo>
                <a:cubicBezTo>
                  <a:pt x="5953425" y="3976108"/>
                  <a:pt x="5953425" y="3976108"/>
                  <a:pt x="5953425" y="3976108"/>
                </a:cubicBezTo>
                <a:cubicBezTo>
                  <a:pt x="5953425" y="3976108"/>
                  <a:pt x="5943657" y="3976108"/>
                  <a:pt x="5943657" y="3976108"/>
                </a:cubicBezTo>
                <a:cubicBezTo>
                  <a:pt x="5924119" y="3966339"/>
                  <a:pt x="5924119" y="3966339"/>
                  <a:pt x="5924119" y="3966339"/>
                </a:cubicBezTo>
                <a:cubicBezTo>
                  <a:pt x="5933888" y="3956570"/>
                  <a:pt x="5924119" y="3956570"/>
                  <a:pt x="5914351" y="3946800"/>
                </a:cubicBezTo>
                <a:cubicBezTo>
                  <a:pt x="5904582" y="3937031"/>
                  <a:pt x="5904582" y="3937031"/>
                  <a:pt x="5904582" y="3937031"/>
                </a:cubicBezTo>
                <a:cubicBezTo>
                  <a:pt x="5904582" y="3937031"/>
                  <a:pt x="5904582" y="3937031"/>
                  <a:pt x="5894813" y="3937031"/>
                </a:cubicBezTo>
                <a:cubicBezTo>
                  <a:pt x="5894813" y="3927262"/>
                  <a:pt x="5885045" y="3927262"/>
                  <a:pt x="5885045" y="3917493"/>
                </a:cubicBezTo>
                <a:cubicBezTo>
                  <a:pt x="5885045" y="3917493"/>
                  <a:pt x="5875276" y="3917493"/>
                  <a:pt x="5865508" y="3907723"/>
                </a:cubicBezTo>
                <a:cubicBezTo>
                  <a:pt x="5855739" y="3897954"/>
                  <a:pt x="5836202" y="3888185"/>
                  <a:pt x="5836202" y="3888185"/>
                </a:cubicBezTo>
                <a:cubicBezTo>
                  <a:pt x="5836202" y="3888185"/>
                  <a:pt x="5865508" y="3907723"/>
                  <a:pt x="5865508" y="3917493"/>
                </a:cubicBezTo>
                <a:cubicBezTo>
                  <a:pt x="5865508" y="3917493"/>
                  <a:pt x="5875276" y="3927262"/>
                  <a:pt x="5885045" y="3937031"/>
                </a:cubicBezTo>
                <a:cubicBezTo>
                  <a:pt x="5894813" y="3946800"/>
                  <a:pt x="5904582" y="3956570"/>
                  <a:pt x="5914351" y="3956570"/>
                </a:cubicBezTo>
                <a:cubicBezTo>
                  <a:pt x="5924119" y="3976108"/>
                  <a:pt x="5933888" y="3985878"/>
                  <a:pt x="5943657" y="3985878"/>
                </a:cubicBezTo>
                <a:cubicBezTo>
                  <a:pt x="5943657" y="3985878"/>
                  <a:pt x="5953425" y="3995647"/>
                  <a:pt x="5953425" y="3995647"/>
                </a:cubicBezTo>
                <a:cubicBezTo>
                  <a:pt x="5963194" y="4005416"/>
                  <a:pt x="5972962" y="4015186"/>
                  <a:pt x="5972962" y="4015186"/>
                </a:cubicBezTo>
                <a:cubicBezTo>
                  <a:pt x="5982731" y="4015186"/>
                  <a:pt x="6002268" y="4034724"/>
                  <a:pt x="6002268" y="4044494"/>
                </a:cubicBezTo>
                <a:cubicBezTo>
                  <a:pt x="6012037" y="4044494"/>
                  <a:pt x="6012037" y="4054263"/>
                  <a:pt x="6012037" y="4054263"/>
                </a:cubicBezTo>
                <a:cubicBezTo>
                  <a:pt x="6021805" y="4054263"/>
                  <a:pt x="6021805" y="4054263"/>
                  <a:pt x="6021805" y="4054263"/>
                </a:cubicBezTo>
                <a:cubicBezTo>
                  <a:pt x="6021805" y="4054263"/>
                  <a:pt x="6041343" y="4073801"/>
                  <a:pt x="6051111" y="4083571"/>
                </a:cubicBezTo>
                <a:cubicBezTo>
                  <a:pt x="6051111" y="4083571"/>
                  <a:pt x="6031574" y="4083571"/>
                  <a:pt x="6021805" y="4073801"/>
                </a:cubicBezTo>
                <a:cubicBezTo>
                  <a:pt x="6021805" y="4073801"/>
                  <a:pt x="6012037" y="4064032"/>
                  <a:pt x="6012037" y="4064032"/>
                </a:cubicBezTo>
                <a:cubicBezTo>
                  <a:pt x="6002268" y="4064032"/>
                  <a:pt x="6002268" y="4064032"/>
                  <a:pt x="6012037" y="4073801"/>
                </a:cubicBezTo>
                <a:cubicBezTo>
                  <a:pt x="6021805" y="4083571"/>
                  <a:pt x="6031574" y="4083571"/>
                  <a:pt x="6031574" y="4103109"/>
                </a:cubicBezTo>
                <a:cubicBezTo>
                  <a:pt x="6031574" y="4103109"/>
                  <a:pt x="6041343" y="4112879"/>
                  <a:pt x="6041343" y="4112879"/>
                </a:cubicBezTo>
                <a:cubicBezTo>
                  <a:pt x="6031574" y="4103109"/>
                  <a:pt x="6031574" y="4103109"/>
                  <a:pt x="6021805" y="4112879"/>
                </a:cubicBezTo>
                <a:cubicBezTo>
                  <a:pt x="6012037" y="4112879"/>
                  <a:pt x="6002268" y="4112879"/>
                  <a:pt x="5992500" y="4103109"/>
                </a:cubicBezTo>
                <a:cubicBezTo>
                  <a:pt x="5992500" y="4103109"/>
                  <a:pt x="5982731" y="4093340"/>
                  <a:pt x="5982731" y="4093340"/>
                </a:cubicBezTo>
                <a:cubicBezTo>
                  <a:pt x="5982731" y="4093340"/>
                  <a:pt x="5972962" y="4083571"/>
                  <a:pt x="5953425" y="4073801"/>
                </a:cubicBezTo>
                <a:cubicBezTo>
                  <a:pt x="5943657" y="4054263"/>
                  <a:pt x="5933888" y="4054263"/>
                  <a:pt x="5933888" y="4054263"/>
                </a:cubicBezTo>
                <a:cubicBezTo>
                  <a:pt x="5924119" y="4044494"/>
                  <a:pt x="5924119" y="4044494"/>
                  <a:pt x="5914351" y="4044494"/>
                </a:cubicBezTo>
                <a:cubicBezTo>
                  <a:pt x="5904582" y="4024955"/>
                  <a:pt x="5894813" y="4024955"/>
                  <a:pt x="5885045" y="4024955"/>
                </a:cubicBezTo>
                <a:cubicBezTo>
                  <a:pt x="5875276" y="4015186"/>
                  <a:pt x="5875276" y="4015186"/>
                  <a:pt x="5875276" y="4015186"/>
                </a:cubicBezTo>
                <a:cubicBezTo>
                  <a:pt x="5845970" y="3995647"/>
                  <a:pt x="5836202" y="3985878"/>
                  <a:pt x="5836202" y="3985878"/>
                </a:cubicBezTo>
                <a:cubicBezTo>
                  <a:pt x="5836202" y="3995647"/>
                  <a:pt x="5855739" y="4015186"/>
                  <a:pt x="5865508" y="4015186"/>
                </a:cubicBezTo>
                <a:cubicBezTo>
                  <a:pt x="5875276" y="4024955"/>
                  <a:pt x="5875276" y="4024955"/>
                  <a:pt x="5885045" y="4034724"/>
                </a:cubicBezTo>
                <a:cubicBezTo>
                  <a:pt x="5894813" y="4044494"/>
                  <a:pt x="5894813" y="4044494"/>
                  <a:pt x="5904582" y="4044494"/>
                </a:cubicBezTo>
                <a:cubicBezTo>
                  <a:pt x="5904582" y="4044494"/>
                  <a:pt x="5904582" y="4054263"/>
                  <a:pt x="5904582" y="4054263"/>
                </a:cubicBezTo>
                <a:cubicBezTo>
                  <a:pt x="5904582" y="4054263"/>
                  <a:pt x="5904582" y="4064032"/>
                  <a:pt x="5914351" y="4064032"/>
                </a:cubicBezTo>
                <a:cubicBezTo>
                  <a:pt x="5914351" y="4073801"/>
                  <a:pt x="5924119" y="4073801"/>
                  <a:pt x="5933888" y="4083571"/>
                </a:cubicBezTo>
                <a:cubicBezTo>
                  <a:pt x="5943657" y="4093340"/>
                  <a:pt x="5943657" y="4103109"/>
                  <a:pt x="5943657" y="4103109"/>
                </a:cubicBezTo>
                <a:cubicBezTo>
                  <a:pt x="5943657" y="4103109"/>
                  <a:pt x="5953425" y="4112879"/>
                  <a:pt x="5953425" y="4122648"/>
                </a:cubicBezTo>
                <a:cubicBezTo>
                  <a:pt x="5943657" y="4132417"/>
                  <a:pt x="5933888" y="4132417"/>
                  <a:pt x="5924119" y="4122648"/>
                </a:cubicBezTo>
                <a:cubicBezTo>
                  <a:pt x="5924119" y="4122648"/>
                  <a:pt x="5914351" y="4122648"/>
                  <a:pt x="5914351" y="4122648"/>
                </a:cubicBezTo>
                <a:cubicBezTo>
                  <a:pt x="5914351" y="4122648"/>
                  <a:pt x="5904582" y="4122648"/>
                  <a:pt x="5904582" y="4122648"/>
                </a:cubicBezTo>
                <a:cubicBezTo>
                  <a:pt x="5904582" y="4112879"/>
                  <a:pt x="5885045" y="4103109"/>
                  <a:pt x="5875276" y="4093340"/>
                </a:cubicBezTo>
                <a:cubicBezTo>
                  <a:pt x="5865508" y="4083571"/>
                  <a:pt x="5855739" y="4073801"/>
                  <a:pt x="5845970" y="4064032"/>
                </a:cubicBezTo>
                <a:cubicBezTo>
                  <a:pt x="5816665" y="4044494"/>
                  <a:pt x="5787359" y="4024955"/>
                  <a:pt x="5777590" y="4015186"/>
                </a:cubicBezTo>
                <a:cubicBezTo>
                  <a:pt x="5777590" y="4015186"/>
                  <a:pt x="5767822" y="4015186"/>
                  <a:pt x="5767822" y="4005416"/>
                </a:cubicBezTo>
                <a:cubicBezTo>
                  <a:pt x="5758053" y="4005416"/>
                  <a:pt x="5758053" y="3995647"/>
                  <a:pt x="5748284" y="3995647"/>
                </a:cubicBezTo>
                <a:cubicBezTo>
                  <a:pt x="5738516" y="4005416"/>
                  <a:pt x="5738516" y="4005416"/>
                  <a:pt x="5738516" y="4005416"/>
                </a:cubicBezTo>
                <a:cubicBezTo>
                  <a:pt x="5738516" y="4005416"/>
                  <a:pt x="5748284" y="4015186"/>
                  <a:pt x="5748284" y="4015186"/>
                </a:cubicBezTo>
                <a:cubicBezTo>
                  <a:pt x="5787359" y="4054263"/>
                  <a:pt x="5797127" y="4054263"/>
                  <a:pt x="5797127" y="4064032"/>
                </a:cubicBezTo>
                <a:cubicBezTo>
                  <a:pt x="5797127" y="4073801"/>
                  <a:pt x="5797127" y="4073801"/>
                  <a:pt x="5787359" y="4073801"/>
                </a:cubicBezTo>
                <a:cubicBezTo>
                  <a:pt x="5787359" y="4073801"/>
                  <a:pt x="5787359" y="4073801"/>
                  <a:pt x="5777590" y="4073801"/>
                </a:cubicBezTo>
                <a:cubicBezTo>
                  <a:pt x="5777590" y="4073801"/>
                  <a:pt x="5767822" y="4073801"/>
                  <a:pt x="5767822" y="4073801"/>
                </a:cubicBezTo>
                <a:cubicBezTo>
                  <a:pt x="5748284" y="4064032"/>
                  <a:pt x="5748284" y="4064032"/>
                  <a:pt x="5709210" y="4024955"/>
                </a:cubicBezTo>
                <a:cubicBezTo>
                  <a:pt x="5709210" y="4024955"/>
                  <a:pt x="5699441" y="4015186"/>
                  <a:pt x="5689673" y="4005416"/>
                </a:cubicBezTo>
                <a:cubicBezTo>
                  <a:pt x="5679904" y="4005416"/>
                  <a:pt x="5679904" y="4005416"/>
                  <a:pt x="5679904" y="4005416"/>
                </a:cubicBezTo>
                <a:cubicBezTo>
                  <a:pt x="5679904" y="3995647"/>
                  <a:pt x="5670135" y="3995647"/>
                  <a:pt x="5660367" y="3985878"/>
                </a:cubicBezTo>
                <a:cubicBezTo>
                  <a:pt x="5650598" y="3976108"/>
                  <a:pt x="5650598" y="3976108"/>
                  <a:pt x="5640830" y="3966339"/>
                </a:cubicBezTo>
                <a:cubicBezTo>
                  <a:pt x="5640830" y="3956570"/>
                  <a:pt x="5631061" y="3946800"/>
                  <a:pt x="5611524" y="3937031"/>
                </a:cubicBezTo>
                <a:cubicBezTo>
                  <a:pt x="5601755" y="3937031"/>
                  <a:pt x="5591986" y="3927262"/>
                  <a:pt x="5582218" y="3917493"/>
                </a:cubicBezTo>
                <a:cubicBezTo>
                  <a:pt x="5572449" y="3917493"/>
                  <a:pt x="5562681" y="3907723"/>
                  <a:pt x="5552912" y="3907723"/>
                </a:cubicBezTo>
                <a:cubicBezTo>
                  <a:pt x="5562681" y="3897954"/>
                  <a:pt x="5562681" y="3897954"/>
                  <a:pt x="5552912" y="3897954"/>
                </a:cubicBezTo>
                <a:cubicBezTo>
                  <a:pt x="5552912" y="3888185"/>
                  <a:pt x="5533375" y="3868646"/>
                  <a:pt x="5513838" y="3858877"/>
                </a:cubicBezTo>
                <a:cubicBezTo>
                  <a:pt x="5504069" y="3858877"/>
                  <a:pt x="5504069" y="3849107"/>
                  <a:pt x="5494300" y="3849107"/>
                </a:cubicBezTo>
                <a:cubicBezTo>
                  <a:pt x="5494300" y="3849107"/>
                  <a:pt x="5484532" y="3839338"/>
                  <a:pt x="5474763" y="3839338"/>
                </a:cubicBezTo>
                <a:cubicBezTo>
                  <a:pt x="5474763" y="3839338"/>
                  <a:pt x="5464995" y="3829569"/>
                  <a:pt x="5464995" y="3829569"/>
                </a:cubicBezTo>
                <a:cubicBezTo>
                  <a:pt x="5464995" y="3829569"/>
                  <a:pt x="5455226" y="3829569"/>
                  <a:pt x="5455226" y="3829569"/>
                </a:cubicBezTo>
                <a:cubicBezTo>
                  <a:pt x="5455226" y="3819799"/>
                  <a:pt x="5445457" y="3810030"/>
                  <a:pt x="5435689" y="3810030"/>
                </a:cubicBezTo>
                <a:cubicBezTo>
                  <a:pt x="5396614" y="3790492"/>
                  <a:pt x="5357540" y="3770953"/>
                  <a:pt x="5328234" y="3751414"/>
                </a:cubicBezTo>
                <a:cubicBezTo>
                  <a:pt x="5328234" y="3751414"/>
                  <a:pt x="5308697" y="3741645"/>
                  <a:pt x="5289160" y="3731876"/>
                </a:cubicBezTo>
                <a:cubicBezTo>
                  <a:pt x="5279391" y="3722106"/>
                  <a:pt x="5259854" y="3712337"/>
                  <a:pt x="5250085" y="3702568"/>
                </a:cubicBezTo>
                <a:cubicBezTo>
                  <a:pt x="5240316" y="3702568"/>
                  <a:pt x="5230548" y="3692798"/>
                  <a:pt x="5220779" y="3683029"/>
                </a:cubicBezTo>
                <a:cubicBezTo>
                  <a:pt x="5201242" y="3673260"/>
                  <a:pt x="5152399" y="3643952"/>
                  <a:pt x="5132862" y="3634183"/>
                </a:cubicBezTo>
                <a:cubicBezTo>
                  <a:pt x="5123093" y="3624413"/>
                  <a:pt x="5113325" y="3624413"/>
                  <a:pt x="5113325" y="3624413"/>
                </a:cubicBezTo>
                <a:cubicBezTo>
                  <a:pt x="5108440" y="3619529"/>
                  <a:pt x="5105998" y="3617087"/>
                  <a:pt x="5103556" y="3615865"/>
                </a:cubicBezTo>
                <a:lnTo>
                  <a:pt x="5094816" y="3614773"/>
                </a:lnTo>
                <a:lnTo>
                  <a:pt x="5093153" y="3613248"/>
                </a:lnTo>
                <a:lnTo>
                  <a:pt x="5087682" y="3601211"/>
                </a:lnTo>
                <a:cubicBezTo>
                  <a:pt x="5084019" y="3597548"/>
                  <a:pt x="5079134" y="3595105"/>
                  <a:pt x="5074250" y="3595105"/>
                </a:cubicBezTo>
                <a:cubicBezTo>
                  <a:pt x="5064481" y="3595105"/>
                  <a:pt x="5054713" y="3585336"/>
                  <a:pt x="5054713" y="3585336"/>
                </a:cubicBezTo>
                <a:cubicBezTo>
                  <a:pt x="5044944" y="3585336"/>
                  <a:pt x="5044944" y="3585336"/>
                  <a:pt x="5044944" y="3585336"/>
                </a:cubicBezTo>
                <a:cubicBezTo>
                  <a:pt x="5044944" y="3585336"/>
                  <a:pt x="5054713" y="3595105"/>
                  <a:pt x="5084019" y="3604875"/>
                </a:cubicBezTo>
                <a:lnTo>
                  <a:pt x="5093153" y="3613248"/>
                </a:lnTo>
                <a:lnTo>
                  <a:pt x="5093787" y="3614644"/>
                </a:lnTo>
                <a:lnTo>
                  <a:pt x="5094816" y="3614773"/>
                </a:lnTo>
                <a:lnTo>
                  <a:pt x="5098671" y="3618308"/>
                </a:lnTo>
                <a:cubicBezTo>
                  <a:pt x="5103556" y="3621971"/>
                  <a:pt x="5108440" y="3624413"/>
                  <a:pt x="5113325" y="3624413"/>
                </a:cubicBezTo>
                <a:cubicBezTo>
                  <a:pt x="5113325" y="3634183"/>
                  <a:pt x="5123093" y="3634183"/>
                  <a:pt x="5132862" y="3643952"/>
                </a:cubicBezTo>
                <a:cubicBezTo>
                  <a:pt x="5142630" y="3653721"/>
                  <a:pt x="5162168" y="3653721"/>
                  <a:pt x="5162168" y="3663491"/>
                </a:cubicBezTo>
                <a:cubicBezTo>
                  <a:pt x="5171936" y="3663491"/>
                  <a:pt x="5181705" y="3673260"/>
                  <a:pt x="5181705" y="3673260"/>
                </a:cubicBezTo>
                <a:cubicBezTo>
                  <a:pt x="5191473" y="3673260"/>
                  <a:pt x="5191473" y="3673260"/>
                  <a:pt x="5191473" y="3673260"/>
                </a:cubicBezTo>
                <a:cubicBezTo>
                  <a:pt x="5191473" y="3683029"/>
                  <a:pt x="5191473" y="3683029"/>
                  <a:pt x="5191473" y="3683029"/>
                </a:cubicBezTo>
                <a:cubicBezTo>
                  <a:pt x="5181705" y="3692798"/>
                  <a:pt x="5181705" y="3692798"/>
                  <a:pt x="5191473" y="3692798"/>
                </a:cubicBezTo>
                <a:cubicBezTo>
                  <a:pt x="5191473" y="3692798"/>
                  <a:pt x="5201242" y="3702568"/>
                  <a:pt x="5201242" y="3712337"/>
                </a:cubicBezTo>
                <a:cubicBezTo>
                  <a:pt x="5201242" y="3712337"/>
                  <a:pt x="5201242" y="3712337"/>
                  <a:pt x="5211011" y="3712337"/>
                </a:cubicBezTo>
                <a:cubicBezTo>
                  <a:pt x="5211011" y="3712337"/>
                  <a:pt x="5220779" y="3712337"/>
                  <a:pt x="5220779" y="3722106"/>
                </a:cubicBezTo>
                <a:cubicBezTo>
                  <a:pt x="5211011" y="3731876"/>
                  <a:pt x="5211011" y="3722106"/>
                  <a:pt x="5201242" y="3722106"/>
                </a:cubicBezTo>
                <a:cubicBezTo>
                  <a:pt x="5201242" y="3712337"/>
                  <a:pt x="5191473" y="3712337"/>
                  <a:pt x="5191473" y="3712337"/>
                </a:cubicBezTo>
                <a:cubicBezTo>
                  <a:pt x="5181705" y="3712337"/>
                  <a:pt x="5181705" y="3712337"/>
                  <a:pt x="5181705" y="3712337"/>
                </a:cubicBezTo>
                <a:cubicBezTo>
                  <a:pt x="5171936" y="3722106"/>
                  <a:pt x="5162168" y="3712337"/>
                  <a:pt x="5142630" y="3702568"/>
                </a:cubicBezTo>
                <a:cubicBezTo>
                  <a:pt x="5142630" y="3692798"/>
                  <a:pt x="5132862" y="3692798"/>
                  <a:pt x="5123093" y="3683029"/>
                </a:cubicBezTo>
                <a:cubicBezTo>
                  <a:pt x="5113325" y="3683029"/>
                  <a:pt x="5113325" y="3683029"/>
                  <a:pt x="5113325" y="3673260"/>
                </a:cubicBezTo>
                <a:cubicBezTo>
                  <a:pt x="5103556" y="3673260"/>
                  <a:pt x="5093787" y="3663491"/>
                  <a:pt x="5064481" y="3643952"/>
                </a:cubicBezTo>
                <a:cubicBezTo>
                  <a:pt x="5064481" y="3643952"/>
                  <a:pt x="5054713" y="3634183"/>
                  <a:pt x="5054713" y="3634183"/>
                </a:cubicBezTo>
                <a:cubicBezTo>
                  <a:pt x="5044944" y="3634183"/>
                  <a:pt x="5015638" y="3614644"/>
                  <a:pt x="4957027" y="3575567"/>
                </a:cubicBezTo>
                <a:cubicBezTo>
                  <a:pt x="4947258" y="3565797"/>
                  <a:pt x="4947258" y="3565797"/>
                  <a:pt x="4937490" y="3565797"/>
                </a:cubicBezTo>
                <a:cubicBezTo>
                  <a:pt x="4927721" y="3556028"/>
                  <a:pt x="4908184" y="3546259"/>
                  <a:pt x="4898415" y="3546259"/>
                </a:cubicBezTo>
                <a:cubicBezTo>
                  <a:pt x="4898415" y="3546259"/>
                  <a:pt x="4898415" y="3536490"/>
                  <a:pt x="4888646" y="3536490"/>
                </a:cubicBezTo>
                <a:cubicBezTo>
                  <a:pt x="4888646" y="3536490"/>
                  <a:pt x="4878878" y="3526720"/>
                  <a:pt x="4878878" y="3526720"/>
                </a:cubicBezTo>
                <a:cubicBezTo>
                  <a:pt x="4869109" y="3516951"/>
                  <a:pt x="4859341" y="3516951"/>
                  <a:pt x="4859341" y="3516951"/>
                </a:cubicBezTo>
                <a:cubicBezTo>
                  <a:pt x="4859341" y="3516951"/>
                  <a:pt x="4859341" y="3516951"/>
                  <a:pt x="4849572" y="3516951"/>
                </a:cubicBezTo>
                <a:cubicBezTo>
                  <a:pt x="4849572" y="3516951"/>
                  <a:pt x="4849572" y="3507182"/>
                  <a:pt x="4820266" y="3497412"/>
                </a:cubicBezTo>
                <a:cubicBezTo>
                  <a:pt x="4810498" y="3487643"/>
                  <a:pt x="4800729" y="3477874"/>
                  <a:pt x="4790960" y="3477874"/>
                </a:cubicBezTo>
                <a:cubicBezTo>
                  <a:pt x="4781192" y="3468104"/>
                  <a:pt x="4761655" y="3458335"/>
                  <a:pt x="4732349" y="3438796"/>
                </a:cubicBezTo>
                <a:cubicBezTo>
                  <a:pt x="4703043" y="3429027"/>
                  <a:pt x="4673737" y="3409489"/>
                  <a:pt x="4663968" y="3399719"/>
                </a:cubicBezTo>
                <a:cubicBezTo>
                  <a:pt x="4654200" y="3399719"/>
                  <a:pt x="4644431" y="3389950"/>
                  <a:pt x="4634663" y="3389950"/>
                </a:cubicBezTo>
                <a:cubicBezTo>
                  <a:pt x="4634663" y="3380181"/>
                  <a:pt x="4615125" y="3370411"/>
                  <a:pt x="4595588" y="3360642"/>
                </a:cubicBezTo>
                <a:cubicBezTo>
                  <a:pt x="4585820" y="3360642"/>
                  <a:pt x="4566282" y="3341103"/>
                  <a:pt x="4556514" y="3341103"/>
                </a:cubicBezTo>
                <a:cubicBezTo>
                  <a:pt x="4536976" y="3331334"/>
                  <a:pt x="4536976" y="3331334"/>
                  <a:pt x="4527208" y="3331334"/>
                </a:cubicBezTo>
                <a:cubicBezTo>
                  <a:pt x="4527208" y="3321565"/>
                  <a:pt x="4527208" y="3321565"/>
                  <a:pt x="4517439" y="3321565"/>
                </a:cubicBezTo>
                <a:cubicBezTo>
                  <a:pt x="4507671" y="3311795"/>
                  <a:pt x="4497902" y="3302026"/>
                  <a:pt x="4488133" y="3302026"/>
                </a:cubicBezTo>
                <a:cubicBezTo>
                  <a:pt x="4478365" y="3292257"/>
                  <a:pt x="4468596" y="3292257"/>
                  <a:pt x="4468596" y="3292257"/>
                </a:cubicBezTo>
                <a:cubicBezTo>
                  <a:pt x="4458828" y="3292257"/>
                  <a:pt x="4458828" y="3292257"/>
                  <a:pt x="4458828" y="3292257"/>
                </a:cubicBezTo>
                <a:cubicBezTo>
                  <a:pt x="4458828" y="3292257"/>
                  <a:pt x="4449059" y="3282488"/>
                  <a:pt x="4439290" y="3282488"/>
                </a:cubicBezTo>
                <a:cubicBezTo>
                  <a:pt x="4429522" y="3272718"/>
                  <a:pt x="4409985" y="3262949"/>
                  <a:pt x="4400216" y="3253180"/>
                </a:cubicBezTo>
                <a:cubicBezTo>
                  <a:pt x="4380679" y="3243410"/>
                  <a:pt x="4370910" y="3233641"/>
                  <a:pt x="4361141" y="3233641"/>
                </a:cubicBezTo>
                <a:cubicBezTo>
                  <a:pt x="4361141" y="3233641"/>
                  <a:pt x="4351373" y="3233641"/>
                  <a:pt x="4331836" y="3223872"/>
                </a:cubicBezTo>
                <a:cubicBezTo>
                  <a:pt x="4322067" y="3214102"/>
                  <a:pt x="4312298" y="3214102"/>
                  <a:pt x="4312298" y="3214102"/>
                </a:cubicBezTo>
                <a:cubicBezTo>
                  <a:pt x="4292761" y="3204333"/>
                  <a:pt x="4273224" y="3194564"/>
                  <a:pt x="4253687" y="3184794"/>
                </a:cubicBezTo>
                <a:cubicBezTo>
                  <a:pt x="4282993" y="3214102"/>
                  <a:pt x="4292761" y="3223872"/>
                  <a:pt x="4302530" y="3233641"/>
                </a:cubicBezTo>
                <a:cubicBezTo>
                  <a:pt x="4312298" y="3243410"/>
                  <a:pt x="4322067" y="3243410"/>
                  <a:pt x="4331836" y="3253180"/>
                </a:cubicBezTo>
                <a:cubicBezTo>
                  <a:pt x="4341604" y="3253180"/>
                  <a:pt x="4361141" y="3262949"/>
                  <a:pt x="4361141" y="3262949"/>
                </a:cubicBezTo>
                <a:cubicBezTo>
                  <a:pt x="4380679" y="3272718"/>
                  <a:pt x="4390447" y="3282488"/>
                  <a:pt x="4409985" y="3282488"/>
                </a:cubicBezTo>
                <a:cubicBezTo>
                  <a:pt x="4419753" y="3292257"/>
                  <a:pt x="4429522" y="3302026"/>
                  <a:pt x="4439290" y="3302026"/>
                </a:cubicBezTo>
                <a:cubicBezTo>
                  <a:pt x="4439290" y="3302026"/>
                  <a:pt x="4449059" y="3311795"/>
                  <a:pt x="4458828" y="3311795"/>
                </a:cubicBezTo>
                <a:cubicBezTo>
                  <a:pt x="4478365" y="3321565"/>
                  <a:pt x="4488133" y="3331334"/>
                  <a:pt x="4488133" y="3331334"/>
                </a:cubicBezTo>
                <a:cubicBezTo>
                  <a:pt x="4497902" y="3331334"/>
                  <a:pt x="4546745" y="3360642"/>
                  <a:pt x="4576051" y="3370411"/>
                </a:cubicBezTo>
                <a:cubicBezTo>
                  <a:pt x="4585820" y="3370411"/>
                  <a:pt x="4585820" y="3380181"/>
                  <a:pt x="4595588" y="3380181"/>
                </a:cubicBezTo>
                <a:cubicBezTo>
                  <a:pt x="4595588" y="3380181"/>
                  <a:pt x="4595588" y="3380181"/>
                  <a:pt x="4605357" y="3389950"/>
                </a:cubicBezTo>
                <a:cubicBezTo>
                  <a:pt x="4615125" y="3389950"/>
                  <a:pt x="4634663" y="3399719"/>
                  <a:pt x="4644431" y="3409489"/>
                </a:cubicBezTo>
                <a:cubicBezTo>
                  <a:pt x="4654200" y="3419258"/>
                  <a:pt x="4673737" y="3419258"/>
                  <a:pt x="4673737" y="3419258"/>
                </a:cubicBezTo>
                <a:cubicBezTo>
                  <a:pt x="4673737" y="3429027"/>
                  <a:pt x="4703043" y="3438796"/>
                  <a:pt x="4732349" y="3458335"/>
                </a:cubicBezTo>
                <a:cubicBezTo>
                  <a:pt x="4742117" y="3458335"/>
                  <a:pt x="4751886" y="3468104"/>
                  <a:pt x="4751886" y="3468104"/>
                </a:cubicBezTo>
                <a:cubicBezTo>
                  <a:pt x="4761655" y="3468104"/>
                  <a:pt x="4771423" y="3468104"/>
                  <a:pt x="4771423" y="3477874"/>
                </a:cubicBezTo>
                <a:cubicBezTo>
                  <a:pt x="4781192" y="3477874"/>
                  <a:pt x="4781192" y="3487643"/>
                  <a:pt x="4790960" y="3487643"/>
                </a:cubicBezTo>
                <a:cubicBezTo>
                  <a:pt x="4800729" y="3497412"/>
                  <a:pt x="4820266" y="3507182"/>
                  <a:pt x="4839803" y="3516951"/>
                </a:cubicBezTo>
                <a:cubicBezTo>
                  <a:pt x="4859341" y="3526720"/>
                  <a:pt x="4888646" y="3546259"/>
                  <a:pt x="4898415" y="3556028"/>
                </a:cubicBezTo>
                <a:cubicBezTo>
                  <a:pt x="4947258" y="3585336"/>
                  <a:pt x="4986333" y="3614644"/>
                  <a:pt x="5005870" y="3624413"/>
                </a:cubicBezTo>
                <a:cubicBezTo>
                  <a:pt x="5015638" y="3624413"/>
                  <a:pt x="5025407" y="3634183"/>
                  <a:pt x="5035176" y="3643952"/>
                </a:cubicBezTo>
                <a:cubicBezTo>
                  <a:pt x="5044944" y="3643952"/>
                  <a:pt x="5054713" y="3663491"/>
                  <a:pt x="5074250" y="3663491"/>
                </a:cubicBezTo>
                <a:cubicBezTo>
                  <a:pt x="5084019" y="3673260"/>
                  <a:pt x="5093787" y="3683029"/>
                  <a:pt x="5103556" y="3683029"/>
                </a:cubicBezTo>
                <a:cubicBezTo>
                  <a:pt x="5103556" y="3692798"/>
                  <a:pt x="5113325" y="3692798"/>
                  <a:pt x="5113325" y="3702568"/>
                </a:cubicBezTo>
                <a:cubicBezTo>
                  <a:pt x="5123093" y="3702568"/>
                  <a:pt x="5132862" y="3712337"/>
                  <a:pt x="5142630" y="3712337"/>
                </a:cubicBezTo>
                <a:cubicBezTo>
                  <a:pt x="5162168" y="3722106"/>
                  <a:pt x="5171936" y="3731876"/>
                  <a:pt x="5181705" y="3741645"/>
                </a:cubicBezTo>
                <a:cubicBezTo>
                  <a:pt x="5201242" y="3751414"/>
                  <a:pt x="5201242" y="3751414"/>
                  <a:pt x="5211011" y="3751414"/>
                </a:cubicBezTo>
                <a:cubicBezTo>
                  <a:pt x="5220779" y="3751414"/>
                  <a:pt x="5220779" y="3761184"/>
                  <a:pt x="5220779" y="3761184"/>
                </a:cubicBezTo>
                <a:cubicBezTo>
                  <a:pt x="5211011" y="3761184"/>
                  <a:pt x="5259854" y="3790492"/>
                  <a:pt x="5279391" y="3800261"/>
                </a:cubicBezTo>
                <a:cubicBezTo>
                  <a:pt x="5289160" y="3810030"/>
                  <a:pt x="5289160" y="3810030"/>
                  <a:pt x="5289160" y="3800261"/>
                </a:cubicBezTo>
                <a:cubicBezTo>
                  <a:pt x="5289160" y="3800261"/>
                  <a:pt x="5289160" y="3800261"/>
                  <a:pt x="5298928" y="3800261"/>
                </a:cubicBezTo>
                <a:cubicBezTo>
                  <a:pt x="5298928" y="3810030"/>
                  <a:pt x="5298928" y="3810030"/>
                  <a:pt x="5298928" y="3810030"/>
                </a:cubicBezTo>
                <a:cubicBezTo>
                  <a:pt x="5298928" y="3810030"/>
                  <a:pt x="5298928" y="3810030"/>
                  <a:pt x="5308697" y="3819799"/>
                </a:cubicBezTo>
                <a:cubicBezTo>
                  <a:pt x="5318465" y="3819799"/>
                  <a:pt x="5318465" y="3829569"/>
                  <a:pt x="5318465" y="3829569"/>
                </a:cubicBezTo>
                <a:cubicBezTo>
                  <a:pt x="5328234" y="3829569"/>
                  <a:pt x="5328234" y="3839338"/>
                  <a:pt x="5328234" y="3839338"/>
                </a:cubicBezTo>
                <a:cubicBezTo>
                  <a:pt x="5338003" y="3839338"/>
                  <a:pt x="5338003" y="3839338"/>
                  <a:pt x="5338003" y="3849107"/>
                </a:cubicBezTo>
                <a:cubicBezTo>
                  <a:pt x="5338003" y="3849107"/>
                  <a:pt x="5328234" y="3839338"/>
                  <a:pt x="5308697" y="3829569"/>
                </a:cubicBezTo>
                <a:cubicBezTo>
                  <a:pt x="5298928" y="3819799"/>
                  <a:pt x="5279391" y="3810030"/>
                  <a:pt x="5269622" y="3800261"/>
                </a:cubicBezTo>
                <a:cubicBezTo>
                  <a:pt x="5259854" y="3800261"/>
                  <a:pt x="5240316" y="3790492"/>
                  <a:pt x="5240316" y="3780722"/>
                </a:cubicBezTo>
                <a:cubicBezTo>
                  <a:pt x="5181705" y="3751414"/>
                  <a:pt x="5152399" y="3731876"/>
                  <a:pt x="5142630" y="3722106"/>
                </a:cubicBezTo>
                <a:cubicBezTo>
                  <a:pt x="5132862" y="3722106"/>
                  <a:pt x="5123093" y="3712337"/>
                  <a:pt x="5123093" y="3712337"/>
                </a:cubicBezTo>
                <a:cubicBezTo>
                  <a:pt x="5113325" y="3712337"/>
                  <a:pt x="5113325" y="3702568"/>
                  <a:pt x="5103556" y="3702568"/>
                </a:cubicBezTo>
                <a:cubicBezTo>
                  <a:pt x="5084019" y="3692798"/>
                  <a:pt x="5074250" y="3683029"/>
                  <a:pt x="5064481" y="3683029"/>
                </a:cubicBezTo>
                <a:cubicBezTo>
                  <a:pt x="5064481" y="3683029"/>
                  <a:pt x="5064481" y="3673260"/>
                  <a:pt x="5054713" y="3673260"/>
                </a:cubicBezTo>
                <a:cubicBezTo>
                  <a:pt x="5044944" y="3673260"/>
                  <a:pt x="5035176" y="3663491"/>
                  <a:pt x="5035176" y="3653721"/>
                </a:cubicBezTo>
                <a:cubicBezTo>
                  <a:pt x="5025407" y="3653721"/>
                  <a:pt x="5015638" y="3643952"/>
                  <a:pt x="5015638" y="3643952"/>
                </a:cubicBezTo>
                <a:cubicBezTo>
                  <a:pt x="4976564" y="3624413"/>
                  <a:pt x="4966795" y="3614644"/>
                  <a:pt x="4966795" y="3614644"/>
                </a:cubicBezTo>
                <a:cubicBezTo>
                  <a:pt x="4966795" y="3604875"/>
                  <a:pt x="4957027" y="3604875"/>
                  <a:pt x="4947258" y="3604875"/>
                </a:cubicBezTo>
                <a:cubicBezTo>
                  <a:pt x="4947258" y="3595105"/>
                  <a:pt x="4937490" y="3595105"/>
                  <a:pt x="4927721" y="3585336"/>
                </a:cubicBezTo>
                <a:cubicBezTo>
                  <a:pt x="4917952" y="3575567"/>
                  <a:pt x="4908184" y="3575567"/>
                  <a:pt x="4908184" y="3575567"/>
                </a:cubicBezTo>
                <a:cubicBezTo>
                  <a:pt x="4898415" y="3565797"/>
                  <a:pt x="4839803" y="3526720"/>
                  <a:pt x="4830035" y="3526720"/>
                </a:cubicBezTo>
                <a:cubicBezTo>
                  <a:pt x="4830035" y="3526720"/>
                  <a:pt x="4830035" y="3526720"/>
                  <a:pt x="4820266" y="3516951"/>
                </a:cubicBezTo>
                <a:cubicBezTo>
                  <a:pt x="4820266" y="3516951"/>
                  <a:pt x="4810498" y="3516951"/>
                  <a:pt x="4800729" y="3507182"/>
                </a:cubicBezTo>
                <a:cubicBezTo>
                  <a:pt x="4790960" y="3507182"/>
                  <a:pt x="4781192" y="3497412"/>
                  <a:pt x="4771423" y="3487643"/>
                </a:cubicBezTo>
                <a:cubicBezTo>
                  <a:pt x="4761655" y="3487643"/>
                  <a:pt x="4761655" y="3487643"/>
                  <a:pt x="4761655" y="3487643"/>
                </a:cubicBezTo>
                <a:cubicBezTo>
                  <a:pt x="4771423" y="3497412"/>
                  <a:pt x="4771423" y="3497412"/>
                  <a:pt x="4781192" y="3497412"/>
                </a:cubicBezTo>
                <a:cubicBezTo>
                  <a:pt x="4781192" y="3497412"/>
                  <a:pt x="4790960" y="3507182"/>
                  <a:pt x="4790960" y="3507182"/>
                </a:cubicBezTo>
                <a:cubicBezTo>
                  <a:pt x="4790960" y="3507182"/>
                  <a:pt x="4800729" y="3516951"/>
                  <a:pt x="4800729" y="3516951"/>
                </a:cubicBezTo>
                <a:cubicBezTo>
                  <a:pt x="4800729" y="3516951"/>
                  <a:pt x="4810498" y="3526720"/>
                  <a:pt x="4810498" y="3526720"/>
                </a:cubicBezTo>
                <a:cubicBezTo>
                  <a:pt x="4800729" y="3526720"/>
                  <a:pt x="4800729" y="3516951"/>
                  <a:pt x="4790960" y="3516951"/>
                </a:cubicBezTo>
                <a:cubicBezTo>
                  <a:pt x="4790960" y="3516951"/>
                  <a:pt x="4751886" y="3497412"/>
                  <a:pt x="4742117" y="3487643"/>
                </a:cubicBezTo>
                <a:cubicBezTo>
                  <a:pt x="4742117" y="3487643"/>
                  <a:pt x="4732349" y="3487643"/>
                  <a:pt x="4722580" y="3477874"/>
                </a:cubicBezTo>
                <a:cubicBezTo>
                  <a:pt x="4712811" y="3477874"/>
                  <a:pt x="4703043" y="3468104"/>
                  <a:pt x="4693274" y="3458335"/>
                </a:cubicBezTo>
                <a:cubicBezTo>
                  <a:pt x="4683506" y="3458335"/>
                  <a:pt x="4663968" y="3448566"/>
                  <a:pt x="4644431" y="3438796"/>
                </a:cubicBezTo>
                <a:cubicBezTo>
                  <a:pt x="4624894" y="3419258"/>
                  <a:pt x="4595588" y="3409489"/>
                  <a:pt x="4595588" y="3409489"/>
                </a:cubicBezTo>
                <a:cubicBezTo>
                  <a:pt x="4585820" y="3409489"/>
                  <a:pt x="4576051" y="3399719"/>
                  <a:pt x="4566282" y="3389950"/>
                </a:cubicBezTo>
                <a:cubicBezTo>
                  <a:pt x="4556514" y="3389950"/>
                  <a:pt x="4546745" y="3380181"/>
                  <a:pt x="4546745" y="3380181"/>
                </a:cubicBezTo>
                <a:cubicBezTo>
                  <a:pt x="4546745" y="3380181"/>
                  <a:pt x="4536976" y="3380181"/>
                  <a:pt x="4536976" y="3380181"/>
                </a:cubicBezTo>
                <a:cubicBezTo>
                  <a:pt x="4527208" y="3370411"/>
                  <a:pt x="4517439" y="3370411"/>
                  <a:pt x="4517439" y="3370411"/>
                </a:cubicBezTo>
                <a:cubicBezTo>
                  <a:pt x="4488133" y="3350873"/>
                  <a:pt x="4449059" y="3331334"/>
                  <a:pt x="4439290" y="3331334"/>
                </a:cubicBezTo>
                <a:cubicBezTo>
                  <a:pt x="4409985" y="3311795"/>
                  <a:pt x="4390447" y="3302026"/>
                  <a:pt x="4380679" y="3292257"/>
                </a:cubicBezTo>
                <a:cubicBezTo>
                  <a:pt x="4380679" y="3292257"/>
                  <a:pt x="4361141" y="3282488"/>
                  <a:pt x="4351373" y="3282488"/>
                </a:cubicBezTo>
                <a:cubicBezTo>
                  <a:pt x="4351373" y="3282488"/>
                  <a:pt x="4351373" y="3282488"/>
                  <a:pt x="4341604" y="3272718"/>
                </a:cubicBezTo>
                <a:cubicBezTo>
                  <a:pt x="4351373" y="3282488"/>
                  <a:pt x="4361141" y="3302026"/>
                  <a:pt x="4370910" y="3311795"/>
                </a:cubicBezTo>
                <a:cubicBezTo>
                  <a:pt x="4390447" y="3331334"/>
                  <a:pt x="4400216" y="3341103"/>
                  <a:pt x="4419753" y="3360642"/>
                </a:cubicBezTo>
                <a:cubicBezTo>
                  <a:pt x="4419753" y="3360642"/>
                  <a:pt x="4429522" y="3360642"/>
                  <a:pt x="4429522" y="3360642"/>
                </a:cubicBezTo>
                <a:cubicBezTo>
                  <a:pt x="4439290" y="3370411"/>
                  <a:pt x="4458828" y="3380181"/>
                  <a:pt x="4468596" y="3389950"/>
                </a:cubicBezTo>
                <a:cubicBezTo>
                  <a:pt x="4478365" y="3389950"/>
                  <a:pt x="4497902" y="3399719"/>
                  <a:pt x="4497902" y="3399719"/>
                </a:cubicBezTo>
                <a:cubicBezTo>
                  <a:pt x="4507671" y="3409489"/>
                  <a:pt x="4527208" y="3409489"/>
                  <a:pt x="4527208" y="3419258"/>
                </a:cubicBezTo>
                <a:cubicBezTo>
                  <a:pt x="4566282" y="3429027"/>
                  <a:pt x="4576051" y="3438796"/>
                  <a:pt x="4585820" y="3438796"/>
                </a:cubicBezTo>
                <a:cubicBezTo>
                  <a:pt x="4585820" y="3438796"/>
                  <a:pt x="4585820" y="3448566"/>
                  <a:pt x="4585820" y="3448566"/>
                </a:cubicBezTo>
                <a:cubicBezTo>
                  <a:pt x="4585820" y="3448566"/>
                  <a:pt x="4634663" y="3477874"/>
                  <a:pt x="4683506" y="3507182"/>
                </a:cubicBezTo>
                <a:cubicBezTo>
                  <a:pt x="4732349" y="3536490"/>
                  <a:pt x="4742117" y="3536490"/>
                  <a:pt x="4742117" y="3536490"/>
                </a:cubicBezTo>
                <a:cubicBezTo>
                  <a:pt x="4742117" y="3536490"/>
                  <a:pt x="4751886" y="3536490"/>
                  <a:pt x="4751886" y="3536490"/>
                </a:cubicBezTo>
                <a:cubicBezTo>
                  <a:pt x="4761654" y="3541374"/>
                  <a:pt x="4766539" y="3543817"/>
                  <a:pt x="4768981" y="3543817"/>
                </a:cubicBezTo>
                <a:lnTo>
                  <a:pt x="4770535" y="3539154"/>
                </a:lnTo>
                <a:lnTo>
                  <a:pt x="4781192" y="3546259"/>
                </a:lnTo>
                <a:cubicBezTo>
                  <a:pt x="4781192" y="3546259"/>
                  <a:pt x="4790960" y="3556028"/>
                  <a:pt x="4800729" y="3556028"/>
                </a:cubicBezTo>
                <a:cubicBezTo>
                  <a:pt x="4810498" y="3565797"/>
                  <a:pt x="4839803" y="3585336"/>
                  <a:pt x="4839803" y="3585336"/>
                </a:cubicBezTo>
                <a:cubicBezTo>
                  <a:pt x="4849572" y="3585336"/>
                  <a:pt x="4849572" y="3585336"/>
                  <a:pt x="4849572" y="3585336"/>
                </a:cubicBezTo>
                <a:cubicBezTo>
                  <a:pt x="4839803" y="3595105"/>
                  <a:pt x="4839803" y="3595105"/>
                  <a:pt x="4849572" y="3595105"/>
                </a:cubicBezTo>
                <a:cubicBezTo>
                  <a:pt x="4849572" y="3604875"/>
                  <a:pt x="4859341" y="3604875"/>
                  <a:pt x="4859341" y="3604875"/>
                </a:cubicBezTo>
                <a:cubicBezTo>
                  <a:pt x="4859341" y="3614644"/>
                  <a:pt x="4878878" y="3624413"/>
                  <a:pt x="4878878" y="3624413"/>
                </a:cubicBezTo>
                <a:cubicBezTo>
                  <a:pt x="4878878" y="3624413"/>
                  <a:pt x="4878878" y="3614644"/>
                  <a:pt x="4878878" y="3614644"/>
                </a:cubicBezTo>
                <a:cubicBezTo>
                  <a:pt x="4878878" y="3614644"/>
                  <a:pt x="4888646" y="3614644"/>
                  <a:pt x="4898415" y="3624413"/>
                </a:cubicBezTo>
                <a:cubicBezTo>
                  <a:pt x="4908184" y="3624413"/>
                  <a:pt x="4917952" y="3634183"/>
                  <a:pt x="4927721" y="3634183"/>
                </a:cubicBezTo>
                <a:cubicBezTo>
                  <a:pt x="4947258" y="3653721"/>
                  <a:pt x="4966795" y="3663491"/>
                  <a:pt x="4976564" y="3663491"/>
                </a:cubicBezTo>
                <a:cubicBezTo>
                  <a:pt x="4986333" y="3673260"/>
                  <a:pt x="4986333" y="3673260"/>
                  <a:pt x="4986333" y="3673260"/>
                </a:cubicBezTo>
                <a:cubicBezTo>
                  <a:pt x="4986333" y="3683029"/>
                  <a:pt x="4966795" y="3663491"/>
                  <a:pt x="4957027" y="3663491"/>
                </a:cubicBezTo>
                <a:cubicBezTo>
                  <a:pt x="4957027" y="3663491"/>
                  <a:pt x="4957027" y="3663491"/>
                  <a:pt x="4966795" y="3673260"/>
                </a:cubicBezTo>
                <a:cubicBezTo>
                  <a:pt x="4976564" y="3673260"/>
                  <a:pt x="4976564" y="3683029"/>
                  <a:pt x="4986333" y="3683029"/>
                </a:cubicBezTo>
                <a:cubicBezTo>
                  <a:pt x="4986333" y="3683029"/>
                  <a:pt x="4996101" y="3692798"/>
                  <a:pt x="4996101" y="3692798"/>
                </a:cubicBezTo>
                <a:cubicBezTo>
                  <a:pt x="5005870" y="3692798"/>
                  <a:pt x="5015638" y="3702568"/>
                  <a:pt x="5025407" y="3702568"/>
                </a:cubicBezTo>
                <a:cubicBezTo>
                  <a:pt x="5035176" y="3712337"/>
                  <a:pt x="5044944" y="3722106"/>
                  <a:pt x="5054713" y="3722106"/>
                </a:cubicBezTo>
                <a:cubicBezTo>
                  <a:pt x="5074250" y="3741645"/>
                  <a:pt x="5074250" y="3741645"/>
                  <a:pt x="5084019" y="3741645"/>
                </a:cubicBezTo>
                <a:cubicBezTo>
                  <a:pt x="5093787" y="3741645"/>
                  <a:pt x="5103556" y="3741645"/>
                  <a:pt x="5103556" y="3741645"/>
                </a:cubicBezTo>
                <a:cubicBezTo>
                  <a:pt x="5103556" y="3751414"/>
                  <a:pt x="5113325" y="3751414"/>
                  <a:pt x="5123093" y="3761184"/>
                </a:cubicBezTo>
                <a:cubicBezTo>
                  <a:pt x="5123093" y="3761184"/>
                  <a:pt x="5142630" y="3770953"/>
                  <a:pt x="5142630" y="3770953"/>
                </a:cubicBezTo>
                <a:cubicBezTo>
                  <a:pt x="5152399" y="3770953"/>
                  <a:pt x="5162168" y="3780722"/>
                  <a:pt x="5162168" y="3780722"/>
                </a:cubicBezTo>
                <a:cubicBezTo>
                  <a:pt x="5171936" y="3780722"/>
                  <a:pt x="5181705" y="3790492"/>
                  <a:pt x="5181705" y="3790492"/>
                </a:cubicBezTo>
                <a:cubicBezTo>
                  <a:pt x="5181705" y="3790492"/>
                  <a:pt x="5191473" y="3800261"/>
                  <a:pt x="5201242" y="3800261"/>
                </a:cubicBezTo>
                <a:cubicBezTo>
                  <a:pt x="5201242" y="3800261"/>
                  <a:pt x="5211011" y="3810030"/>
                  <a:pt x="5211011" y="3810030"/>
                </a:cubicBezTo>
                <a:cubicBezTo>
                  <a:pt x="5211011" y="3810030"/>
                  <a:pt x="5211011" y="3819799"/>
                  <a:pt x="5220779" y="3819799"/>
                </a:cubicBezTo>
                <a:cubicBezTo>
                  <a:pt x="5220779" y="3819799"/>
                  <a:pt x="5230548" y="3829569"/>
                  <a:pt x="5230548" y="3829569"/>
                </a:cubicBezTo>
                <a:cubicBezTo>
                  <a:pt x="5230548" y="3829569"/>
                  <a:pt x="5259854" y="3849107"/>
                  <a:pt x="5279391" y="3868646"/>
                </a:cubicBezTo>
                <a:cubicBezTo>
                  <a:pt x="5289160" y="3868646"/>
                  <a:pt x="5298928" y="3878415"/>
                  <a:pt x="5298928" y="3878415"/>
                </a:cubicBezTo>
                <a:cubicBezTo>
                  <a:pt x="5318465" y="3888185"/>
                  <a:pt x="5338003" y="3897954"/>
                  <a:pt x="5357540" y="3907723"/>
                </a:cubicBezTo>
                <a:cubicBezTo>
                  <a:pt x="5367308" y="3917493"/>
                  <a:pt x="5386846" y="3937031"/>
                  <a:pt x="5396614" y="3946800"/>
                </a:cubicBezTo>
                <a:cubicBezTo>
                  <a:pt x="5406383" y="3956570"/>
                  <a:pt x="5406383" y="3956570"/>
                  <a:pt x="5416151" y="3956570"/>
                </a:cubicBezTo>
                <a:cubicBezTo>
                  <a:pt x="5416151" y="3956570"/>
                  <a:pt x="5416151" y="3966339"/>
                  <a:pt x="5416151" y="3966339"/>
                </a:cubicBezTo>
                <a:cubicBezTo>
                  <a:pt x="5416151" y="3966339"/>
                  <a:pt x="5406383" y="3966339"/>
                  <a:pt x="5396614" y="3956570"/>
                </a:cubicBezTo>
                <a:cubicBezTo>
                  <a:pt x="5386846" y="3946800"/>
                  <a:pt x="5386846" y="3946800"/>
                  <a:pt x="5386846" y="3946800"/>
                </a:cubicBezTo>
                <a:cubicBezTo>
                  <a:pt x="5386846" y="3937031"/>
                  <a:pt x="5377077" y="3927262"/>
                  <a:pt x="5308697" y="3888185"/>
                </a:cubicBezTo>
                <a:cubicBezTo>
                  <a:pt x="5289160" y="3878415"/>
                  <a:pt x="5259854" y="3858877"/>
                  <a:pt x="5250085" y="3849107"/>
                </a:cubicBezTo>
                <a:cubicBezTo>
                  <a:pt x="5240316" y="3839338"/>
                  <a:pt x="5230548" y="3839338"/>
                  <a:pt x="5220779" y="3829569"/>
                </a:cubicBezTo>
                <a:cubicBezTo>
                  <a:pt x="5201242" y="3819799"/>
                  <a:pt x="5181705" y="3810030"/>
                  <a:pt x="5181705" y="3810030"/>
                </a:cubicBezTo>
                <a:cubicBezTo>
                  <a:pt x="5181705" y="3810030"/>
                  <a:pt x="5171936" y="3810030"/>
                  <a:pt x="5171936" y="3800261"/>
                </a:cubicBezTo>
                <a:cubicBezTo>
                  <a:pt x="5162168" y="3800261"/>
                  <a:pt x="5162168" y="3800261"/>
                  <a:pt x="5152399" y="3790492"/>
                </a:cubicBezTo>
                <a:cubicBezTo>
                  <a:pt x="5152399" y="3790492"/>
                  <a:pt x="5132862" y="3780722"/>
                  <a:pt x="5123093" y="3770953"/>
                </a:cubicBezTo>
                <a:cubicBezTo>
                  <a:pt x="5113325" y="3770953"/>
                  <a:pt x="5103556" y="3761184"/>
                  <a:pt x="5093787" y="3761184"/>
                </a:cubicBezTo>
                <a:cubicBezTo>
                  <a:pt x="5093787" y="3751414"/>
                  <a:pt x="5074250" y="3751414"/>
                  <a:pt x="5064481" y="3741645"/>
                </a:cubicBezTo>
                <a:cubicBezTo>
                  <a:pt x="5054713" y="3731876"/>
                  <a:pt x="5035176" y="3722106"/>
                  <a:pt x="5035176" y="3722106"/>
                </a:cubicBezTo>
                <a:cubicBezTo>
                  <a:pt x="5025407" y="3712337"/>
                  <a:pt x="5005870" y="3702568"/>
                  <a:pt x="4996101" y="3702568"/>
                </a:cubicBezTo>
                <a:cubicBezTo>
                  <a:pt x="4986333" y="3692798"/>
                  <a:pt x="4976564" y="3683029"/>
                  <a:pt x="4966795" y="3683029"/>
                </a:cubicBezTo>
                <a:cubicBezTo>
                  <a:pt x="4966795" y="3692798"/>
                  <a:pt x="4966795" y="3692798"/>
                  <a:pt x="4947258" y="3673260"/>
                </a:cubicBezTo>
                <a:cubicBezTo>
                  <a:pt x="4937490" y="3673260"/>
                  <a:pt x="4927721" y="3673260"/>
                  <a:pt x="4927721" y="3663491"/>
                </a:cubicBezTo>
                <a:cubicBezTo>
                  <a:pt x="4917952" y="3663491"/>
                  <a:pt x="4898415" y="3653721"/>
                  <a:pt x="4869109" y="3634183"/>
                </a:cubicBezTo>
                <a:cubicBezTo>
                  <a:pt x="4859341" y="3624413"/>
                  <a:pt x="4849572" y="3614644"/>
                  <a:pt x="4849572" y="3614644"/>
                </a:cubicBezTo>
                <a:cubicBezTo>
                  <a:pt x="4839803" y="3614644"/>
                  <a:pt x="4839803" y="3624413"/>
                  <a:pt x="4849572" y="3624413"/>
                </a:cubicBezTo>
                <a:cubicBezTo>
                  <a:pt x="4859341" y="3634183"/>
                  <a:pt x="4878878" y="3653721"/>
                  <a:pt x="4888646" y="3653721"/>
                </a:cubicBezTo>
                <a:cubicBezTo>
                  <a:pt x="4888646" y="3663491"/>
                  <a:pt x="4898415" y="3663491"/>
                  <a:pt x="4908184" y="3673260"/>
                </a:cubicBezTo>
                <a:cubicBezTo>
                  <a:pt x="4917952" y="3673260"/>
                  <a:pt x="4917952" y="3683029"/>
                  <a:pt x="4917952" y="3683029"/>
                </a:cubicBezTo>
                <a:cubicBezTo>
                  <a:pt x="4917952" y="3683029"/>
                  <a:pt x="4927721" y="3692798"/>
                  <a:pt x="4937490" y="3702568"/>
                </a:cubicBezTo>
                <a:cubicBezTo>
                  <a:pt x="4947258" y="3702568"/>
                  <a:pt x="4966795" y="3712337"/>
                  <a:pt x="4976564" y="3722106"/>
                </a:cubicBezTo>
                <a:cubicBezTo>
                  <a:pt x="4986333" y="3731876"/>
                  <a:pt x="5005870" y="3741645"/>
                  <a:pt x="5025407" y="3751414"/>
                </a:cubicBezTo>
                <a:cubicBezTo>
                  <a:pt x="5044944" y="3761184"/>
                  <a:pt x="5064481" y="3770953"/>
                  <a:pt x="5064481" y="3770953"/>
                </a:cubicBezTo>
                <a:cubicBezTo>
                  <a:pt x="5074250" y="3780722"/>
                  <a:pt x="5084019" y="3790492"/>
                  <a:pt x="5093787" y="3790492"/>
                </a:cubicBezTo>
                <a:cubicBezTo>
                  <a:pt x="5103556" y="3800261"/>
                  <a:pt x="5113325" y="3810030"/>
                  <a:pt x="5113325" y="3810030"/>
                </a:cubicBezTo>
                <a:cubicBezTo>
                  <a:pt x="5123093" y="3810030"/>
                  <a:pt x="5132862" y="3819799"/>
                  <a:pt x="5142630" y="3819799"/>
                </a:cubicBezTo>
                <a:cubicBezTo>
                  <a:pt x="5162168" y="3829569"/>
                  <a:pt x="5181705" y="3839338"/>
                  <a:pt x="5191473" y="3849107"/>
                </a:cubicBezTo>
                <a:cubicBezTo>
                  <a:pt x="5201242" y="3858877"/>
                  <a:pt x="5211011" y="3868646"/>
                  <a:pt x="5220779" y="3868646"/>
                </a:cubicBezTo>
                <a:cubicBezTo>
                  <a:pt x="5269622" y="3897954"/>
                  <a:pt x="5289160" y="3917493"/>
                  <a:pt x="5308697" y="3927262"/>
                </a:cubicBezTo>
                <a:cubicBezTo>
                  <a:pt x="5347771" y="3956570"/>
                  <a:pt x="5347771" y="3956570"/>
                  <a:pt x="5357540" y="3956570"/>
                </a:cubicBezTo>
                <a:cubicBezTo>
                  <a:pt x="5367308" y="3956570"/>
                  <a:pt x="5377077" y="3956570"/>
                  <a:pt x="5377077" y="3966339"/>
                </a:cubicBezTo>
                <a:cubicBezTo>
                  <a:pt x="5367308" y="3966339"/>
                  <a:pt x="5367308" y="3966339"/>
                  <a:pt x="5367308" y="3966339"/>
                </a:cubicBezTo>
                <a:cubicBezTo>
                  <a:pt x="5347771" y="3966339"/>
                  <a:pt x="5347771" y="3966339"/>
                  <a:pt x="5328234" y="3946800"/>
                </a:cubicBezTo>
                <a:cubicBezTo>
                  <a:pt x="5318465" y="3946800"/>
                  <a:pt x="5308697" y="3937031"/>
                  <a:pt x="5308697" y="3937031"/>
                </a:cubicBezTo>
                <a:cubicBezTo>
                  <a:pt x="5308697" y="3937031"/>
                  <a:pt x="5298928" y="3927262"/>
                  <a:pt x="5289160" y="3917493"/>
                </a:cubicBezTo>
                <a:cubicBezTo>
                  <a:pt x="5289160" y="3917493"/>
                  <a:pt x="5279391" y="3917493"/>
                  <a:pt x="5279391" y="3917493"/>
                </a:cubicBezTo>
                <a:cubicBezTo>
                  <a:pt x="5279391" y="3917493"/>
                  <a:pt x="5279391" y="3907723"/>
                  <a:pt x="5269622" y="3907723"/>
                </a:cubicBezTo>
                <a:cubicBezTo>
                  <a:pt x="5259854" y="3907723"/>
                  <a:pt x="5250085" y="3897954"/>
                  <a:pt x="5240316" y="3888185"/>
                </a:cubicBezTo>
                <a:cubicBezTo>
                  <a:pt x="5230548" y="3888185"/>
                  <a:pt x="5220779" y="3878415"/>
                  <a:pt x="5220779" y="3878415"/>
                </a:cubicBezTo>
                <a:cubicBezTo>
                  <a:pt x="5211011" y="3878415"/>
                  <a:pt x="5211011" y="3868646"/>
                  <a:pt x="5201242" y="3868646"/>
                </a:cubicBezTo>
                <a:cubicBezTo>
                  <a:pt x="5201242" y="3858877"/>
                  <a:pt x="5181705" y="3849107"/>
                  <a:pt x="5171936" y="3849107"/>
                </a:cubicBezTo>
                <a:cubicBezTo>
                  <a:pt x="5162168" y="3839338"/>
                  <a:pt x="5162168" y="3839338"/>
                  <a:pt x="5162168" y="3839338"/>
                </a:cubicBezTo>
                <a:cubicBezTo>
                  <a:pt x="5162168" y="3839338"/>
                  <a:pt x="5152399" y="3829569"/>
                  <a:pt x="5142630" y="3829569"/>
                </a:cubicBezTo>
                <a:cubicBezTo>
                  <a:pt x="5123093" y="3819799"/>
                  <a:pt x="5123093" y="3819799"/>
                  <a:pt x="5123093" y="3829569"/>
                </a:cubicBezTo>
                <a:cubicBezTo>
                  <a:pt x="5123093" y="3829569"/>
                  <a:pt x="5113325" y="3829569"/>
                  <a:pt x="5113325" y="3819799"/>
                </a:cubicBezTo>
                <a:cubicBezTo>
                  <a:pt x="5103556" y="3819799"/>
                  <a:pt x="5103556" y="3810030"/>
                  <a:pt x="5093787" y="3810030"/>
                </a:cubicBezTo>
                <a:cubicBezTo>
                  <a:pt x="5084019" y="3800261"/>
                  <a:pt x="5035176" y="3770953"/>
                  <a:pt x="5015638" y="3761184"/>
                </a:cubicBezTo>
                <a:cubicBezTo>
                  <a:pt x="5005870" y="3751414"/>
                  <a:pt x="5005870" y="3751414"/>
                  <a:pt x="5005870" y="3761184"/>
                </a:cubicBezTo>
                <a:cubicBezTo>
                  <a:pt x="5005870" y="3761184"/>
                  <a:pt x="4996101" y="3751414"/>
                  <a:pt x="4996101" y="3751414"/>
                </a:cubicBezTo>
                <a:cubicBezTo>
                  <a:pt x="4947258" y="3722106"/>
                  <a:pt x="4947258" y="3722106"/>
                  <a:pt x="4947258" y="3731876"/>
                </a:cubicBezTo>
                <a:cubicBezTo>
                  <a:pt x="4947258" y="3741645"/>
                  <a:pt x="4947258" y="3741645"/>
                  <a:pt x="4947258" y="3751414"/>
                </a:cubicBezTo>
                <a:cubicBezTo>
                  <a:pt x="4937490" y="3751414"/>
                  <a:pt x="4937490" y="3751414"/>
                  <a:pt x="4927721" y="3741645"/>
                </a:cubicBezTo>
                <a:cubicBezTo>
                  <a:pt x="4917952" y="3741645"/>
                  <a:pt x="4908184" y="3741645"/>
                  <a:pt x="4908184" y="3741645"/>
                </a:cubicBezTo>
                <a:cubicBezTo>
                  <a:pt x="4898415" y="3741645"/>
                  <a:pt x="4898415" y="3741645"/>
                  <a:pt x="4888646" y="3741645"/>
                </a:cubicBezTo>
                <a:cubicBezTo>
                  <a:pt x="4888646" y="3741645"/>
                  <a:pt x="4908184" y="3751414"/>
                  <a:pt x="4908184" y="3761184"/>
                </a:cubicBezTo>
                <a:cubicBezTo>
                  <a:pt x="4898415" y="3761184"/>
                  <a:pt x="4859341" y="3731876"/>
                  <a:pt x="4859341" y="3731876"/>
                </a:cubicBezTo>
                <a:cubicBezTo>
                  <a:pt x="4849572" y="3722106"/>
                  <a:pt x="4830035" y="3712337"/>
                  <a:pt x="4810498" y="3702568"/>
                </a:cubicBezTo>
                <a:cubicBezTo>
                  <a:pt x="4800729" y="3692798"/>
                  <a:pt x="4790960" y="3692798"/>
                  <a:pt x="4781192" y="3692798"/>
                </a:cubicBezTo>
                <a:cubicBezTo>
                  <a:pt x="4751886" y="3673260"/>
                  <a:pt x="4732349" y="3663491"/>
                  <a:pt x="4712811" y="3653721"/>
                </a:cubicBezTo>
                <a:cubicBezTo>
                  <a:pt x="4703043" y="3653721"/>
                  <a:pt x="4693274" y="3643952"/>
                  <a:pt x="4693274" y="3643952"/>
                </a:cubicBezTo>
                <a:cubicBezTo>
                  <a:pt x="4683506" y="3634183"/>
                  <a:pt x="4644431" y="3614644"/>
                  <a:pt x="4624894" y="3604875"/>
                </a:cubicBezTo>
                <a:cubicBezTo>
                  <a:pt x="4624894" y="3595105"/>
                  <a:pt x="4615125" y="3595105"/>
                  <a:pt x="4615125" y="3595105"/>
                </a:cubicBezTo>
                <a:cubicBezTo>
                  <a:pt x="4615125" y="3595105"/>
                  <a:pt x="4595588" y="3585336"/>
                  <a:pt x="4566282" y="3565797"/>
                </a:cubicBezTo>
                <a:cubicBezTo>
                  <a:pt x="4556514" y="3560913"/>
                  <a:pt x="4541861" y="3556028"/>
                  <a:pt x="4527208" y="3551144"/>
                </a:cubicBezTo>
                <a:lnTo>
                  <a:pt x="4496980" y="3539808"/>
                </a:lnTo>
                <a:lnTo>
                  <a:pt x="4496681" y="3537711"/>
                </a:lnTo>
                <a:cubicBezTo>
                  <a:pt x="4495460" y="3536490"/>
                  <a:pt x="4493018" y="3536490"/>
                  <a:pt x="4488133" y="3536490"/>
                </a:cubicBezTo>
                <a:cubicBezTo>
                  <a:pt x="4478365" y="3536490"/>
                  <a:pt x="4478365" y="3526720"/>
                  <a:pt x="4468596" y="3516951"/>
                </a:cubicBezTo>
                <a:cubicBezTo>
                  <a:pt x="4468596" y="3516951"/>
                  <a:pt x="4458828" y="3516951"/>
                  <a:pt x="4458828" y="3516951"/>
                </a:cubicBezTo>
                <a:cubicBezTo>
                  <a:pt x="4449059" y="3507182"/>
                  <a:pt x="4429522" y="3507182"/>
                  <a:pt x="4429522" y="3497412"/>
                </a:cubicBezTo>
                <a:cubicBezTo>
                  <a:pt x="4429522" y="3497412"/>
                  <a:pt x="4419753" y="3497412"/>
                  <a:pt x="4409985" y="3497412"/>
                </a:cubicBezTo>
                <a:cubicBezTo>
                  <a:pt x="4409985" y="3487643"/>
                  <a:pt x="4400216" y="3487643"/>
                  <a:pt x="4400216" y="3487643"/>
                </a:cubicBezTo>
                <a:cubicBezTo>
                  <a:pt x="4400216" y="3477874"/>
                  <a:pt x="4370910" y="3468104"/>
                  <a:pt x="4351373" y="3458335"/>
                </a:cubicBezTo>
                <a:cubicBezTo>
                  <a:pt x="4341604" y="3448566"/>
                  <a:pt x="4331836" y="3448566"/>
                  <a:pt x="4331836" y="3448566"/>
                </a:cubicBezTo>
                <a:cubicBezTo>
                  <a:pt x="4322067" y="3448566"/>
                  <a:pt x="4331836" y="3458335"/>
                  <a:pt x="4341604" y="3468104"/>
                </a:cubicBezTo>
                <a:cubicBezTo>
                  <a:pt x="4341604" y="3468104"/>
                  <a:pt x="4351373" y="3477874"/>
                  <a:pt x="4351373" y="3477874"/>
                </a:cubicBezTo>
                <a:cubicBezTo>
                  <a:pt x="4361141" y="3477874"/>
                  <a:pt x="4361141" y="3487643"/>
                  <a:pt x="4361141" y="3487643"/>
                </a:cubicBezTo>
                <a:cubicBezTo>
                  <a:pt x="4361141" y="3497412"/>
                  <a:pt x="4361141" y="3497412"/>
                  <a:pt x="4361141" y="3497412"/>
                </a:cubicBezTo>
                <a:cubicBezTo>
                  <a:pt x="4370910" y="3487643"/>
                  <a:pt x="4380679" y="3497412"/>
                  <a:pt x="4380679" y="3507182"/>
                </a:cubicBezTo>
                <a:cubicBezTo>
                  <a:pt x="4370910" y="3507182"/>
                  <a:pt x="4370910" y="3516951"/>
                  <a:pt x="4419753" y="3565797"/>
                </a:cubicBezTo>
                <a:cubicBezTo>
                  <a:pt x="4439290" y="3575567"/>
                  <a:pt x="4458828" y="3575567"/>
                  <a:pt x="4458828" y="3575567"/>
                </a:cubicBezTo>
                <a:cubicBezTo>
                  <a:pt x="4458828" y="3575567"/>
                  <a:pt x="4468596" y="3575567"/>
                  <a:pt x="4468596" y="3585336"/>
                </a:cubicBezTo>
                <a:cubicBezTo>
                  <a:pt x="4468596" y="3585336"/>
                  <a:pt x="4458828" y="3585336"/>
                  <a:pt x="4458828" y="3585336"/>
                </a:cubicBezTo>
                <a:cubicBezTo>
                  <a:pt x="4458828" y="3585336"/>
                  <a:pt x="4449059" y="3585336"/>
                  <a:pt x="4449059" y="3585336"/>
                </a:cubicBezTo>
                <a:cubicBezTo>
                  <a:pt x="4449059" y="3585336"/>
                  <a:pt x="4439290" y="3585336"/>
                  <a:pt x="4439290" y="3585336"/>
                </a:cubicBezTo>
                <a:cubicBezTo>
                  <a:pt x="4439290" y="3585336"/>
                  <a:pt x="4439290" y="3575567"/>
                  <a:pt x="4429522" y="3575567"/>
                </a:cubicBezTo>
                <a:cubicBezTo>
                  <a:pt x="4439290" y="3595105"/>
                  <a:pt x="4468596" y="3614644"/>
                  <a:pt x="4478365" y="3634183"/>
                </a:cubicBezTo>
                <a:cubicBezTo>
                  <a:pt x="4497902" y="3653721"/>
                  <a:pt x="4517439" y="3683029"/>
                  <a:pt x="4527208" y="3692798"/>
                </a:cubicBezTo>
                <a:cubicBezTo>
                  <a:pt x="4546745" y="3712337"/>
                  <a:pt x="4556514" y="3731876"/>
                  <a:pt x="4556514" y="3741645"/>
                </a:cubicBezTo>
                <a:cubicBezTo>
                  <a:pt x="4556514" y="3741645"/>
                  <a:pt x="4566282" y="3741645"/>
                  <a:pt x="4566282" y="3751414"/>
                </a:cubicBezTo>
                <a:cubicBezTo>
                  <a:pt x="4576051" y="3761184"/>
                  <a:pt x="4624894" y="3810030"/>
                  <a:pt x="4624894" y="3819799"/>
                </a:cubicBezTo>
                <a:cubicBezTo>
                  <a:pt x="4624894" y="3819799"/>
                  <a:pt x="4634663" y="3829569"/>
                  <a:pt x="4644431" y="3829569"/>
                </a:cubicBezTo>
                <a:cubicBezTo>
                  <a:pt x="4644431" y="3839338"/>
                  <a:pt x="4654200" y="3849107"/>
                  <a:pt x="4654200" y="3858877"/>
                </a:cubicBezTo>
                <a:cubicBezTo>
                  <a:pt x="4663968" y="3858877"/>
                  <a:pt x="4663968" y="3868646"/>
                  <a:pt x="4663968" y="3868646"/>
                </a:cubicBezTo>
                <a:cubicBezTo>
                  <a:pt x="4663968" y="3868646"/>
                  <a:pt x="4673737" y="3878415"/>
                  <a:pt x="4683506" y="3888185"/>
                </a:cubicBezTo>
                <a:cubicBezTo>
                  <a:pt x="4693274" y="3897954"/>
                  <a:pt x="4703043" y="3917493"/>
                  <a:pt x="4712811" y="3917493"/>
                </a:cubicBezTo>
                <a:cubicBezTo>
                  <a:pt x="4712811" y="3927262"/>
                  <a:pt x="4722580" y="3937031"/>
                  <a:pt x="4722580" y="3937031"/>
                </a:cubicBezTo>
                <a:cubicBezTo>
                  <a:pt x="4722580" y="3946800"/>
                  <a:pt x="4732349" y="3946800"/>
                  <a:pt x="4732349" y="3956570"/>
                </a:cubicBezTo>
                <a:cubicBezTo>
                  <a:pt x="4732349" y="3956570"/>
                  <a:pt x="4742117" y="3956570"/>
                  <a:pt x="4742117" y="3966339"/>
                </a:cubicBezTo>
                <a:cubicBezTo>
                  <a:pt x="4742117" y="3966339"/>
                  <a:pt x="4742117" y="3976108"/>
                  <a:pt x="4751886" y="3985878"/>
                </a:cubicBezTo>
                <a:cubicBezTo>
                  <a:pt x="4761655" y="3995647"/>
                  <a:pt x="4771423" y="4005416"/>
                  <a:pt x="4771423" y="4005416"/>
                </a:cubicBezTo>
                <a:cubicBezTo>
                  <a:pt x="4771423" y="4015186"/>
                  <a:pt x="4771423" y="4015186"/>
                  <a:pt x="4771423" y="4015186"/>
                </a:cubicBezTo>
                <a:cubicBezTo>
                  <a:pt x="4781192" y="4015186"/>
                  <a:pt x="4781192" y="4015186"/>
                  <a:pt x="4781192" y="4024955"/>
                </a:cubicBezTo>
                <a:cubicBezTo>
                  <a:pt x="4781192" y="4034724"/>
                  <a:pt x="4781192" y="4034724"/>
                  <a:pt x="4781192" y="4034724"/>
                </a:cubicBezTo>
                <a:cubicBezTo>
                  <a:pt x="4781192" y="4024955"/>
                  <a:pt x="4790960" y="4034724"/>
                  <a:pt x="4790960" y="4034724"/>
                </a:cubicBezTo>
                <a:cubicBezTo>
                  <a:pt x="4790960" y="4044494"/>
                  <a:pt x="4800729" y="4054263"/>
                  <a:pt x="4800729" y="4054263"/>
                </a:cubicBezTo>
                <a:cubicBezTo>
                  <a:pt x="4810498" y="4064032"/>
                  <a:pt x="4820266" y="4073801"/>
                  <a:pt x="4820266" y="4073801"/>
                </a:cubicBezTo>
                <a:cubicBezTo>
                  <a:pt x="4820266" y="4083571"/>
                  <a:pt x="4830035" y="4083571"/>
                  <a:pt x="4830035" y="4093340"/>
                </a:cubicBezTo>
                <a:cubicBezTo>
                  <a:pt x="4830035" y="4093340"/>
                  <a:pt x="4839803" y="4103109"/>
                  <a:pt x="4839803" y="4103109"/>
                </a:cubicBezTo>
                <a:cubicBezTo>
                  <a:pt x="4839803" y="4112879"/>
                  <a:pt x="4849572" y="4122648"/>
                  <a:pt x="4849572" y="4122648"/>
                </a:cubicBezTo>
                <a:cubicBezTo>
                  <a:pt x="4849572" y="4122648"/>
                  <a:pt x="4859341" y="4132417"/>
                  <a:pt x="4869109" y="4142187"/>
                </a:cubicBezTo>
                <a:cubicBezTo>
                  <a:pt x="4878878" y="4151956"/>
                  <a:pt x="4888646" y="4171495"/>
                  <a:pt x="4888646" y="4171495"/>
                </a:cubicBezTo>
                <a:cubicBezTo>
                  <a:pt x="4898415" y="4191033"/>
                  <a:pt x="4898415" y="4191033"/>
                  <a:pt x="4898415" y="4191033"/>
                </a:cubicBezTo>
                <a:cubicBezTo>
                  <a:pt x="4898415" y="4191033"/>
                  <a:pt x="4888646" y="4191033"/>
                  <a:pt x="4888646" y="4181264"/>
                </a:cubicBezTo>
                <a:cubicBezTo>
                  <a:pt x="4878878" y="4171495"/>
                  <a:pt x="4859341" y="4142187"/>
                  <a:pt x="4859341" y="4142187"/>
                </a:cubicBezTo>
                <a:cubicBezTo>
                  <a:pt x="4859341" y="4142187"/>
                  <a:pt x="4859341" y="4142187"/>
                  <a:pt x="4859341" y="4151956"/>
                </a:cubicBezTo>
                <a:cubicBezTo>
                  <a:pt x="4859341" y="4161725"/>
                  <a:pt x="4859341" y="4161725"/>
                  <a:pt x="4839803" y="4122648"/>
                </a:cubicBezTo>
                <a:cubicBezTo>
                  <a:pt x="4830035" y="4112879"/>
                  <a:pt x="4820266" y="4103109"/>
                  <a:pt x="4820266" y="4103109"/>
                </a:cubicBezTo>
                <a:cubicBezTo>
                  <a:pt x="4810498" y="4093340"/>
                  <a:pt x="4810498" y="4083571"/>
                  <a:pt x="4800729" y="4083571"/>
                </a:cubicBezTo>
                <a:cubicBezTo>
                  <a:pt x="4800729" y="4073801"/>
                  <a:pt x="4790960" y="4064032"/>
                  <a:pt x="4781192" y="4054263"/>
                </a:cubicBezTo>
                <a:cubicBezTo>
                  <a:pt x="4771423" y="4044494"/>
                  <a:pt x="4761655" y="4024955"/>
                  <a:pt x="4761655" y="4024955"/>
                </a:cubicBezTo>
                <a:cubicBezTo>
                  <a:pt x="4751886" y="4015186"/>
                  <a:pt x="4751886" y="4015186"/>
                  <a:pt x="4751886" y="4015186"/>
                </a:cubicBezTo>
                <a:cubicBezTo>
                  <a:pt x="4732349" y="3995647"/>
                  <a:pt x="4732349" y="3985878"/>
                  <a:pt x="4722580" y="3976108"/>
                </a:cubicBezTo>
                <a:cubicBezTo>
                  <a:pt x="4712811" y="3956570"/>
                  <a:pt x="4712811" y="3956570"/>
                  <a:pt x="4712811" y="3956570"/>
                </a:cubicBezTo>
                <a:cubicBezTo>
                  <a:pt x="4722580" y="3956570"/>
                  <a:pt x="4722580" y="3956570"/>
                  <a:pt x="4722580" y="3956570"/>
                </a:cubicBezTo>
                <a:cubicBezTo>
                  <a:pt x="4722580" y="3956570"/>
                  <a:pt x="4712811" y="3937031"/>
                  <a:pt x="4693274" y="3917493"/>
                </a:cubicBezTo>
                <a:cubicBezTo>
                  <a:pt x="4693274" y="3917493"/>
                  <a:pt x="4693274" y="3917493"/>
                  <a:pt x="4693274" y="3927262"/>
                </a:cubicBezTo>
                <a:cubicBezTo>
                  <a:pt x="4703043" y="3927262"/>
                  <a:pt x="4712811" y="3946800"/>
                  <a:pt x="4712811" y="3946800"/>
                </a:cubicBezTo>
                <a:cubicBezTo>
                  <a:pt x="4712811" y="3956570"/>
                  <a:pt x="4703043" y="3946800"/>
                  <a:pt x="4693274" y="3937031"/>
                </a:cubicBezTo>
                <a:cubicBezTo>
                  <a:pt x="4693274" y="3937031"/>
                  <a:pt x="4683506" y="3927262"/>
                  <a:pt x="4673737" y="3917493"/>
                </a:cubicBezTo>
                <a:cubicBezTo>
                  <a:pt x="4663968" y="3907723"/>
                  <a:pt x="4644431" y="3878415"/>
                  <a:pt x="4644431" y="3878415"/>
                </a:cubicBezTo>
                <a:cubicBezTo>
                  <a:pt x="4644431" y="3878415"/>
                  <a:pt x="4654200" y="3878415"/>
                  <a:pt x="4654200" y="3888185"/>
                </a:cubicBezTo>
                <a:cubicBezTo>
                  <a:pt x="4663968" y="3888185"/>
                  <a:pt x="4663968" y="3897954"/>
                  <a:pt x="4673737" y="3897954"/>
                </a:cubicBezTo>
                <a:cubicBezTo>
                  <a:pt x="4673737" y="3897954"/>
                  <a:pt x="4663968" y="3888185"/>
                  <a:pt x="4663968" y="3878415"/>
                </a:cubicBezTo>
                <a:cubicBezTo>
                  <a:pt x="4654200" y="3878415"/>
                  <a:pt x="4654200" y="3868646"/>
                  <a:pt x="4654200" y="3868646"/>
                </a:cubicBezTo>
                <a:cubicBezTo>
                  <a:pt x="4654200" y="3868646"/>
                  <a:pt x="4654200" y="3868646"/>
                  <a:pt x="4644431" y="3858877"/>
                </a:cubicBezTo>
                <a:cubicBezTo>
                  <a:pt x="4634663" y="3849107"/>
                  <a:pt x="4624894" y="3839338"/>
                  <a:pt x="4624894" y="3839338"/>
                </a:cubicBezTo>
                <a:cubicBezTo>
                  <a:pt x="4624894" y="3829569"/>
                  <a:pt x="4624894" y="3829569"/>
                  <a:pt x="4615125" y="3810030"/>
                </a:cubicBezTo>
                <a:cubicBezTo>
                  <a:pt x="4576051" y="3780722"/>
                  <a:pt x="4546745" y="3741645"/>
                  <a:pt x="4546745" y="3731876"/>
                </a:cubicBezTo>
                <a:cubicBezTo>
                  <a:pt x="4546745" y="3731876"/>
                  <a:pt x="4546745" y="3731876"/>
                  <a:pt x="4536976" y="3722106"/>
                </a:cubicBezTo>
                <a:cubicBezTo>
                  <a:pt x="4536976" y="3712337"/>
                  <a:pt x="4536976" y="3712337"/>
                  <a:pt x="4527208" y="3712337"/>
                </a:cubicBezTo>
                <a:cubicBezTo>
                  <a:pt x="4527208" y="3712337"/>
                  <a:pt x="4527208" y="3712337"/>
                  <a:pt x="4517439" y="3702568"/>
                </a:cubicBezTo>
                <a:cubicBezTo>
                  <a:pt x="4517439" y="3702568"/>
                  <a:pt x="4517439" y="3702568"/>
                  <a:pt x="4517439" y="3692798"/>
                </a:cubicBezTo>
                <a:cubicBezTo>
                  <a:pt x="4517439" y="3692798"/>
                  <a:pt x="4517439" y="3683029"/>
                  <a:pt x="4488133" y="3663491"/>
                </a:cubicBezTo>
                <a:cubicBezTo>
                  <a:pt x="4468596" y="3643952"/>
                  <a:pt x="4458828" y="3634183"/>
                  <a:pt x="4458828" y="3624413"/>
                </a:cubicBezTo>
                <a:cubicBezTo>
                  <a:pt x="4458828" y="3624413"/>
                  <a:pt x="4458828" y="3624413"/>
                  <a:pt x="4449059" y="3614644"/>
                </a:cubicBezTo>
                <a:cubicBezTo>
                  <a:pt x="4439290" y="3604875"/>
                  <a:pt x="4419753" y="3585336"/>
                  <a:pt x="4409985" y="3565797"/>
                </a:cubicBezTo>
                <a:cubicBezTo>
                  <a:pt x="4390447" y="3556028"/>
                  <a:pt x="4351373" y="3536490"/>
                  <a:pt x="4351373" y="3536490"/>
                </a:cubicBezTo>
                <a:cubicBezTo>
                  <a:pt x="4351373" y="3536490"/>
                  <a:pt x="4351373" y="3526720"/>
                  <a:pt x="4341604" y="3526720"/>
                </a:cubicBezTo>
                <a:cubicBezTo>
                  <a:pt x="4341604" y="3526720"/>
                  <a:pt x="4341604" y="3526720"/>
                  <a:pt x="4341604" y="3516951"/>
                </a:cubicBezTo>
                <a:lnTo>
                  <a:pt x="4331836" y="3516951"/>
                </a:lnTo>
                <a:cubicBezTo>
                  <a:pt x="4331836" y="3507182"/>
                  <a:pt x="4322067" y="3497412"/>
                  <a:pt x="4322067" y="3497412"/>
                </a:cubicBezTo>
                <a:cubicBezTo>
                  <a:pt x="4263455" y="3429027"/>
                  <a:pt x="4253687" y="3429027"/>
                  <a:pt x="4253687" y="3419258"/>
                </a:cubicBezTo>
                <a:cubicBezTo>
                  <a:pt x="4243918" y="3419258"/>
                  <a:pt x="4243918" y="3419258"/>
                  <a:pt x="4243918" y="3419258"/>
                </a:cubicBezTo>
                <a:cubicBezTo>
                  <a:pt x="4243918" y="3419258"/>
                  <a:pt x="4234150" y="3409489"/>
                  <a:pt x="4224381" y="3399719"/>
                </a:cubicBezTo>
                <a:cubicBezTo>
                  <a:pt x="4224381" y="3389950"/>
                  <a:pt x="4214612" y="3389950"/>
                  <a:pt x="4214612" y="3389950"/>
                </a:cubicBezTo>
                <a:cubicBezTo>
                  <a:pt x="4214612" y="3399719"/>
                  <a:pt x="4214612" y="3399719"/>
                  <a:pt x="4214612" y="3399719"/>
                </a:cubicBezTo>
                <a:cubicBezTo>
                  <a:pt x="4204844" y="3399719"/>
                  <a:pt x="4204844" y="3389950"/>
                  <a:pt x="4195075" y="3380181"/>
                </a:cubicBezTo>
                <a:cubicBezTo>
                  <a:pt x="4195075" y="3380181"/>
                  <a:pt x="4195075" y="3380181"/>
                  <a:pt x="4185306" y="3380181"/>
                </a:cubicBezTo>
                <a:cubicBezTo>
                  <a:pt x="4185306" y="3380181"/>
                  <a:pt x="4185306" y="3389950"/>
                  <a:pt x="4204844" y="3399719"/>
                </a:cubicBezTo>
                <a:cubicBezTo>
                  <a:pt x="4214612" y="3419258"/>
                  <a:pt x="4224381" y="3429027"/>
                  <a:pt x="4234150" y="3429027"/>
                </a:cubicBezTo>
                <a:cubicBezTo>
                  <a:pt x="4234150" y="3438796"/>
                  <a:pt x="4243918" y="3448566"/>
                  <a:pt x="4253687" y="3458335"/>
                </a:cubicBezTo>
                <a:cubicBezTo>
                  <a:pt x="4253687" y="3468104"/>
                  <a:pt x="4263455" y="3477874"/>
                  <a:pt x="4263455" y="3477874"/>
                </a:cubicBezTo>
                <a:cubicBezTo>
                  <a:pt x="4263455" y="3477874"/>
                  <a:pt x="4273224" y="3487643"/>
                  <a:pt x="4273224" y="3487643"/>
                </a:cubicBezTo>
                <a:cubicBezTo>
                  <a:pt x="4282993" y="3497412"/>
                  <a:pt x="4282993" y="3497412"/>
                  <a:pt x="4282993" y="3497412"/>
                </a:cubicBezTo>
                <a:cubicBezTo>
                  <a:pt x="4282993" y="3497412"/>
                  <a:pt x="4273224" y="3497412"/>
                  <a:pt x="4253687" y="3487643"/>
                </a:cubicBezTo>
                <a:cubicBezTo>
                  <a:pt x="4234150" y="3477874"/>
                  <a:pt x="4224381" y="3468104"/>
                  <a:pt x="4204844" y="3468104"/>
                </a:cubicBezTo>
                <a:cubicBezTo>
                  <a:pt x="4214612" y="3468104"/>
                  <a:pt x="4214612" y="3477874"/>
                  <a:pt x="4224381" y="3487643"/>
                </a:cubicBezTo>
                <a:cubicBezTo>
                  <a:pt x="4253687" y="3507182"/>
                  <a:pt x="4273224" y="3536490"/>
                  <a:pt x="4273224" y="3536490"/>
                </a:cubicBezTo>
                <a:cubicBezTo>
                  <a:pt x="4273224" y="3536490"/>
                  <a:pt x="4292761" y="3556028"/>
                  <a:pt x="4312298" y="3575567"/>
                </a:cubicBezTo>
                <a:cubicBezTo>
                  <a:pt x="4351373" y="3624413"/>
                  <a:pt x="4370910" y="3643952"/>
                  <a:pt x="4361141" y="3643952"/>
                </a:cubicBezTo>
                <a:cubicBezTo>
                  <a:pt x="4361141" y="3643952"/>
                  <a:pt x="4361141" y="3653721"/>
                  <a:pt x="4370910" y="3653721"/>
                </a:cubicBezTo>
                <a:cubicBezTo>
                  <a:pt x="4370910" y="3653721"/>
                  <a:pt x="4390447" y="3673260"/>
                  <a:pt x="4390447" y="3673260"/>
                </a:cubicBezTo>
                <a:cubicBezTo>
                  <a:pt x="4390447" y="3683029"/>
                  <a:pt x="4390447" y="3692798"/>
                  <a:pt x="4400216" y="3683029"/>
                </a:cubicBezTo>
                <a:cubicBezTo>
                  <a:pt x="4400216" y="3683029"/>
                  <a:pt x="4409985" y="3683029"/>
                  <a:pt x="4419753" y="3702568"/>
                </a:cubicBezTo>
                <a:cubicBezTo>
                  <a:pt x="4439290" y="3722106"/>
                  <a:pt x="4439290" y="3722106"/>
                  <a:pt x="4429522" y="3722106"/>
                </a:cubicBezTo>
                <a:cubicBezTo>
                  <a:pt x="4419753" y="3712337"/>
                  <a:pt x="4419753" y="3712337"/>
                  <a:pt x="4419753" y="3722106"/>
                </a:cubicBezTo>
                <a:cubicBezTo>
                  <a:pt x="4419753" y="3722106"/>
                  <a:pt x="4429522" y="3731876"/>
                  <a:pt x="4429522" y="3731876"/>
                </a:cubicBezTo>
                <a:cubicBezTo>
                  <a:pt x="4439290" y="3741645"/>
                  <a:pt x="4439290" y="3741645"/>
                  <a:pt x="4439290" y="3741645"/>
                </a:cubicBezTo>
                <a:cubicBezTo>
                  <a:pt x="4439290" y="3731876"/>
                  <a:pt x="4439290" y="3731876"/>
                  <a:pt x="4439290" y="3731876"/>
                </a:cubicBezTo>
                <a:cubicBezTo>
                  <a:pt x="4439290" y="3722106"/>
                  <a:pt x="4439290" y="3722106"/>
                  <a:pt x="4449059" y="3731876"/>
                </a:cubicBezTo>
                <a:cubicBezTo>
                  <a:pt x="4449059" y="3741645"/>
                  <a:pt x="4458828" y="3751414"/>
                  <a:pt x="4458828" y="3741645"/>
                </a:cubicBezTo>
                <a:cubicBezTo>
                  <a:pt x="4468596" y="3741645"/>
                  <a:pt x="4468596" y="3751414"/>
                  <a:pt x="4468596" y="3751414"/>
                </a:cubicBezTo>
                <a:cubicBezTo>
                  <a:pt x="4458828" y="3761184"/>
                  <a:pt x="4458828" y="3761184"/>
                  <a:pt x="4458828" y="3751414"/>
                </a:cubicBezTo>
                <a:cubicBezTo>
                  <a:pt x="4458828" y="3751414"/>
                  <a:pt x="4458828" y="3751414"/>
                  <a:pt x="4449059" y="3751414"/>
                </a:cubicBezTo>
                <a:cubicBezTo>
                  <a:pt x="4449059" y="3751414"/>
                  <a:pt x="4449059" y="3751414"/>
                  <a:pt x="4468596" y="3770953"/>
                </a:cubicBezTo>
                <a:cubicBezTo>
                  <a:pt x="4468596" y="3780722"/>
                  <a:pt x="4478365" y="3790492"/>
                  <a:pt x="4488133" y="3790492"/>
                </a:cubicBezTo>
                <a:cubicBezTo>
                  <a:pt x="4497902" y="3819799"/>
                  <a:pt x="4517439" y="3839338"/>
                  <a:pt x="4527208" y="3839338"/>
                </a:cubicBezTo>
                <a:cubicBezTo>
                  <a:pt x="4527208" y="3849107"/>
                  <a:pt x="4527208" y="3849107"/>
                  <a:pt x="4536976" y="3858877"/>
                </a:cubicBezTo>
                <a:cubicBezTo>
                  <a:pt x="4536976" y="3868646"/>
                  <a:pt x="4556514" y="3888185"/>
                  <a:pt x="4556514" y="3888185"/>
                </a:cubicBezTo>
                <a:cubicBezTo>
                  <a:pt x="4556514" y="3897954"/>
                  <a:pt x="4576051" y="3917493"/>
                  <a:pt x="4615125" y="3956570"/>
                </a:cubicBezTo>
                <a:cubicBezTo>
                  <a:pt x="4634663" y="3985878"/>
                  <a:pt x="4654200" y="4015186"/>
                  <a:pt x="4663968" y="4024955"/>
                </a:cubicBezTo>
                <a:cubicBezTo>
                  <a:pt x="4673737" y="4034724"/>
                  <a:pt x="4673737" y="4044494"/>
                  <a:pt x="4683506" y="4044494"/>
                </a:cubicBezTo>
                <a:cubicBezTo>
                  <a:pt x="4683506" y="4044494"/>
                  <a:pt x="4703043" y="4073801"/>
                  <a:pt x="4712811" y="4083571"/>
                </a:cubicBezTo>
                <a:cubicBezTo>
                  <a:pt x="4712811" y="4093340"/>
                  <a:pt x="4712811" y="4093340"/>
                  <a:pt x="4712811" y="4093340"/>
                </a:cubicBezTo>
                <a:cubicBezTo>
                  <a:pt x="4703043" y="4093340"/>
                  <a:pt x="4703043" y="4093340"/>
                  <a:pt x="4703043" y="4093340"/>
                </a:cubicBezTo>
                <a:cubicBezTo>
                  <a:pt x="4703043" y="4093340"/>
                  <a:pt x="4693274" y="4093340"/>
                  <a:pt x="4703043" y="4083571"/>
                </a:cubicBezTo>
                <a:cubicBezTo>
                  <a:pt x="4703043" y="4083571"/>
                  <a:pt x="4693274" y="4064032"/>
                  <a:pt x="4673737" y="4054263"/>
                </a:cubicBezTo>
                <a:cubicBezTo>
                  <a:pt x="4673737" y="4044494"/>
                  <a:pt x="4663968" y="4034724"/>
                  <a:pt x="4663968" y="4034724"/>
                </a:cubicBezTo>
                <a:cubicBezTo>
                  <a:pt x="4663968" y="4034724"/>
                  <a:pt x="4654200" y="4024955"/>
                  <a:pt x="4654200" y="4024955"/>
                </a:cubicBezTo>
                <a:cubicBezTo>
                  <a:pt x="4644431" y="4024955"/>
                  <a:pt x="4644431" y="4015186"/>
                  <a:pt x="4634663" y="4005416"/>
                </a:cubicBezTo>
                <a:cubicBezTo>
                  <a:pt x="4634663" y="3995647"/>
                  <a:pt x="4615125" y="3985878"/>
                  <a:pt x="4615125" y="3976108"/>
                </a:cubicBezTo>
                <a:cubicBezTo>
                  <a:pt x="4605357" y="3966339"/>
                  <a:pt x="4595588" y="3946800"/>
                  <a:pt x="4585820" y="3946800"/>
                </a:cubicBezTo>
                <a:cubicBezTo>
                  <a:pt x="4585820" y="3937031"/>
                  <a:pt x="4576051" y="3937031"/>
                  <a:pt x="4576051" y="3927262"/>
                </a:cubicBezTo>
                <a:cubicBezTo>
                  <a:pt x="4566282" y="3927262"/>
                  <a:pt x="4566282" y="3917493"/>
                  <a:pt x="4566282" y="3917493"/>
                </a:cubicBezTo>
                <a:cubicBezTo>
                  <a:pt x="4566282" y="3917493"/>
                  <a:pt x="4566282" y="3917493"/>
                  <a:pt x="4556514" y="3917493"/>
                </a:cubicBezTo>
                <a:cubicBezTo>
                  <a:pt x="4556514" y="3907723"/>
                  <a:pt x="4527208" y="3878415"/>
                  <a:pt x="4527208" y="3878415"/>
                </a:cubicBezTo>
                <a:cubicBezTo>
                  <a:pt x="4527208" y="3868646"/>
                  <a:pt x="4527208" y="3868646"/>
                  <a:pt x="4527208" y="3868646"/>
                </a:cubicBezTo>
                <a:cubicBezTo>
                  <a:pt x="4517439" y="3868646"/>
                  <a:pt x="4517439" y="3858877"/>
                  <a:pt x="4507671" y="3849107"/>
                </a:cubicBezTo>
                <a:cubicBezTo>
                  <a:pt x="4507671" y="3839338"/>
                  <a:pt x="4497902" y="3829569"/>
                  <a:pt x="4497902" y="3829569"/>
                </a:cubicBezTo>
                <a:cubicBezTo>
                  <a:pt x="4488133" y="3829569"/>
                  <a:pt x="4488133" y="3829569"/>
                  <a:pt x="4488133" y="3819799"/>
                </a:cubicBezTo>
                <a:cubicBezTo>
                  <a:pt x="4478365" y="3819799"/>
                  <a:pt x="4478365" y="3810030"/>
                  <a:pt x="4468596" y="3800261"/>
                </a:cubicBezTo>
                <a:cubicBezTo>
                  <a:pt x="4458828" y="3790492"/>
                  <a:pt x="4449059" y="3780722"/>
                  <a:pt x="4449059" y="3770953"/>
                </a:cubicBezTo>
                <a:cubicBezTo>
                  <a:pt x="4449059" y="3770953"/>
                  <a:pt x="4449059" y="3761184"/>
                  <a:pt x="4449059" y="3761184"/>
                </a:cubicBezTo>
                <a:cubicBezTo>
                  <a:pt x="4439290" y="3761184"/>
                  <a:pt x="4439290" y="3761184"/>
                  <a:pt x="4439290" y="3761184"/>
                </a:cubicBezTo>
                <a:cubicBezTo>
                  <a:pt x="4439290" y="3751414"/>
                  <a:pt x="4429522" y="3751414"/>
                  <a:pt x="4419753" y="3731876"/>
                </a:cubicBezTo>
                <a:cubicBezTo>
                  <a:pt x="4409985" y="3731876"/>
                  <a:pt x="4409985" y="3722106"/>
                  <a:pt x="4409985" y="3722106"/>
                </a:cubicBezTo>
                <a:cubicBezTo>
                  <a:pt x="4400216" y="3722106"/>
                  <a:pt x="4400216" y="3722106"/>
                  <a:pt x="4390447" y="3712337"/>
                </a:cubicBezTo>
                <a:cubicBezTo>
                  <a:pt x="4380679" y="3692798"/>
                  <a:pt x="4361141" y="3673260"/>
                  <a:pt x="4361141" y="3663491"/>
                </a:cubicBezTo>
                <a:cubicBezTo>
                  <a:pt x="4351373" y="3663491"/>
                  <a:pt x="4351373" y="3653721"/>
                  <a:pt x="4351373" y="3653721"/>
                </a:cubicBezTo>
                <a:cubicBezTo>
                  <a:pt x="4351373" y="3653721"/>
                  <a:pt x="4341604" y="3643952"/>
                  <a:pt x="4331836" y="3643952"/>
                </a:cubicBezTo>
                <a:cubicBezTo>
                  <a:pt x="4322067" y="3634183"/>
                  <a:pt x="4322067" y="3624413"/>
                  <a:pt x="4322067" y="3624413"/>
                </a:cubicBezTo>
                <a:cubicBezTo>
                  <a:pt x="4322067" y="3614644"/>
                  <a:pt x="4322067" y="3614644"/>
                  <a:pt x="4312298" y="3604875"/>
                </a:cubicBezTo>
                <a:cubicBezTo>
                  <a:pt x="4302530" y="3595105"/>
                  <a:pt x="4292761" y="3585336"/>
                  <a:pt x="4282993" y="3575567"/>
                </a:cubicBezTo>
                <a:cubicBezTo>
                  <a:pt x="4273224" y="3556028"/>
                  <a:pt x="4273224" y="3556028"/>
                  <a:pt x="4253687" y="3546259"/>
                </a:cubicBezTo>
                <a:cubicBezTo>
                  <a:pt x="4243918" y="3536490"/>
                  <a:pt x="4243918" y="3536490"/>
                  <a:pt x="4243918" y="3546259"/>
                </a:cubicBezTo>
                <a:cubicBezTo>
                  <a:pt x="4243918" y="3546259"/>
                  <a:pt x="4253687" y="3546259"/>
                  <a:pt x="4253687" y="3556028"/>
                </a:cubicBezTo>
                <a:cubicBezTo>
                  <a:pt x="4243918" y="3565797"/>
                  <a:pt x="4253687" y="3565797"/>
                  <a:pt x="4263455" y="3585336"/>
                </a:cubicBezTo>
                <a:cubicBezTo>
                  <a:pt x="4273224" y="3585336"/>
                  <a:pt x="4282993" y="3604875"/>
                  <a:pt x="4282993" y="3604875"/>
                </a:cubicBezTo>
                <a:cubicBezTo>
                  <a:pt x="4292761" y="3604875"/>
                  <a:pt x="4292761" y="3614644"/>
                  <a:pt x="4292761" y="3614644"/>
                </a:cubicBezTo>
                <a:cubicBezTo>
                  <a:pt x="4292761" y="3624413"/>
                  <a:pt x="4312298" y="3634183"/>
                  <a:pt x="4312298" y="3634183"/>
                </a:cubicBezTo>
                <a:cubicBezTo>
                  <a:pt x="4312298" y="3634183"/>
                  <a:pt x="4322067" y="3643952"/>
                  <a:pt x="4322067" y="3643952"/>
                </a:cubicBezTo>
                <a:cubicBezTo>
                  <a:pt x="4322067" y="3663491"/>
                  <a:pt x="4341604" y="3683029"/>
                  <a:pt x="4351373" y="3683029"/>
                </a:cubicBezTo>
                <a:cubicBezTo>
                  <a:pt x="4361141" y="3692798"/>
                  <a:pt x="4361141" y="3692798"/>
                  <a:pt x="4361141" y="3702568"/>
                </a:cubicBezTo>
                <a:cubicBezTo>
                  <a:pt x="4361141" y="3702568"/>
                  <a:pt x="4361141" y="3702568"/>
                  <a:pt x="4361141" y="3712337"/>
                </a:cubicBezTo>
                <a:cubicBezTo>
                  <a:pt x="4370910" y="3712337"/>
                  <a:pt x="4370910" y="3712337"/>
                  <a:pt x="4370910" y="3722106"/>
                </a:cubicBezTo>
                <a:cubicBezTo>
                  <a:pt x="4370910" y="3722106"/>
                  <a:pt x="4380679" y="3731876"/>
                  <a:pt x="4380679" y="3731876"/>
                </a:cubicBezTo>
                <a:cubicBezTo>
                  <a:pt x="4390447" y="3731876"/>
                  <a:pt x="4390447" y="3731876"/>
                  <a:pt x="4390447" y="3741645"/>
                </a:cubicBezTo>
                <a:cubicBezTo>
                  <a:pt x="4390447" y="3751414"/>
                  <a:pt x="4400216" y="3751414"/>
                  <a:pt x="4400216" y="3751414"/>
                </a:cubicBezTo>
                <a:cubicBezTo>
                  <a:pt x="4400216" y="3751414"/>
                  <a:pt x="4400216" y="3751414"/>
                  <a:pt x="4409985" y="3751414"/>
                </a:cubicBezTo>
                <a:cubicBezTo>
                  <a:pt x="4409985" y="3751414"/>
                  <a:pt x="4409985" y="3751414"/>
                  <a:pt x="4409985" y="3761184"/>
                </a:cubicBezTo>
                <a:cubicBezTo>
                  <a:pt x="4409985" y="3761184"/>
                  <a:pt x="4409985" y="3761184"/>
                  <a:pt x="4409985" y="3770953"/>
                </a:cubicBezTo>
                <a:cubicBezTo>
                  <a:pt x="4419753" y="3780722"/>
                  <a:pt x="4429522" y="3780722"/>
                  <a:pt x="4429522" y="3770953"/>
                </a:cubicBezTo>
                <a:cubicBezTo>
                  <a:pt x="4429522" y="3770953"/>
                  <a:pt x="4429522" y="3770953"/>
                  <a:pt x="4429522" y="3780722"/>
                </a:cubicBezTo>
                <a:cubicBezTo>
                  <a:pt x="4429522" y="3780722"/>
                  <a:pt x="4429522" y="3790492"/>
                  <a:pt x="4429522" y="3790492"/>
                </a:cubicBezTo>
                <a:cubicBezTo>
                  <a:pt x="4439290" y="3790492"/>
                  <a:pt x="4439290" y="3800261"/>
                  <a:pt x="4439290" y="3800261"/>
                </a:cubicBezTo>
                <a:cubicBezTo>
                  <a:pt x="4439290" y="3810030"/>
                  <a:pt x="4439290" y="3810030"/>
                  <a:pt x="4449059" y="3810030"/>
                </a:cubicBezTo>
                <a:cubicBezTo>
                  <a:pt x="4449059" y="3810030"/>
                  <a:pt x="4449059" y="3810030"/>
                  <a:pt x="4449059" y="3819799"/>
                </a:cubicBezTo>
                <a:cubicBezTo>
                  <a:pt x="4458828" y="3819799"/>
                  <a:pt x="4458828" y="3829569"/>
                  <a:pt x="4458828" y="3829569"/>
                </a:cubicBezTo>
                <a:cubicBezTo>
                  <a:pt x="4458828" y="3829569"/>
                  <a:pt x="4468596" y="3839338"/>
                  <a:pt x="4478365" y="3839338"/>
                </a:cubicBezTo>
                <a:cubicBezTo>
                  <a:pt x="4478365" y="3849107"/>
                  <a:pt x="4488133" y="3858877"/>
                  <a:pt x="4488133" y="3868646"/>
                </a:cubicBezTo>
                <a:cubicBezTo>
                  <a:pt x="4497902" y="3868646"/>
                  <a:pt x="4507671" y="3888185"/>
                  <a:pt x="4517439" y="3897954"/>
                </a:cubicBezTo>
                <a:cubicBezTo>
                  <a:pt x="4527208" y="3907723"/>
                  <a:pt x="4536976" y="3927262"/>
                  <a:pt x="4546745" y="3927262"/>
                </a:cubicBezTo>
                <a:cubicBezTo>
                  <a:pt x="4546745" y="3927262"/>
                  <a:pt x="4546745" y="3937031"/>
                  <a:pt x="4546745" y="3937031"/>
                </a:cubicBezTo>
                <a:cubicBezTo>
                  <a:pt x="4556514" y="3946800"/>
                  <a:pt x="4576051" y="3966339"/>
                  <a:pt x="4576051" y="3966339"/>
                </a:cubicBezTo>
                <a:cubicBezTo>
                  <a:pt x="4585820" y="3966339"/>
                  <a:pt x="4585820" y="3976108"/>
                  <a:pt x="4585820" y="3976108"/>
                </a:cubicBezTo>
                <a:cubicBezTo>
                  <a:pt x="4585820" y="3976108"/>
                  <a:pt x="4595588" y="3995647"/>
                  <a:pt x="4605357" y="4005416"/>
                </a:cubicBezTo>
                <a:cubicBezTo>
                  <a:pt x="4615125" y="4024955"/>
                  <a:pt x="4634663" y="4044494"/>
                  <a:pt x="4644431" y="4054263"/>
                </a:cubicBezTo>
                <a:cubicBezTo>
                  <a:pt x="4663968" y="4083571"/>
                  <a:pt x="4683506" y="4103109"/>
                  <a:pt x="4693274" y="4122648"/>
                </a:cubicBezTo>
                <a:cubicBezTo>
                  <a:pt x="4703043" y="4132417"/>
                  <a:pt x="4712811" y="4142187"/>
                  <a:pt x="4712811" y="4142187"/>
                </a:cubicBezTo>
                <a:cubicBezTo>
                  <a:pt x="4712811" y="4151956"/>
                  <a:pt x="4712811" y="4161725"/>
                  <a:pt x="4722580" y="4171495"/>
                </a:cubicBezTo>
                <a:cubicBezTo>
                  <a:pt x="4732349" y="4171495"/>
                  <a:pt x="4742117" y="4181264"/>
                  <a:pt x="4742117" y="4191033"/>
                </a:cubicBezTo>
                <a:cubicBezTo>
                  <a:pt x="4742117" y="4191033"/>
                  <a:pt x="4751886" y="4200803"/>
                  <a:pt x="4751886" y="4200803"/>
                </a:cubicBezTo>
                <a:cubicBezTo>
                  <a:pt x="4761655" y="4210572"/>
                  <a:pt x="4761655" y="4220341"/>
                  <a:pt x="4761655" y="4220341"/>
                </a:cubicBezTo>
                <a:cubicBezTo>
                  <a:pt x="4761655" y="4230110"/>
                  <a:pt x="4761655" y="4230110"/>
                  <a:pt x="4771423" y="4230110"/>
                </a:cubicBezTo>
                <a:cubicBezTo>
                  <a:pt x="4781192" y="4230110"/>
                  <a:pt x="4781192" y="4230110"/>
                  <a:pt x="4781192" y="4239880"/>
                </a:cubicBezTo>
                <a:cubicBezTo>
                  <a:pt x="4781192" y="4249649"/>
                  <a:pt x="4781192" y="4249649"/>
                  <a:pt x="4781192" y="4249649"/>
                </a:cubicBezTo>
                <a:cubicBezTo>
                  <a:pt x="4790960" y="4249649"/>
                  <a:pt x="4800729" y="4269188"/>
                  <a:pt x="4800729" y="4278957"/>
                </a:cubicBezTo>
                <a:cubicBezTo>
                  <a:pt x="4800729" y="4288726"/>
                  <a:pt x="4820266" y="4308265"/>
                  <a:pt x="4849572" y="4337573"/>
                </a:cubicBezTo>
                <a:cubicBezTo>
                  <a:pt x="4849572" y="4347342"/>
                  <a:pt x="4849572" y="4347342"/>
                  <a:pt x="4849572" y="4347342"/>
                </a:cubicBezTo>
                <a:cubicBezTo>
                  <a:pt x="4849572" y="4337573"/>
                  <a:pt x="4859341" y="4337573"/>
                  <a:pt x="4859341" y="4347342"/>
                </a:cubicBezTo>
                <a:cubicBezTo>
                  <a:pt x="4859341" y="4347342"/>
                  <a:pt x="4859341" y="4347342"/>
                  <a:pt x="4859341" y="4357111"/>
                </a:cubicBezTo>
                <a:cubicBezTo>
                  <a:pt x="4878878" y="4376650"/>
                  <a:pt x="4888646" y="4396189"/>
                  <a:pt x="4898415" y="4405958"/>
                </a:cubicBezTo>
                <a:cubicBezTo>
                  <a:pt x="4898415" y="4405958"/>
                  <a:pt x="4908184" y="4415727"/>
                  <a:pt x="4908184" y="4425497"/>
                </a:cubicBezTo>
                <a:cubicBezTo>
                  <a:pt x="4927721" y="4445035"/>
                  <a:pt x="4976564" y="4503651"/>
                  <a:pt x="4976564" y="4513420"/>
                </a:cubicBezTo>
                <a:cubicBezTo>
                  <a:pt x="4976564" y="4513420"/>
                  <a:pt x="4966795" y="4513420"/>
                  <a:pt x="4966795" y="4503651"/>
                </a:cubicBezTo>
                <a:cubicBezTo>
                  <a:pt x="4957027" y="4493882"/>
                  <a:pt x="4947258" y="4493882"/>
                  <a:pt x="4947258" y="4503651"/>
                </a:cubicBezTo>
                <a:cubicBezTo>
                  <a:pt x="4947258" y="4503651"/>
                  <a:pt x="4947258" y="4513420"/>
                  <a:pt x="4947258" y="4513420"/>
                </a:cubicBezTo>
                <a:cubicBezTo>
                  <a:pt x="4937490" y="4523190"/>
                  <a:pt x="4937490" y="4532959"/>
                  <a:pt x="4937490" y="4542728"/>
                </a:cubicBezTo>
                <a:cubicBezTo>
                  <a:pt x="4947258" y="4542728"/>
                  <a:pt x="4947258" y="4552498"/>
                  <a:pt x="4957027" y="4562267"/>
                </a:cubicBezTo>
                <a:cubicBezTo>
                  <a:pt x="4966795" y="4591575"/>
                  <a:pt x="4996101" y="4630652"/>
                  <a:pt x="5005870" y="4640421"/>
                </a:cubicBezTo>
                <a:cubicBezTo>
                  <a:pt x="5015638" y="4650191"/>
                  <a:pt x="5015638" y="4659960"/>
                  <a:pt x="5015638" y="4659960"/>
                </a:cubicBezTo>
                <a:cubicBezTo>
                  <a:pt x="5015638" y="4669729"/>
                  <a:pt x="5025407" y="4669729"/>
                  <a:pt x="5025407" y="4669729"/>
                </a:cubicBezTo>
                <a:cubicBezTo>
                  <a:pt x="5025407" y="4679499"/>
                  <a:pt x="5035176" y="4689268"/>
                  <a:pt x="5044944" y="4699037"/>
                </a:cubicBezTo>
                <a:cubicBezTo>
                  <a:pt x="5074250" y="4747884"/>
                  <a:pt x="5074250" y="4757653"/>
                  <a:pt x="5064481" y="4757653"/>
                </a:cubicBezTo>
                <a:cubicBezTo>
                  <a:pt x="5054713" y="4757653"/>
                  <a:pt x="5054713" y="4757653"/>
                  <a:pt x="5054713" y="4757653"/>
                </a:cubicBezTo>
                <a:cubicBezTo>
                  <a:pt x="5054713" y="4767422"/>
                  <a:pt x="5054713" y="4777192"/>
                  <a:pt x="5064481" y="4786961"/>
                </a:cubicBezTo>
                <a:cubicBezTo>
                  <a:pt x="5064481" y="4786961"/>
                  <a:pt x="5074250" y="4796730"/>
                  <a:pt x="5064481" y="4796730"/>
                </a:cubicBezTo>
                <a:cubicBezTo>
                  <a:pt x="5064481" y="4796730"/>
                  <a:pt x="5074250" y="4806500"/>
                  <a:pt x="5074250" y="4806500"/>
                </a:cubicBezTo>
                <a:cubicBezTo>
                  <a:pt x="5084019" y="4816269"/>
                  <a:pt x="5084019" y="4816269"/>
                  <a:pt x="5084019" y="4826038"/>
                </a:cubicBezTo>
                <a:cubicBezTo>
                  <a:pt x="5084019" y="4826038"/>
                  <a:pt x="5093787" y="4835808"/>
                  <a:pt x="5103556" y="4845577"/>
                </a:cubicBezTo>
                <a:cubicBezTo>
                  <a:pt x="5113325" y="4855346"/>
                  <a:pt x="5113325" y="4865115"/>
                  <a:pt x="5113325" y="4874885"/>
                </a:cubicBezTo>
                <a:cubicBezTo>
                  <a:pt x="5113325" y="4874885"/>
                  <a:pt x="5123093" y="4884654"/>
                  <a:pt x="5132862" y="4894423"/>
                </a:cubicBezTo>
                <a:cubicBezTo>
                  <a:pt x="5142630" y="4904193"/>
                  <a:pt x="5142630" y="4913962"/>
                  <a:pt x="5142630" y="4913962"/>
                </a:cubicBezTo>
                <a:cubicBezTo>
                  <a:pt x="5142630" y="4913962"/>
                  <a:pt x="5142630" y="4923731"/>
                  <a:pt x="5152399" y="4923731"/>
                </a:cubicBezTo>
                <a:cubicBezTo>
                  <a:pt x="5152399" y="4923731"/>
                  <a:pt x="5152399" y="4933501"/>
                  <a:pt x="5152399" y="4933501"/>
                </a:cubicBezTo>
                <a:cubicBezTo>
                  <a:pt x="5152399" y="4933501"/>
                  <a:pt x="5152399" y="4943270"/>
                  <a:pt x="5162168" y="4943270"/>
                </a:cubicBezTo>
                <a:cubicBezTo>
                  <a:pt x="5162168" y="4943270"/>
                  <a:pt x="5162168" y="4953039"/>
                  <a:pt x="5162168" y="4953039"/>
                </a:cubicBezTo>
                <a:cubicBezTo>
                  <a:pt x="5162168" y="4953039"/>
                  <a:pt x="5171936" y="4962809"/>
                  <a:pt x="5181705" y="4982347"/>
                </a:cubicBezTo>
                <a:cubicBezTo>
                  <a:pt x="5191473" y="4992116"/>
                  <a:pt x="5201242" y="5001886"/>
                  <a:pt x="5201242" y="5011655"/>
                </a:cubicBezTo>
                <a:cubicBezTo>
                  <a:pt x="5201242" y="5011655"/>
                  <a:pt x="5211011" y="5021424"/>
                  <a:pt x="5211011" y="5031194"/>
                </a:cubicBezTo>
                <a:cubicBezTo>
                  <a:pt x="5220779" y="5031194"/>
                  <a:pt x="5230548" y="5040963"/>
                  <a:pt x="5230548" y="5050732"/>
                </a:cubicBezTo>
                <a:cubicBezTo>
                  <a:pt x="5230548" y="5050732"/>
                  <a:pt x="5230548" y="5060502"/>
                  <a:pt x="5240316" y="5070271"/>
                </a:cubicBezTo>
                <a:cubicBezTo>
                  <a:pt x="5240316" y="5080040"/>
                  <a:pt x="5250085" y="5089810"/>
                  <a:pt x="5250085" y="5089810"/>
                </a:cubicBezTo>
                <a:cubicBezTo>
                  <a:pt x="5250085" y="5089810"/>
                  <a:pt x="5250085" y="5099579"/>
                  <a:pt x="5259854" y="5099579"/>
                </a:cubicBezTo>
                <a:cubicBezTo>
                  <a:pt x="5259854" y="5099579"/>
                  <a:pt x="5259854" y="5109348"/>
                  <a:pt x="5259854" y="5109348"/>
                </a:cubicBezTo>
                <a:cubicBezTo>
                  <a:pt x="5259854" y="5119117"/>
                  <a:pt x="5259854" y="5119117"/>
                  <a:pt x="5259854" y="5128887"/>
                </a:cubicBezTo>
                <a:cubicBezTo>
                  <a:pt x="5259854" y="5138656"/>
                  <a:pt x="5269622" y="5138656"/>
                  <a:pt x="5269622" y="5148425"/>
                </a:cubicBezTo>
                <a:cubicBezTo>
                  <a:pt x="5269622" y="5148425"/>
                  <a:pt x="5269622" y="5158195"/>
                  <a:pt x="5289160" y="5167964"/>
                </a:cubicBezTo>
                <a:cubicBezTo>
                  <a:pt x="5289160" y="5177733"/>
                  <a:pt x="5298928" y="5187503"/>
                  <a:pt x="5298928" y="5197272"/>
                </a:cubicBezTo>
                <a:cubicBezTo>
                  <a:pt x="5308697" y="5207041"/>
                  <a:pt x="5318465" y="5226580"/>
                  <a:pt x="5318465" y="5236349"/>
                </a:cubicBezTo>
                <a:cubicBezTo>
                  <a:pt x="5328234" y="5246118"/>
                  <a:pt x="5338003" y="5255888"/>
                  <a:pt x="5338003" y="5265657"/>
                </a:cubicBezTo>
                <a:cubicBezTo>
                  <a:pt x="5338003" y="5265657"/>
                  <a:pt x="5338003" y="5275426"/>
                  <a:pt x="5347771" y="5275426"/>
                </a:cubicBezTo>
                <a:cubicBezTo>
                  <a:pt x="5357540" y="5294965"/>
                  <a:pt x="5367308" y="5324273"/>
                  <a:pt x="5367308" y="5324273"/>
                </a:cubicBezTo>
                <a:cubicBezTo>
                  <a:pt x="5367308" y="5334042"/>
                  <a:pt x="5377077" y="5334042"/>
                  <a:pt x="5377077" y="5334042"/>
                </a:cubicBezTo>
                <a:cubicBezTo>
                  <a:pt x="5377077" y="5334042"/>
                  <a:pt x="5377077" y="5343812"/>
                  <a:pt x="5386846" y="5353581"/>
                </a:cubicBezTo>
                <a:cubicBezTo>
                  <a:pt x="5386846" y="5353581"/>
                  <a:pt x="5386846" y="5363350"/>
                  <a:pt x="5386846" y="5363350"/>
                </a:cubicBezTo>
                <a:cubicBezTo>
                  <a:pt x="5396614" y="5363350"/>
                  <a:pt x="5396614" y="5373119"/>
                  <a:pt x="5396614" y="5373119"/>
                </a:cubicBezTo>
                <a:cubicBezTo>
                  <a:pt x="5386846" y="5373119"/>
                  <a:pt x="5396614" y="5382889"/>
                  <a:pt x="5396614" y="5382889"/>
                </a:cubicBezTo>
                <a:cubicBezTo>
                  <a:pt x="5396614" y="5382889"/>
                  <a:pt x="5396614" y="5392658"/>
                  <a:pt x="5396614" y="5392658"/>
                </a:cubicBezTo>
                <a:cubicBezTo>
                  <a:pt x="5396614" y="5392658"/>
                  <a:pt x="5406383" y="5392658"/>
                  <a:pt x="5406383" y="5402427"/>
                </a:cubicBezTo>
                <a:cubicBezTo>
                  <a:pt x="5406383" y="5402427"/>
                  <a:pt x="5406383" y="5402427"/>
                  <a:pt x="5406383" y="5412197"/>
                </a:cubicBezTo>
                <a:cubicBezTo>
                  <a:pt x="5406383" y="5412197"/>
                  <a:pt x="5406383" y="5421966"/>
                  <a:pt x="5416151" y="5421966"/>
                </a:cubicBezTo>
                <a:cubicBezTo>
                  <a:pt x="5425920" y="5431735"/>
                  <a:pt x="5425920" y="5441505"/>
                  <a:pt x="5425920" y="5441505"/>
                </a:cubicBezTo>
                <a:cubicBezTo>
                  <a:pt x="5425920" y="5451274"/>
                  <a:pt x="5425920" y="5451274"/>
                  <a:pt x="5425920" y="5451274"/>
                </a:cubicBezTo>
                <a:cubicBezTo>
                  <a:pt x="5425920" y="5461043"/>
                  <a:pt x="5435689" y="5461043"/>
                  <a:pt x="5435689" y="5461043"/>
                </a:cubicBezTo>
                <a:cubicBezTo>
                  <a:pt x="5435689" y="5470813"/>
                  <a:pt x="5445457" y="5480582"/>
                  <a:pt x="5445457" y="5490351"/>
                </a:cubicBezTo>
                <a:cubicBezTo>
                  <a:pt x="5455226" y="5490351"/>
                  <a:pt x="5464995" y="5509890"/>
                  <a:pt x="5464995" y="5519659"/>
                </a:cubicBezTo>
                <a:cubicBezTo>
                  <a:pt x="5464995" y="5519659"/>
                  <a:pt x="5464995" y="5529428"/>
                  <a:pt x="5474763" y="5529428"/>
                </a:cubicBezTo>
                <a:cubicBezTo>
                  <a:pt x="5474763" y="5539198"/>
                  <a:pt x="5474763" y="5548967"/>
                  <a:pt x="5474763" y="5548967"/>
                </a:cubicBezTo>
                <a:cubicBezTo>
                  <a:pt x="5484532" y="5548967"/>
                  <a:pt x="5484532" y="5558736"/>
                  <a:pt x="5494300" y="5578275"/>
                </a:cubicBezTo>
                <a:cubicBezTo>
                  <a:pt x="5494300" y="5588044"/>
                  <a:pt x="5504069" y="5597814"/>
                  <a:pt x="5504069" y="5597814"/>
                </a:cubicBezTo>
                <a:cubicBezTo>
                  <a:pt x="5504069" y="5597814"/>
                  <a:pt x="5504069" y="5607583"/>
                  <a:pt x="5504069" y="5607583"/>
                </a:cubicBezTo>
                <a:cubicBezTo>
                  <a:pt x="5504069" y="5617352"/>
                  <a:pt x="5513838" y="5617352"/>
                  <a:pt x="5513838" y="5627121"/>
                </a:cubicBezTo>
                <a:cubicBezTo>
                  <a:pt x="5523606" y="5627121"/>
                  <a:pt x="5523606" y="5636891"/>
                  <a:pt x="5523606" y="5636891"/>
                </a:cubicBezTo>
                <a:cubicBezTo>
                  <a:pt x="5523606" y="5646660"/>
                  <a:pt x="5523606" y="5656429"/>
                  <a:pt x="5533375" y="5656429"/>
                </a:cubicBezTo>
                <a:cubicBezTo>
                  <a:pt x="5533375" y="5656429"/>
                  <a:pt x="5533375" y="5666199"/>
                  <a:pt x="5533375" y="5666199"/>
                </a:cubicBezTo>
                <a:cubicBezTo>
                  <a:pt x="5533375" y="5666199"/>
                  <a:pt x="5543143" y="5675968"/>
                  <a:pt x="5543143" y="5675968"/>
                </a:cubicBezTo>
                <a:cubicBezTo>
                  <a:pt x="5543143" y="5685737"/>
                  <a:pt x="5552912" y="5685737"/>
                  <a:pt x="5552912" y="5685737"/>
                </a:cubicBezTo>
                <a:cubicBezTo>
                  <a:pt x="5543143" y="5695507"/>
                  <a:pt x="5562681" y="5715045"/>
                  <a:pt x="5562681" y="5724815"/>
                </a:cubicBezTo>
                <a:cubicBezTo>
                  <a:pt x="5572449" y="5724815"/>
                  <a:pt x="5572449" y="5734584"/>
                  <a:pt x="5572449" y="5734584"/>
                </a:cubicBezTo>
                <a:cubicBezTo>
                  <a:pt x="5572449" y="5744353"/>
                  <a:pt x="5572449" y="5744353"/>
                  <a:pt x="5572449" y="5744353"/>
                </a:cubicBezTo>
                <a:cubicBezTo>
                  <a:pt x="5582218" y="5754122"/>
                  <a:pt x="5582218" y="5754122"/>
                  <a:pt x="5582218" y="5754122"/>
                </a:cubicBezTo>
                <a:cubicBezTo>
                  <a:pt x="5582218" y="5763892"/>
                  <a:pt x="5582218" y="5763892"/>
                  <a:pt x="5582218" y="5763892"/>
                </a:cubicBezTo>
                <a:cubicBezTo>
                  <a:pt x="5582218" y="5773661"/>
                  <a:pt x="5582218" y="5773661"/>
                  <a:pt x="5582218" y="5773661"/>
                </a:cubicBezTo>
                <a:cubicBezTo>
                  <a:pt x="5572449" y="5773661"/>
                  <a:pt x="5562681" y="5754122"/>
                  <a:pt x="5562681" y="5744353"/>
                </a:cubicBezTo>
                <a:cubicBezTo>
                  <a:pt x="5562681" y="5744353"/>
                  <a:pt x="5562681" y="5734584"/>
                  <a:pt x="5552912" y="5734584"/>
                </a:cubicBezTo>
                <a:cubicBezTo>
                  <a:pt x="5552912" y="5724815"/>
                  <a:pt x="5533375" y="5705276"/>
                  <a:pt x="5533375" y="5695507"/>
                </a:cubicBezTo>
                <a:cubicBezTo>
                  <a:pt x="5533375" y="5685737"/>
                  <a:pt x="5533375" y="5685737"/>
                  <a:pt x="5533375" y="5685737"/>
                </a:cubicBezTo>
                <a:cubicBezTo>
                  <a:pt x="5533375" y="5675968"/>
                  <a:pt x="5523606" y="5675968"/>
                  <a:pt x="5523606" y="5666199"/>
                </a:cubicBezTo>
                <a:cubicBezTo>
                  <a:pt x="5523606" y="5656429"/>
                  <a:pt x="5513838" y="5646660"/>
                  <a:pt x="5513838" y="5646660"/>
                </a:cubicBezTo>
                <a:cubicBezTo>
                  <a:pt x="5504069" y="5636891"/>
                  <a:pt x="5504069" y="5627121"/>
                  <a:pt x="5504069" y="5627121"/>
                </a:cubicBezTo>
                <a:cubicBezTo>
                  <a:pt x="5494300" y="5617352"/>
                  <a:pt x="5494300" y="5607583"/>
                  <a:pt x="5494300" y="5607583"/>
                </a:cubicBezTo>
                <a:cubicBezTo>
                  <a:pt x="5494300" y="5607583"/>
                  <a:pt x="5484532" y="5597814"/>
                  <a:pt x="5484532" y="5588044"/>
                </a:cubicBezTo>
                <a:cubicBezTo>
                  <a:pt x="5484532" y="5578275"/>
                  <a:pt x="5474763" y="5568506"/>
                  <a:pt x="5474763" y="5568506"/>
                </a:cubicBezTo>
                <a:cubicBezTo>
                  <a:pt x="5474763" y="5568506"/>
                  <a:pt x="5464995" y="5558736"/>
                  <a:pt x="5464995" y="5548967"/>
                </a:cubicBezTo>
                <a:cubicBezTo>
                  <a:pt x="5464995" y="5539198"/>
                  <a:pt x="5455226" y="5539198"/>
                  <a:pt x="5455226" y="5539198"/>
                </a:cubicBezTo>
                <a:cubicBezTo>
                  <a:pt x="5455226" y="5539198"/>
                  <a:pt x="5455226" y="5529428"/>
                  <a:pt x="5455226" y="5519659"/>
                </a:cubicBezTo>
                <a:cubicBezTo>
                  <a:pt x="5445457" y="5509890"/>
                  <a:pt x="5445457" y="5509890"/>
                  <a:pt x="5445457" y="5509890"/>
                </a:cubicBezTo>
                <a:cubicBezTo>
                  <a:pt x="5445457" y="5509890"/>
                  <a:pt x="5435689" y="5500120"/>
                  <a:pt x="5435689" y="5490351"/>
                </a:cubicBezTo>
                <a:cubicBezTo>
                  <a:pt x="5435689" y="5490351"/>
                  <a:pt x="5425920" y="5480582"/>
                  <a:pt x="5425920" y="5470813"/>
                </a:cubicBezTo>
                <a:cubicBezTo>
                  <a:pt x="5425920" y="5470813"/>
                  <a:pt x="5425920" y="5461043"/>
                  <a:pt x="5416151" y="5451274"/>
                </a:cubicBezTo>
                <a:cubicBezTo>
                  <a:pt x="5416151" y="5451274"/>
                  <a:pt x="5416151" y="5441505"/>
                  <a:pt x="5406383" y="5441505"/>
                </a:cubicBezTo>
                <a:cubicBezTo>
                  <a:pt x="5406383" y="5441505"/>
                  <a:pt x="5406383" y="5431735"/>
                  <a:pt x="5406383" y="5431735"/>
                </a:cubicBezTo>
                <a:cubicBezTo>
                  <a:pt x="5406383" y="5431735"/>
                  <a:pt x="5406383" y="5421966"/>
                  <a:pt x="5406383" y="5421966"/>
                </a:cubicBezTo>
                <a:cubicBezTo>
                  <a:pt x="5396614" y="5421966"/>
                  <a:pt x="5396614" y="5421966"/>
                  <a:pt x="5396614" y="5412197"/>
                </a:cubicBezTo>
                <a:cubicBezTo>
                  <a:pt x="5396614" y="5412197"/>
                  <a:pt x="5386846" y="5402427"/>
                  <a:pt x="5386846" y="5392658"/>
                </a:cubicBezTo>
                <a:cubicBezTo>
                  <a:pt x="5377077" y="5392658"/>
                  <a:pt x="5377077" y="5373119"/>
                  <a:pt x="5377077" y="5373119"/>
                </a:cubicBezTo>
                <a:cubicBezTo>
                  <a:pt x="5377077" y="5373119"/>
                  <a:pt x="5367308" y="5363350"/>
                  <a:pt x="5367308" y="5353581"/>
                </a:cubicBezTo>
                <a:cubicBezTo>
                  <a:pt x="5357540" y="5343812"/>
                  <a:pt x="5357540" y="5334042"/>
                  <a:pt x="5347771" y="5324273"/>
                </a:cubicBezTo>
                <a:cubicBezTo>
                  <a:pt x="5347771" y="5314504"/>
                  <a:pt x="5347771" y="5314504"/>
                  <a:pt x="5338003" y="5314504"/>
                </a:cubicBezTo>
                <a:cubicBezTo>
                  <a:pt x="5338003" y="5314504"/>
                  <a:pt x="5328234" y="5294965"/>
                  <a:pt x="5328234" y="5275426"/>
                </a:cubicBezTo>
                <a:cubicBezTo>
                  <a:pt x="5318465" y="5265657"/>
                  <a:pt x="5308697" y="5246118"/>
                  <a:pt x="5298928" y="5236349"/>
                </a:cubicBezTo>
                <a:cubicBezTo>
                  <a:pt x="5298928" y="5236349"/>
                  <a:pt x="5289160" y="5216811"/>
                  <a:pt x="5279391" y="5207041"/>
                </a:cubicBezTo>
                <a:cubicBezTo>
                  <a:pt x="5279391" y="5187503"/>
                  <a:pt x="5269622" y="5167964"/>
                  <a:pt x="5259854" y="5158195"/>
                </a:cubicBezTo>
                <a:cubicBezTo>
                  <a:pt x="5250085" y="5148425"/>
                  <a:pt x="5250085" y="5138656"/>
                  <a:pt x="5250085" y="5138656"/>
                </a:cubicBezTo>
                <a:cubicBezTo>
                  <a:pt x="5240316" y="5128887"/>
                  <a:pt x="5240316" y="5119117"/>
                  <a:pt x="5220779" y="5089810"/>
                </a:cubicBezTo>
                <a:cubicBezTo>
                  <a:pt x="5211011" y="5089810"/>
                  <a:pt x="5211011" y="5080040"/>
                  <a:pt x="5211011" y="5070271"/>
                </a:cubicBezTo>
                <a:cubicBezTo>
                  <a:pt x="5211011" y="5070271"/>
                  <a:pt x="5201242" y="5050732"/>
                  <a:pt x="5191473" y="5040963"/>
                </a:cubicBezTo>
                <a:cubicBezTo>
                  <a:pt x="5181705" y="5031194"/>
                  <a:pt x="5171936" y="5011655"/>
                  <a:pt x="5162168" y="5001886"/>
                </a:cubicBezTo>
                <a:cubicBezTo>
                  <a:pt x="5162168" y="4992116"/>
                  <a:pt x="5142630" y="4972578"/>
                  <a:pt x="5142630" y="4962809"/>
                </a:cubicBezTo>
                <a:cubicBezTo>
                  <a:pt x="5132862" y="4943270"/>
                  <a:pt x="5123093" y="4923731"/>
                  <a:pt x="5113325" y="4913962"/>
                </a:cubicBezTo>
                <a:cubicBezTo>
                  <a:pt x="5093787" y="4884654"/>
                  <a:pt x="5093787" y="4884654"/>
                  <a:pt x="5084019" y="4874885"/>
                </a:cubicBezTo>
                <a:cubicBezTo>
                  <a:pt x="5084019" y="4865115"/>
                  <a:pt x="5074250" y="4855346"/>
                  <a:pt x="5074250" y="4855346"/>
                </a:cubicBezTo>
                <a:cubicBezTo>
                  <a:pt x="5074250" y="4855346"/>
                  <a:pt x="5074250" y="4845577"/>
                  <a:pt x="5064481" y="4835808"/>
                </a:cubicBezTo>
                <a:cubicBezTo>
                  <a:pt x="5054713" y="4826038"/>
                  <a:pt x="5044944" y="4816269"/>
                  <a:pt x="5044944" y="4806500"/>
                </a:cubicBezTo>
                <a:cubicBezTo>
                  <a:pt x="5035176" y="4796730"/>
                  <a:pt x="5025407" y="4786961"/>
                  <a:pt x="5015638" y="4767422"/>
                </a:cubicBezTo>
                <a:cubicBezTo>
                  <a:pt x="5005870" y="4757653"/>
                  <a:pt x="5005870" y="4747884"/>
                  <a:pt x="5005870" y="4747884"/>
                </a:cubicBezTo>
                <a:cubicBezTo>
                  <a:pt x="5005870" y="4747884"/>
                  <a:pt x="4996101" y="4738114"/>
                  <a:pt x="4996101" y="4738114"/>
                </a:cubicBezTo>
                <a:cubicBezTo>
                  <a:pt x="4986333" y="4738114"/>
                  <a:pt x="4986333" y="4738114"/>
                  <a:pt x="4996101" y="4728345"/>
                </a:cubicBezTo>
                <a:cubicBezTo>
                  <a:pt x="4996101" y="4728345"/>
                  <a:pt x="4996101" y="4728345"/>
                  <a:pt x="4986333" y="4718576"/>
                </a:cubicBezTo>
                <a:cubicBezTo>
                  <a:pt x="4966795" y="4708807"/>
                  <a:pt x="4966795" y="4699037"/>
                  <a:pt x="4966795" y="4689268"/>
                </a:cubicBezTo>
                <a:cubicBezTo>
                  <a:pt x="4966795" y="4689268"/>
                  <a:pt x="4966795" y="4689268"/>
                  <a:pt x="4966795" y="4679499"/>
                </a:cubicBezTo>
                <a:cubicBezTo>
                  <a:pt x="4966795" y="4679499"/>
                  <a:pt x="4957027" y="4679499"/>
                  <a:pt x="4957027" y="4669729"/>
                </a:cubicBezTo>
                <a:cubicBezTo>
                  <a:pt x="4957027" y="4669729"/>
                  <a:pt x="4937490" y="4650191"/>
                  <a:pt x="4927721" y="4630652"/>
                </a:cubicBezTo>
                <a:cubicBezTo>
                  <a:pt x="4898415" y="4601344"/>
                  <a:pt x="4878878" y="4581806"/>
                  <a:pt x="4859341" y="4562267"/>
                </a:cubicBezTo>
                <a:cubicBezTo>
                  <a:pt x="4859341" y="4552498"/>
                  <a:pt x="4859341" y="4552498"/>
                  <a:pt x="4849572" y="4542728"/>
                </a:cubicBezTo>
                <a:lnTo>
                  <a:pt x="4843574" y="4529531"/>
                </a:lnTo>
                <a:lnTo>
                  <a:pt x="4849572" y="4532959"/>
                </a:lnTo>
                <a:cubicBezTo>
                  <a:pt x="4849572" y="4523190"/>
                  <a:pt x="4839803" y="4513420"/>
                  <a:pt x="4830035" y="4503651"/>
                </a:cubicBezTo>
                <a:cubicBezTo>
                  <a:pt x="4830035" y="4493882"/>
                  <a:pt x="4820266" y="4484112"/>
                  <a:pt x="4810498" y="4474343"/>
                </a:cubicBezTo>
                <a:cubicBezTo>
                  <a:pt x="4810498" y="4474343"/>
                  <a:pt x="4800729" y="4464574"/>
                  <a:pt x="4800729" y="4454805"/>
                </a:cubicBezTo>
                <a:cubicBezTo>
                  <a:pt x="4781192" y="4425497"/>
                  <a:pt x="4771423" y="4415727"/>
                  <a:pt x="4761655" y="4396189"/>
                </a:cubicBezTo>
                <a:cubicBezTo>
                  <a:pt x="4761655" y="4396189"/>
                  <a:pt x="4742117" y="4376650"/>
                  <a:pt x="4732349" y="4357111"/>
                </a:cubicBezTo>
                <a:cubicBezTo>
                  <a:pt x="4722580" y="4337573"/>
                  <a:pt x="4703043" y="4318034"/>
                  <a:pt x="4703043" y="4308265"/>
                </a:cubicBezTo>
                <a:cubicBezTo>
                  <a:pt x="4693274" y="4298496"/>
                  <a:pt x="4683506" y="4288726"/>
                  <a:pt x="4673737" y="4278957"/>
                </a:cubicBezTo>
                <a:cubicBezTo>
                  <a:pt x="4663968" y="4269188"/>
                  <a:pt x="4663968" y="4269188"/>
                  <a:pt x="4663968" y="4259418"/>
                </a:cubicBezTo>
                <a:cubicBezTo>
                  <a:pt x="4663968" y="4259418"/>
                  <a:pt x="4654200" y="4249649"/>
                  <a:pt x="4644431" y="4239880"/>
                </a:cubicBezTo>
                <a:cubicBezTo>
                  <a:pt x="4644431" y="4239880"/>
                  <a:pt x="4634663" y="4230110"/>
                  <a:pt x="4634663" y="4220341"/>
                </a:cubicBezTo>
                <a:cubicBezTo>
                  <a:pt x="4624894" y="4220341"/>
                  <a:pt x="4624894" y="4210572"/>
                  <a:pt x="4615125" y="4200803"/>
                </a:cubicBezTo>
                <a:cubicBezTo>
                  <a:pt x="4615125" y="4191033"/>
                  <a:pt x="4605357" y="4181264"/>
                  <a:pt x="4595588" y="4171495"/>
                </a:cubicBezTo>
                <a:cubicBezTo>
                  <a:pt x="4585820" y="4161725"/>
                  <a:pt x="4576051" y="4151956"/>
                  <a:pt x="4576051" y="4151956"/>
                </a:cubicBezTo>
                <a:cubicBezTo>
                  <a:pt x="4566282" y="4142187"/>
                  <a:pt x="4556514" y="4132417"/>
                  <a:pt x="4556514" y="4122648"/>
                </a:cubicBezTo>
                <a:cubicBezTo>
                  <a:pt x="4546745" y="4112879"/>
                  <a:pt x="4536976" y="4093340"/>
                  <a:pt x="4536976" y="4093340"/>
                </a:cubicBezTo>
                <a:cubicBezTo>
                  <a:pt x="4536976" y="4093340"/>
                  <a:pt x="4527208" y="4093340"/>
                  <a:pt x="4527208" y="4083571"/>
                </a:cubicBezTo>
                <a:cubicBezTo>
                  <a:pt x="4527208" y="4083571"/>
                  <a:pt x="4507671" y="4054263"/>
                  <a:pt x="4507671" y="4054263"/>
                </a:cubicBezTo>
                <a:cubicBezTo>
                  <a:pt x="4497902" y="4054263"/>
                  <a:pt x="4497902" y="4054263"/>
                  <a:pt x="4497902" y="4054263"/>
                </a:cubicBezTo>
                <a:cubicBezTo>
                  <a:pt x="4497902" y="4054263"/>
                  <a:pt x="4497902" y="4044494"/>
                  <a:pt x="4497902" y="4044494"/>
                </a:cubicBezTo>
                <a:cubicBezTo>
                  <a:pt x="4488133" y="4044494"/>
                  <a:pt x="4488133" y="4034724"/>
                  <a:pt x="4488133" y="4034724"/>
                </a:cubicBezTo>
                <a:cubicBezTo>
                  <a:pt x="4488133" y="4024955"/>
                  <a:pt x="4488133" y="4024955"/>
                  <a:pt x="4478365" y="4024955"/>
                </a:cubicBezTo>
                <a:cubicBezTo>
                  <a:pt x="4468596" y="4024955"/>
                  <a:pt x="4468596" y="4024955"/>
                  <a:pt x="4468596" y="4015186"/>
                </a:cubicBezTo>
                <a:cubicBezTo>
                  <a:pt x="4449059" y="3985878"/>
                  <a:pt x="4439290" y="3966339"/>
                  <a:pt x="4429522" y="3966339"/>
                </a:cubicBezTo>
                <a:cubicBezTo>
                  <a:pt x="4419753" y="3966339"/>
                  <a:pt x="4419753" y="3966339"/>
                  <a:pt x="4419753" y="3956570"/>
                </a:cubicBezTo>
                <a:cubicBezTo>
                  <a:pt x="4419753" y="3956570"/>
                  <a:pt x="4419753" y="3956570"/>
                  <a:pt x="4400216" y="3937031"/>
                </a:cubicBezTo>
                <a:cubicBezTo>
                  <a:pt x="4390447" y="3927262"/>
                  <a:pt x="4380679" y="3917493"/>
                  <a:pt x="4380679" y="3917493"/>
                </a:cubicBezTo>
                <a:cubicBezTo>
                  <a:pt x="4390447" y="3917493"/>
                  <a:pt x="4351373" y="3878415"/>
                  <a:pt x="4341604" y="3878415"/>
                </a:cubicBezTo>
                <a:cubicBezTo>
                  <a:pt x="4341604" y="3878415"/>
                  <a:pt x="4331836" y="3878415"/>
                  <a:pt x="4322067" y="3868646"/>
                </a:cubicBezTo>
                <a:cubicBezTo>
                  <a:pt x="4322067" y="3858877"/>
                  <a:pt x="4312298" y="3858877"/>
                  <a:pt x="4312298" y="3858877"/>
                </a:cubicBezTo>
                <a:cubicBezTo>
                  <a:pt x="4312298" y="3858877"/>
                  <a:pt x="4322067" y="3868646"/>
                  <a:pt x="4322067" y="3878415"/>
                </a:cubicBezTo>
                <a:cubicBezTo>
                  <a:pt x="4351373" y="3917493"/>
                  <a:pt x="4361141" y="3927262"/>
                  <a:pt x="4380679" y="3946800"/>
                </a:cubicBezTo>
                <a:cubicBezTo>
                  <a:pt x="4390447" y="3956570"/>
                  <a:pt x="4400216" y="3966339"/>
                  <a:pt x="4400216" y="3976108"/>
                </a:cubicBezTo>
                <a:cubicBezTo>
                  <a:pt x="4400216" y="3976108"/>
                  <a:pt x="4409985" y="3995647"/>
                  <a:pt x="4429522" y="4005416"/>
                </a:cubicBezTo>
                <a:cubicBezTo>
                  <a:pt x="4439290" y="4024955"/>
                  <a:pt x="4449059" y="4034724"/>
                  <a:pt x="4449059" y="4044494"/>
                </a:cubicBezTo>
                <a:cubicBezTo>
                  <a:pt x="4458828" y="4044494"/>
                  <a:pt x="4458828" y="4054263"/>
                  <a:pt x="4468596" y="4054263"/>
                </a:cubicBezTo>
                <a:cubicBezTo>
                  <a:pt x="4468596" y="4064032"/>
                  <a:pt x="4478365" y="4073801"/>
                  <a:pt x="4497902" y="4093340"/>
                </a:cubicBezTo>
                <a:cubicBezTo>
                  <a:pt x="4517439" y="4132417"/>
                  <a:pt x="4536976" y="4151956"/>
                  <a:pt x="4576051" y="4200803"/>
                </a:cubicBezTo>
                <a:cubicBezTo>
                  <a:pt x="4595588" y="4220341"/>
                  <a:pt x="4595588" y="4230110"/>
                  <a:pt x="4576051" y="4210572"/>
                </a:cubicBezTo>
                <a:cubicBezTo>
                  <a:pt x="4576051" y="4200803"/>
                  <a:pt x="4566282" y="4200803"/>
                  <a:pt x="4566282" y="4200803"/>
                </a:cubicBezTo>
                <a:cubicBezTo>
                  <a:pt x="4566282" y="4200803"/>
                  <a:pt x="4566282" y="4210572"/>
                  <a:pt x="4566282" y="4220341"/>
                </a:cubicBezTo>
                <a:cubicBezTo>
                  <a:pt x="4566282" y="4220341"/>
                  <a:pt x="4576051" y="4220341"/>
                  <a:pt x="4576051" y="4230110"/>
                </a:cubicBezTo>
                <a:cubicBezTo>
                  <a:pt x="4576051" y="4230110"/>
                  <a:pt x="4576051" y="4239880"/>
                  <a:pt x="4585820" y="4239880"/>
                </a:cubicBezTo>
                <a:cubicBezTo>
                  <a:pt x="4595588" y="4249649"/>
                  <a:pt x="4595588" y="4249649"/>
                  <a:pt x="4585820" y="4249649"/>
                </a:cubicBezTo>
                <a:cubicBezTo>
                  <a:pt x="4585820" y="4259418"/>
                  <a:pt x="4585820" y="4259418"/>
                  <a:pt x="4595588" y="4259418"/>
                </a:cubicBezTo>
                <a:cubicBezTo>
                  <a:pt x="4595588" y="4269188"/>
                  <a:pt x="4605357" y="4278957"/>
                  <a:pt x="4605357" y="4278957"/>
                </a:cubicBezTo>
                <a:cubicBezTo>
                  <a:pt x="4615125" y="4288726"/>
                  <a:pt x="4634663" y="4308265"/>
                  <a:pt x="4644431" y="4318034"/>
                </a:cubicBezTo>
                <a:cubicBezTo>
                  <a:pt x="4673737" y="4357111"/>
                  <a:pt x="4693274" y="4376650"/>
                  <a:pt x="4703043" y="4386419"/>
                </a:cubicBezTo>
                <a:cubicBezTo>
                  <a:pt x="4703043" y="4396189"/>
                  <a:pt x="4722580" y="4415727"/>
                  <a:pt x="4732349" y="4425497"/>
                </a:cubicBezTo>
                <a:cubicBezTo>
                  <a:pt x="4751886" y="4445035"/>
                  <a:pt x="4761655" y="4454805"/>
                  <a:pt x="4771423" y="4474343"/>
                </a:cubicBezTo>
                <a:cubicBezTo>
                  <a:pt x="4771423" y="4484112"/>
                  <a:pt x="4781192" y="4503651"/>
                  <a:pt x="4781192" y="4503651"/>
                </a:cubicBezTo>
                <a:cubicBezTo>
                  <a:pt x="4781192" y="4503651"/>
                  <a:pt x="4800729" y="4523190"/>
                  <a:pt x="4800729" y="4523190"/>
                </a:cubicBezTo>
                <a:cubicBezTo>
                  <a:pt x="4800729" y="4523190"/>
                  <a:pt x="4810498" y="4523190"/>
                  <a:pt x="4810498" y="4532959"/>
                </a:cubicBezTo>
                <a:cubicBezTo>
                  <a:pt x="4810498" y="4542728"/>
                  <a:pt x="4810498" y="4542728"/>
                  <a:pt x="4810498" y="4542728"/>
                </a:cubicBezTo>
                <a:cubicBezTo>
                  <a:pt x="4820266" y="4552498"/>
                  <a:pt x="4820266" y="4552498"/>
                  <a:pt x="4820266" y="4552498"/>
                </a:cubicBezTo>
                <a:cubicBezTo>
                  <a:pt x="4820266" y="4562267"/>
                  <a:pt x="4830035" y="4572036"/>
                  <a:pt x="4839803" y="4581806"/>
                </a:cubicBezTo>
                <a:cubicBezTo>
                  <a:pt x="4839803" y="4591575"/>
                  <a:pt x="4849572" y="4591575"/>
                  <a:pt x="4849572" y="4601344"/>
                </a:cubicBezTo>
                <a:cubicBezTo>
                  <a:pt x="4839803" y="4601344"/>
                  <a:pt x="4849572" y="4611113"/>
                  <a:pt x="4849572" y="4611113"/>
                </a:cubicBezTo>
                <a:cubicBezTo>
                  <a:pt x="4859341" y="4620883"/>
                  <a:pt x="4859341" y="4630652"/>
                  <a:pt x="4869109" y="4640421"/>
                </a:cubicBezTo>
                <a:cubicBezTo>
                  <a:pt x="4869109" y="4650191"/>
                  <a:pt x="4878878" y="4659960"/>
                  <a:pt x="4888646" y="4669729"/>
                </a:cubicBezTo>
                <a:cubicBezTo>
                  <a:pt x="4888646" y="4679499"/>
                  <a:pt x="4898415" y="4689268"/>
                  <a:pt x="4898415" y="4689268"/>
                </a:cubicBezTo>
                <a:cubicBezTo>
                  <a:pt x="4908184" y="4699037"/>
                  <a:pt x="4917952" y="4708807"/>
                  <a:pt x="4927721" y="4718576"/>
                </a:cubicBezTo>
                <a:cubicBezTo>
                  <a:pt x="4927721" y="4728345"/>
                  <a:pt x="4937490" y="4747884"/>
                  <a:pt x="4947258" y="4747884"/>
                </a:cubicBezTo>
                <a:cubicBezTo>
                  <a:pt x="4947258" y="4757653"/>
                  <a:pt x="4957027" y="4767422"/>
                  <a:pt x="4966795" y="4777192"/>
                </a:cubicBezTo>
                <a:cubicBezTo>
                  <a:pt x="4966795" y="4786961"/>
                  <a:pt x="4976564" y="4796730"/>
                  <a:pt x="4976564" y="4796730"/>
                </a:cubicBezTo>
                <a:cubicBezTo>
                  <a:pt x="4976564" y="4806500"/>
                  <a:pt x="4976564" y="4806500"/>
                  <a:pt x="4986333" y="4806500"/>
                </a:cubicBezTo>
                <a:cubicBezTo>
                  <a:pt x="4986333" y="4806500"/>
                  <a:pt x="4986333" y="4806500"/>
                  <a:pt x="4986333" y="4816269"/>
                </a:cubicBezTo>
                <a:cubicBezTo>
                  <a:pt x="4986333" y="4826038"/>
                  <a:pt x="4986333" y="4826038"/>
                  <a:pt x="4976564" y="4816269"/>
                </a:cubicBezTo>
                <a:cubicBezTo>
                  <a:pt x="4976564" y="4806500"/>
                  <a:pt x="4966795" y="4796730"/>
                  <a:pt x="4957027" y="4786961"/>
                </a:cubicBezTo>
                <a:cubicBezTo>
                  <a:pt x="4917952" y="4738114"/>
                  <a:pt x="4908184" y="4728345"/>
                  <a:pt x="4908184" y="4728345"/>
                </a:cubicBezTo>
                <a:cubicBezTo>
                  <a:pt x="4908184" y="4738114"/>
                  <a:pt x="4908184" y="4738114"/>
                  <a:pt x="4917952" y="4757653"/>
                </a:cubicBezTo>
                <a:cubicBezTo>
                  <a:pt x="4927721" y="4767422"/>
                  <a:pt x="4937490" y="4777192"/>
                  <a:pt x="4937490" y="4777192"/>
                </a:cubicBezTo>
                <a:cubicBezTo>
                  <a:pt x="4937490" y="4786961"/>
                  <a:pt x="4947258" y="4796730"/>
                  <a:pt x="4947258" y="4806500"/>
                </a:cubicBezTo>
                <a:cubicBezTo>
                  <a:pt x="4957027" y="4816269"/>
                  <a:pt x="4976564" y="4835808"/>
                  <a:pt x="4986333" y="4855346"/>
                </a:cubicBezTo>
                <a:cubicBezTo>
                  <a:pt x="4986333" y="4855346"/>
                  <a:pt x="4996101" y="4874885"/>
                  <a:pt x="5005870" y="4884654"/>
                </a:cubicBezTo>
                <a:cubicBezTo>
                  <a:pt x="5015638" y="4894423"/>
                  <a:pt x="5025407" y="4904193"/>
                  <a:pt x="5035176" y="4913962"/>
                </a:cubicBezTo>
                <a:cubicBezTo>
                  <a:pt x="5035176" y="4923731"/>
                  <a:pt x="5035176" y="4923731"/>
                  <a:pt x="5044944" y="4933501"/>
                </a:cubicBezTo>
                <a:cubicBezTo>
                  <a:pt x="5044944" y="4933501"/>
                  <a:pt x="5044944" y="4943270"/>
                  <a:pt x="5044944" y="4943270"/>
                </a:cubicBezTo>
                <a:cubicBezTo>
                  <a:pt x="5044944" y="4953039"/>
                  <a:pt x="5044944" y="4953039"/>
                  <a:pt x="5044944" y="4953039"/>
                </a:cubicBezTo>
                <a:cubicBezTo>
                  <a:pt x="5044944" y="4953039"/>
                  <a:pt x="5025407" y="4923731"/>
                  <a:pt x="5015638" y="4904193"/>
                </a:cubicBezTo>
                <a:cubicBezTo>
                  <a:pt x="5015638" y="4904193"/>
                  <a:pt x="5005870" y="4904193"/>
                  <a:pt x="5005870" y="4904193"/>
                </a:cubicBezTo>
                <a:cubicBezTo>
                  <a:pt x="5005870" y="4904193"/>
                  <a:pt x="5015638" y="4933501"/>
                  <a:pt x="5025407" y="4933501"/>
                </a:cubicBezTo>
                <a:cubicBezTo>
                  <a:pt x="5025407" y="4943270"/>
                  <a:pt x="5025407" y="4943270"/>
                  <a:pt x="5025407" y="4943270"/>
                </a:cubicBezTo>
                <a:cubicBezTo>
                  <a:pt x="5025407" y="4943270"/>
                  <a:pt x="5025407" y="4953039"/>
                  <a:pt x="5035176" y="4953039"/>
                </a:cubicBezTo>
                <a:cubicBezTo>
                  <a:pt x="5044944" y="4962809"/>
                  <a:pt x="5044944" y="4972578"/>
                  <a:pt x="5044944" y="4972578"/>
                </a:cubicBezTo>
                <a:cubicBezTo>
                  <a:pt x="5044944" y="4982347"/>
                  <a:pt x="5054713" y="4992116"/>
                  <a:pt x="5064481" y="5001886"/>
                </a:cubicBezTo>
                <a:cubicBezTo>
                  <a:pt x="5064481" y="5001886"/>
                  <a:pt x="5074250" y="5011655"/>
                  <a:pt x="5074250" y="5021424"/>
                </a:cubicBezTo>
                <a:cubicBezTo>
                  <a:pt x="5084019" y="5031194"/>
                  <a:pt x="5093787" y="5050732"/>
                  <a:pt x="5084019" y="5050732"/>
                </a:cubicBezTo>
                <a:cubicBezTo>
                  <a:pt x="5084019" y="5050732"/>
                  <a:pt x="5084019" y="5060502"/>
                  <a:pt x="5093787" y="5070271"/>
                </a:cubicBezTo>
                <a:cubicBezTo>
                  <a:pt x="5093787" y="5070271"/>
                  <a:pt x="5093787" y="5080040"/>
                  <a:pt x="5093787" y="5080040"/>
                </a:cubicBezTo>
                <a:cubicBezTo>
                  <a:pt x="5093787" y="5080040"/>
                  <a:pt x="5093787" y="5080040"/>
                  <a:pt x="5103556" y="5080040"/>
                </a:cubicBezTo>
                <a:cubicBezTo>
                  <a:pt x="5103556" y="5089810"/>
                  <a:pt x="5123093" y="5109348"/>
                  <a:pt x="5123093" y="5119117"/>
                </a:cubicBezTo>
                <a:cubicBezTo>
                  <a:pt x="5123093" y="5128887"/>
                  <a:pt x="5132862" y="5128887"/>
                  <a:pt x="5132862" y="5138656"/>
                </a:cubicBezTo>
                <a:cubicBezTo>
                  <a:pt x="5142630" y="5148425"/>
                  <a:pt x="5142630" y="5148425"/>
                  <a:pt x="5142630" y="5138656"/>
                </a:cubicBezTo>
                <a:cubicBezTo>
                  <a:pt x="5142630" y="5138656"/>
                  <a:pt x="5142630" y="5138656"/>
                  <a:pt x="5152399" y="5138656"/>
                </a:cubicBezTo>
                <a:cubicBezTo>
                  <a:pt x="5152399" y="5148425"/>
                  <a:pt x="5162168" y="5158195"/>
                  <a:pt x="5162168" y="5167964"/>
                </a:cubicBezTo>
                <a:cubicBezTo>
                  <a:pt x="5167052" y="5167964"/>
                  <a:pt x="5169494" y="5170406"/>
                  <a:pt x="5170715" y="5174070"/>
                </a:cubicBezTo>
                <a:lnTo>
                  <a:pt x="5171936" y="5187503"/>
                </a:lnTo>
                <a:lnTo>
                  <a:pt x="5162168" y="5177733"/>
                </a:lnTo>
                <a:cubicBezTo>
                  <a:pt x="5162168" y="5167964"/>
                  <a:pt x="5152399" y="5148425"/>
                  <a:pt x="5142630" y="5158195"/>
                </a:cubicBezTo>
                <a:cubicBezTo>
                  <a:pt x="5142630" y="5158195"/>
                  <a:pt x="5142630" y="5167964"/>
                  <a:pt x="5162168" y="5187503"/>
                </a:cubicBezTo>
                <a:cubicBezTo>
                  <a:pt x="5171936" y="5207041"/>
                  <a:pt x="5181705" y="5236349"/>
                  <a:pt x="5181705" y="5236349"/>
                </a:cubicBezTo>
                <a:cubicBezTo>
                  <a:pt x="5181705" y="5236349"/>
                  <a:pt x="5191473" y="5246118"/>
                  <a:pt x="5191473" y="5246118"/>
                </a:cubicBezTo>
                <a:cubicBezTo>
                  <a:pt x="5201242" y="5255888"/>
                  <a:pt x="5201242" y="5265657"/>
                  <a:pt x="5211011" y="5275426"/>
                </a:cubicBezTo>
                <a:cubicBezTo>
                  <a:pt x="5220779" y="5285196"/>
                  <a:pt x="5220779" y="5294965"/>
                  <a:pt x="5220779" y="5294965"/>
                </a:cubicBezTo>
                <a:cubicBezTo>
                  <a:pt x="5230548" y="5294965"/>
                  <a:pt x="5230548" y="5304734"/>
                  <a:pt x="5230548" y="5304734"/>
                </a:cubicBezTo>
                <a:cubicBezTo>
                  <a:pt x="5230548" y="5314504"/>
                  <a:pt x="5230548" y="5314504"/>
                  <a:pt x="5230548" y="5314504"/>
                </a:cubicBezTo>
                <a:cubicBezTo>
                  <a:pt x="5240316" y="5314504"/>
                  <a:pt x="5240316" y="5314504"/>
                  <a:pt x="5240316" y="5324273"/>
                </a:cubicBezTo>
                <a:cubicBezTo>
                  <a:pt x="5240316" y="5324273"/>
                  <a:pt x="5240316" y="5334042"/>
                  <a:pt x="5250085" y="5334042"/>
                </a:cubicBezTo>
                <a:cubicBezTo>
                  <a:pt x="5250085" y="5343812"/>
                  <a:pt x="5259854" y="5363350"/>
                  <a:pt x="5269622" y="5373119"/>
                </a:cubicBezTo>
                <a:cubicBezTo>
                  <a:pt x="5279391" y="5392658"/>
                  <a:pt x="5289160" y="5412197"/>
                  <a:pt x="5279391" y="5412197"/>
                </a:cubicBezTo>
                <a:cubicBezTo>
                  <a:pt x="5279391" y="5412197"/>
                  <a:pt x="5289160" y="5431735"/>
                  <a:pt x="5289160" y="5441505"/>
                </a:cubicBezTo>
                <a:cubicBezTo>
                  <a:pt x="5298928" y="5441505"/>
                  <a:pt x="5298928" y="5451274"/>
                  <a:pt x="5298928" y="5451274"/>
                </a:cubicBezTo>
                <a:cubicBezTo>
                  <a:pt x="5298928" y="5461043"/>
                  <a:pt x="5308697" y="5470813"/>
                  <a:pt x="5308697" y="5470813"/>
                </a:cubicBezTo>
                <a:cubicBezTo>
                  <a:pt x="5308697" y="5480582"/>
                  <a:pt x="5318465" y="5480582"/>
                  <a:pt x="5318465" y="5490351"/>
                </a:cubicBezTo>
                <a:cubicBezTo>
                  <a:pt x="5328234" y="5490351"/>
                  <a:pt x="5328234" y="5500120"/>
                  <a:pt x="5328234" y="5500120"/>
                </a:cubicBezTo>
                <a:cubicBezTo>
                  <a:pt x="5328234" y="5500120"/>
                  <a:pt x="5328234" y="5500120"/>
                  <a:pt x="5338003" y="5509890"/>
                </a:cubicBezTo>
                <a:cubicBezTo>
                  <a:pt x="5338003" y="5509890"/>
                  <a:pt x="5338003" y="5509890"/>
                  <a:pt x="5338003" y="5519659"/>
                </a:cubicBezTo>
                <a:cubicBezTo>
                  <a:pt x="5338003" y="5519659"/>
                  <a:pt x="5377077" y="5578275"/>
                  <a:pt x="5377077" y="5578275"/>
                </a:cubicBezTo>
                <a:cubicBezTo>
                  <a:pt x="5377077" y="5578275"/>
                  <a:pt x="5386846" y="5588044"/>
                  <a:pt x="5386846" y="5597814"/>
                </a:cubicBezTo>
                <a:cubicBezTo>
                  <a:pt x="5396614" y="5607583"/>
                  <a:pt x="5396614" y="5617352"/>
                  <a:pt x="5406383" y="5627121"/>
                </a:cubicBezTo>
                <a:cubicBezTo>
                  <a:pt x="5416151" y="5636891"/>
                  <a:pt x="5425920" y="5646660"/>
                  <a:pt x="5435689" y="5666199"/>
                </a:cubicBezTo>
                <a:cubicBezTo>
                  <a:pt x="5445457" y="5695507"/>
                  <a:pt x="5455226" y="5715045"/>
                  <a:pt x="5464995" y="5724815"/>
                </a:cubicBezTo>
                <a:cubicBezTo>
                  <a:pt x="5464995" y="5724815"/>
                  <a:pt x="5474763" y="5734584"/>
                  <a:pt x="5474763" y="5734584"/>
                </a:cubicBezTo>
                <a:cubicBezTo>
                  <a:pt x="5474763" y="5744353"/>
                  <a:pt x="5474763" y="5744353"/>
                  <a:pt x="5474763" y="5754122"/>
                </a:cubicBezTo>
                <a:cubicBezTo>
                  <a:pt x="5474763" y="5754122"/>
                  <a:pt x="5484532" y="5763892"/>
                  <a:pt x="5494300" y="5773661"/>
                </a:cubicBezTo>
                <a:cubicBezTo>
                  <a:pt x="5494300" y="5793200"/>
                  <a:pt x="5504069" y="5802969"/>
                  <a:pt x="5504069" y="5802969"/>
                </a:cubicBezTo>
                <a:cubicBezTo>
                  <a:pt x="5504069" y="5802969"/>
                  <a:pt x="5513838" y="5812738"/>
                  <a:pt x="5513838" y="5822508"/>
                </a:cubicBezTo>
                <a:cubicBezTo>
                  <a:pt x="5513838" y="5832277"/>
                  <a:pt x="5523606" y="5832277"/>
                  <a:pt x="5523606" y="5842046"/>
                </a:cubicBezTo>
                <a:cubicBezTo>
                  <a:pt x="5523606" y="5842046"/>
                  <a:pt x="5533375" y="5851816"/>
                  <a:pt x="5533375" y="5861585"/>
                </a:cubicBezTo>
                <a:cubicBezTo>
                  <a:pt x="5543143" y="5881123"/>
                  <a:pt x="5552912" y="5890893"/>
                  <a:pt x="5552912" y="5900662"/>
                </a:cubicBezTo>
                <a:cubicBezTo>
                  <a:pt x="5562681" y="5900662"/>
                  <a:pt x="5572449" y="5939739"/>
                  <a:pt x="5572449" y="5939739"/>
                </a:cubicBezTo>
                <a:cubicBezTo>
                  <a:pt x="5582218" y="5939739"/>
                  <a:pt x="5591986" y="5949509"/>
                  <a:pt x="5582218" y="5949509"/>
                </a:cubicBezTo>
                <a:cubicBezTo>
                  <a:pt x="5582218" y="5949509"/>
                  <a:pt x="5591986" y="5959278"/>
                  <a:pt x="5591986" y="5978817"/>
                </a:cubicBezTo>
                <a:cubicBezTo>
                  <a:pt x="5591986" y="5978817"/>
                  <a:pt x="5601755" y="5988586"/>
                  <a:pt x="5601755" y="5998355"/>
                </a:cubicBezTo>
                <a:cubicBezTo>
                  <a:pt x="5601755" y="6008124"/>
                  <a:pt x="5611524" y="6017894"/>
                  <a:pt x="5611524" y="6017894"/>
                </a:cubicBezTo>
                <a:cubicBezTo>
                  <a:pt x="5621292" y="6027663"/>
                  <a:pt x="5621292" y="6037432"/>
                  <a:pt x="5621292" y="6037432"/>
                </a:cubicBezTo>
                <a:cubicBezTo>
                  <a:pt x="5631061" y="6047202"/>
                  <a:pt x="5631061" y="6056971"/>
                  <a:pt x="5640830" y="6076510"/>
                </a:cubicBezTo>
                <a:cubicBezTo>
                  <a:pt x="5650598" y="6086279"/>
                  <a:pt x="5660367" y="6105818"/>
                  <a:pt x="5660367" y="6105818"/>
                </a:cubicBezTo>
                <a:cubicBezTo>
                  <a:pt x="5660367" y="6115587"/>
                  <a:pt x="5679904" y="6154664"/>
                  <a:pt x="5689673" y="6164433"/>
                </a:cubicBezTo>
                <a:cubicBezTo>
                  <a:pt x="5689673" y="6164433"/>
                  <a:pt x="5689673" y="6174203"/>
                  <a:pt x="5689673" y="6174203"/>
                </a:cubicBezTo>
                <a:cubicBezTo>
                  <a:pt x="5689673" y="6174203"/>
                  <a:pt x="5699441" y="6193741"/>
                  <a:pt x="5709210" y="6203511"/>
                </a:cubicBezTo>
                <a:cubicBezTo>
                  <a:pt x="5709210" y="6213280"/>
                  <a:pt x="5728747" y="6242588"/>
                  <a:pt x="5728747" y="6252357"/>
                </a:cubicBezTo>
                <a:cubicBezTo>
                  <a:pt x="5728747" y="6252357"/>
                  <a:pt x="5738516" y="6262126"/>
                  <a:pt x="5738516" y="6271896"/>
                </a:cubicBezTo>
                <a:cubicBezTo>
                  <a:pt x="5738516" y="6271896"/>
                  <a:pt x="5738516" y="6281665"/>
                  <a:pt x="5738516" y="6281665"/>
                </a:cubicBezTo>
                <a:cubicBezTo>
                  <a:pt x="5738516" y="6281665"/>
                  <a:pt x="5748284" y="6291434"/>
                  <a:pt x="5748284" y="6301204"/>
                </a:cubicBezTo>
                <a:cubicBezTo>
                  <a:pt x="5758053" y="6301204"/>
                  <a:pt x="5758053" y="6310973"/>
                  <a:pt x="5758053" y="6310973"/>
                </a:cubicBezTo>
                <a:cubicBezTo>
                  <a:pt x="5758053" y="6310973"/>
                  <a:pt x="5758053" y="6320742"/>
                  <a:pt x="5758053" y="6320742"/>
                </a:cubicBezTo>
                <a:cubicBezTo>
                  <a:pt x="5758053" y="6320742"/>
                  <a:pt x="5767822" y="6320742"/>
                  <a:pt x="5758053" y="6330512"/>
                </a:cubicBezTo>
                <a:cubicBezTo>
                  <a:pt x="5758053" y="6330512"/>
                  <a:pt x="5767822" y="6330512"/>
                  <a:pt x="5767822" y="6340281"/>
                </a:cubicBezTo>
                <a:cubicBezTo>
                  <a:pt x="5777590" y="6350050"/>
                  <a:pt x="5787359" y="6359820"/>
                  <a:pt x="5787359" y="6359820"/>
                </a:cubicBezTo>
                <a:cubicBezTo>
                  <a:pt x="5787359" y="6369589"/>
                  <a:pt x="5797127" y="6389127"/>
                  <a:pt x="5806896" y="6398897"/>
                </a:cubicBezTo>
                <a:cubicBezTo>
                  <a:pt x="5816665" y="6418435"/>
                  <a:pt x="5816665" y="6437974"/>
                  <a:pt x="5816665" y="6437974"/>
                </a:cubicBezTo>
                <a:cubicBezTo>
                  <a:pt x="5826433" y="6437974"/>
                  <a:pt x="5826433" y="6447743"/>
                  <a:pt x="5826433" y="6447743"/>
                </a:cubicBezTo>
                <a:cubicBezTo>
                  <a:pt x="5836202" y="6477051"/>
                  <a:pt x="5855739" y="6496590"/>
                  <a:pt x="5855739" y="6496590"/>
                </a:cubicBezTo>
                <a:cubicBezTo>
                  <a:pt x="5855739" y="6506359"/>
                  <a:pt x="5845970" y="6496590"/>
                  <a:pt x="5836202" y="6477051"/>
                </a:cubicBezTo>
                <a:cubicBezTo>
                  <a:pt x="5826433" y="6467282"/>
                  <a:pt x="5826433" y="6457513"/>
                  <a:pt x="5816665" y="6457513"/>
                </a:cubicBezTo>
                <a:cubicBezTo>
                  <a:pt x="5816665" y="6457513"/>
                  <a:pt x="5816665" y="6457513"/>
                  <a:pt x="5806896" y="6457513"/>
                </a:cubicBezTo>
                <a:cubicBezTo>
                  <a:pt x="5806896" y="6457513"/>
                  <a:pt x="5816665" y="6486821"/>
                  <a:pt x="5816665" y="6486821"/>
                </a:cubicBezTo>
                <a:cubicBezTo>
                  <a:pt x="5816665" y="6486821"/>
                  <a:pt x="5816665" y="6496590"/>
                  <a:pt x="5816665" y="6496590"/>
                </a:cubicBezTo>
                <a:cubicBezTo>
                  <a:pt x="5816665" y="6496590"/>
                  <a:pt x="5826433" y="6506359"/>
                  <a:pt x="5826433" y="6506359"/>
                </a:cubicBezTo>
                <a:cubicBezTo>
                  <a:pt x="5826433" y="6516128"/>
                  <a:pt x="5836202" y="6525898"/>
                  <a:pt x="5836202" y="6525898"/>
                </a:cubicBezTo>
                <a:cubicBezTo>
                  <a:pt x="5836202" y="6535667"/>
                  <a:pt x="5845970" y="6545436"/>
                  <a:pt x="5845970" y="6545436"/>
                </a:cubicBezTo>
                <a:cubicBezTo>
                  <a:pt x="5845970" y="6545436"/>
                  <a:pt x="5845970" y="6564975"/>
                  <a:pt x="5855739" y="6574744"/>
                </a:cubicBezTo>
                <a:cubicBezTo>
                  <a:pt x="5855739" y="6584514"/>
                  <a:pt x="5865508" y="6594283"/>
                  <a:pt x="5865508" y="6604052"/>
                </a:cubicBezTo>
                <a:cubicBezTo>
                  <a:pt x="5875276" y="6613822"/>
                  <a:pt x="5875276" y="6623591"/>
                  <a:pt x="5875276" y="6623591"/>
                </a:cubicBezTo>
                <a:cubicBezTo>
                  <a:pt x="5875276" y="6623591"/>
                  <a:pt x="5885045" y="6633360"/>
                  <a:pt x="5885045" y="6643129"/>
                </a:cubicBezTo>
                <a:cubicBezTo>
                  <a:pt x="5885045" y="6652899"/>
                  <a:pt x="5894813" y="6662668"/>
                  <a:pt x="5894813" y="6672437"/>
                </a:cubicBezTo>
                <a:cubicBezTo>
                  <a:pt x="5904582" y="6701745"/>
                  <a:pt x="5914351" y="6711515"/>
                  <a:pt x="5914351" y="6721284"/>
                </a:cubicBezTo>
                <a:cubicBezTo>
                  <a:pt x="5924119" y="6721284"/>
                  <a:pt x="5924119" y="6731053"/>
                  <a:pt x="5924119" y="6740823"/>
                </a:cubicBezTo>
                <a:cubicBezTo>
                  <a:pt x="5914351" y="6740823"/>
                  <a:pt x="5914351" y="6731053"/>
                  <a:pt x="5914351" y="6731053"/>
                </a:cubicBezTo>
                <a:cubicBezTo>
                  <a:pt x="5914351" y="6731053"/>
                  <a:pt x="5904582" y="6711515"/>
                  <a:pt x="5894813" y="6691976"/>
                </a:cubicBezTo>
                <a:cubicBezTo>
                  <a:pt x="5885045" y="6672437"/>
                  <a:pt x="5885045" y="6652899"/>
                  <a:pt x="5875276" y="6652899"/>
                </a:cubicBezTo>
                <a:cubicBezTo>
                  <a:pt x="5875276" y="6643129"/>
                  <a:pt x="5875276" y="6633360"/>
                  <a:pt x="5855739" y="6594283"/>
                </a:cubicBezTo>
                <a:cubicBezTo>
                  <a:pt x="5845970" y="6584514"/>
                  <a:pt x="5836202" y="6564975"/>
                  <a:pt x="5826433" y="6555206"/>
                </a:cubicBezTo>
                <a:cubicBezTo>
                  <a:pt x="5816665" y="6535667"/>
                  <a:pt x="5816665" y="6525898"/>
                  <a:pt x="5806896" y="6535667"/>
                </a:cubicBezTo>
                <a:cubicBezTo>
                  <a:pt x="5806896" y="6535667"/>
                  <a:pt x="5797127" y="6535667"/>
                  <a:pt x="5797127" y="6525898"/>
                </a:cubicBezTo>
                <a:cubicBezTo>
                  <a:pt x="5797127" y="6516128"/>
                  <a:pt x="5787359" y="6516128"/>
                  <a:pt x="5787359" y="6516128"/>
                </a:cubicBezTo>
                <a:cubicBezTo>
                  <a:pt x="5777590" y="6506359"/>
                  <a:pt x="5767822" y="6496590"/>
                  <a:pt x="5777590" y="6496590"/>
                </a:cubicBezTo>
                <a:cubicBezTo>
                  <a:pt x="5787359" y="6486821"/>
                  <a:pt x="5787359" y="6496590"/>
                  <a:pt x="5787359" y="6506359"/>
                </a:cubicBezTo>
                <a:cubicBezTo>
                  <a:pt x="5797127" y="6516128"/>
                  <a:pt x="5806896" y="6525898"/>
                  <a:pt x="5806896" y="6516128"/>
                </a:cubicBezTo>
                <a:cubicBezTo>
                  <a:pt x="5806896" y="6516128"/>
                  <a:pt x="5787359" y="6486821"/>
                  <a:pt x="5787359" y="6477051"/>
                </a:cubicBezTo>
                <a:cubicBezTo>
                  <a:pt x="5787359" y="6477051"/>
                  <a:pt x="5777590" y="6477051"/>
                  <a:pt x="5777590" y="6477051"/>
                </a:cubicBezTo>
                <a:cubicBezTo>
                  <a:pt x="5767822" y="6477051"/>
                  <a:pt x="5767822" y="6477051"/>
                  <a:pt x="5758053" y="6467282"/>
                </a:cubicBezTo>
                <a:cubicBezTo>
                  <a:pt x="5758053" y="6457513"/>
                  <a:pt x="5758053" y="6447743"/>
                  <a:pt x="5758053" y="6447743"/>
                </a:cubicBezTo>
                <a:cubicBezTo>
                  <a:pt x="5748284" y="6437974"/>
                  <a:pt x="5748284" y="6428205"/>
                  <a:pt x="5748284" y="6428205"/>
                </a:cubicBezTo>
                <a:cubicBezTo>
                  <a:pt x="5738516" y="6428205"/>
                  <a:pt x="5728747" y="6428205"/>
                  <a:pt x="5728747" y="6418435"/>
                </a:cubicBezTo>
                <a:cubicBezTo>
                  <a:pt x="5728747" y="6408666"/>
                  <a:pt x="5718978" y="6398897"/>
                  <a:pt x="5718978" y="6398897"/>
                </a:cubicBezTo>
                <a:cubicBezTo>
                  <a:pt x="5709210" y="6389127"/>
                  <a:pt x="5709210" y="6379358"/>
                  <a:pt x="5709210" y="6379358"/>
                </a:cubicBezTo>
                <a:cubicBezTo>
                  <a:pt x="5709210" y="6369589"/>
                  <a:pt x="5699441" y="6359820"/>
                  <a:pt x="5699441" y="6359820"/>
                </a:cubicBezTo>
                <a:cubicBezTo>
                  <a:pt x="5699441" y="6359820"/>
                  <a:pt x="5679904" y="6320742"/>
                  <a:pt x="5670135" y="6310973"/>
                </a:cubicBezTo>
                <a:cubicBezTo>
                  <a:pt x="5670135" y="6301204"/>
                  <a:pt x="5670135" y="6291434"/>
                  <a:pt x="5660367" y="6291434"/>
                </a:cubicBezTo>
                <a:cubicBezTo>
                  <a:pt x="5650598" y="6281665"/>
                  <a:pt x="5650598" y="6271896"/>
                  <a:pt x="5650598" y="6271896"/>
                </a:cubicBezTo>
                <a:cubicBezTo>
                  <a:pt x="5660367" y="6262126"/>
                  <a:pt x="5660367" y="6252357"/>
                  <a:pt x="5650598" y="6252357"/>
                </a:cubicBezTo>
                <a:cubicBezTo>
                  <a:pt x="5650598" y="6252357"/>
                  <a:pt x="5640830" y="6242588"/>
                  <a:pt x="5640830" y="6232819"/>
                </a:cubicBezTo>
                <a:cubicBezTo>
                  <a:pt x="5640830" y="6232819"/>
                  <a:pt x="5640830" y="6232819"/>
                  <a:pt x="5631061" y="6232819"/>
                </a:cubicBezTo>
                <a:cubicBezTo>
                  <a:pt x="5631061" y="6232819"/>
                  <a:pt x="5631061" y="6223049"/>
                  <a:pt x="5631061" y="6223049"/>
                </a:cubicBezTo>
                <a:cubicBezTo>
                  <a:pt x="5631061" y="6223049"/>
                  <a:pt x="5631061" y="6213280"/>
                  <a:pt x="5621292" y="6213280"/>
                </a:cubicBezTo>
                <a:cubicBezTo>
                  <a:pt x="5621292" y="6213280"/>
                  <a:pt x="5621292" y="6203511"/>
                  <a:pt x="5621292" y="6203511"/>
                </a:cubicBezTo>
                <a:cubicBezTo>
                  <a:pt x="5621292" y="6193741"/>
                  <a:pt x="5621292" y="6183972"/>
                  <a:pt x="5621292" y="6183972"/>
                </a:cubicBezTo>
                <a:cubicBezTo>
                  <a:pt x="5611524" y="6183972"/>
                  <a:pt x="5611524" y="6174203"/>
                  <a:pt x="5611524" y="6174203"/>
                </a:cubicBezTo>
                <a:cubicBezTo>
                  <a:pt x="5601755" y="6154664"/>
                  <a:pt x="5601755" y="6154664"/>
                  <a:pt x="5601755" y="6154664"/>
                </a:cubicBezTo>
                <a:cubicBezTo>
                  <a:pt x="5591986" y="6154664"/>
                  <a:pt x="5572449" y="6125356"/>
                  <a:pt x="5572449" y="6096048"/>
                </a:cubicBezTo>
                <a:cubicBezTo>
                  <a:pt x="5562681" y="6096048"/>
                  <a:pt x="5562681" y="6086279"/>
                  <a:pt x="5562681" y="6086279"/>
                </a:cubicBezTo>
                <a:cubicBezTo>
                  <a:pt x="5562681" y="6086279"/>
                  <a:pt x="5562681" y="6086279"/>
                  <a:pt x="5562681" y="6076510"/>
                </a:cubicBezTo>
                <a:cubicBezTo>
                  <a:pt x="5562681" y="6076510"/>
                  <a:pt x="5552912" y="6066740"/>
                  <a:pt x="5552912" y="6066740"/>
                </a:cubicBezTo>
                <a:cubicBezTo>
                  <a:pt x="5552912" y="6066740"/>
                  <a:pt x="5552912" y="6066740"/>
                  <a:pt x="5552912" y="6056971"/>
                </a:cubicBezTo>
                <a:cubicBezTo>
                  <a:pt x="5552912" y="6056971"/>
                  <a:pt x="5543143" y="6047202"/>
                  <a:pt x="5543143" y="6047202"/>
                </a:cubicBezTo>
                <a:cubicBezTo>
                  <a:pt x="5533375" y="6027663"/>
                  <a:pt x="5504069" y="5988586"/>
                  <a:pt x="5513838" y="5988586"/>
                </a:cubicBezTo>
                <a:cubicBezTo>
                  <a:pt x="5513838" y="5988586"/>
                  <a:pt x="5513838" y="5978817"/>
                  <a:pt x="5504069" y="5978817"/>
                </a:cubicBezTo>
                <a:cubicBezTo>
                  <a:pt x="5494300" y="5969047"/>
                  <a:pt x="5494300" y="5959278"/>
                  <a:pt x="5504069" y="5959278"/>
                </a:cubicBezTo>
                <a:cubicBezTo>
                  <a:pt x="5504069" y="5949509"/>
                  <a:pt x="5504069" y="5949509"/>
                  <a:pt x="5504069" y="5949509"/>
                </a:cubicBezTo>
                <a:cubicBezTo>
                  <a:pt x="5494300" y="5939739"/>
                  <a:pt x="5484532" y="5929970"/>
                  <a:pt x="5494300" y="5920201"/>
                </a:cubicBezTo>
                <a:cubicBezTo>
                  <a:pt x="5494300" y="5920201"/>
                  <a:pt x="5494300" y="5920201"/>
                  <a:pt x="5484532" y="5920201"/>
                </a:cubicBezTo>
                <a:cubicBezTo>
                  <a:pt x="5484532" y="5920201"/>
                  <a:pt x="5455226" y="5900662"/>
                  <a:pt x="5455226" y="5890893"/>
                </a:cubicBezTo>
                <a:cubicBezTo>
                  <a:pt x="5455226" y="5890893"/>
                  <a:pt x="5455226" y="5890893"/>
                  <a:pt x="5464995" y="5890893"/>
                </a:cubicBezTo>
                <a:cubicBezTo>
                  <a:pt x="5464995" y="5881123"/>
                  <a:pt x="5464995" y="5871354"/>
                  <a:pt x="5464995" y="5871354"/>
                </a:cubicBezTo>
                <a:cubicBezTo>
                  <a:pt x="5464995" y="5871354"/>
                  <a:pt x="5455226" y="5871354"/>
                  <a:pt x="5455226" y="5871354"/>
                </a:cubicBezTo>
                <a:cubicBezTo>
                  <a:pt x="5455226" y="5861585"/>
                  <a:pt x="5445457" y="5861585"/>
                  <a:pt x="5445457" y="5861585"/>
                </a:cubicBezTo>
                <a:cubicBezTo>
                  <a:pt x="5445457" y="5861585"/>
                  <a:pt x="5445457" y="5851816"/>
                  <a:pt x="5435689" y="5842046"/>
                </a:cubicBezTo>
                <a:cubicBezTo>
                  <a:pt x="5435689" y="5842046"/>
                  <a:pt x="5435689" y="5832277"/>
                  <a:pt x="5435689" y="5832277"/>
                </a:cubicBezTo>
                <a:cubicBezTo>
                  <a:pt x="5435689" y="5832277"/>
                  <a:pt x="5425920" y="5812738"/>
                  <a:pt x="5425920" y="5812738"/>
                </a:cubicBezTo>
                <a:cubicBezTo>
                  <a:pt x="5425920" y="5812738"/>
                  <a:pt x="5425920" y="5812738"/>
                  <a:pt x="5425920" y="5802969"/>
                </a:cubicBezTo>
                <a:cubicBezTo>
                  <a:pt x="5425920" y="5802969"/>
                  <a:pt x="5425920" y="5793200"/>
                  <a:pt x="5425920" y="5793200"/>
                </a:cubicBezTo>
                <a:cubicBezTo>
                  <a:pt x="5416151" y="5793200"/>
                  <a:pt x="5416151" y="5793200"/>
                  <a:pt x="5416151" y="5783430"/>
                </a:cubicBezTo>
                <a:cubicBezTo>
                  <a:pt x="5416151" y="5783430"/>
                  <a:pt x="5406383" y="5773661"/>
                  <a:pt x="5396614" y="5754122"/>
                </a:cubicBezTo>
                <a:cubicBezTo>
                  <a:pt x="5377077" y="5744353"/>
                  <a:pt x="5367308" y="5734584"/>
                  <a:pt x="5367308" y="5724815"/>
                </a:cubicBezTo>
                <a:cubicBezTo>
                  <a:pt x="5367308" y="5715045"/>
                  <a:pt x="5357540" y="5715045"/>
                  <a:pt x="5357540" y="5715045"/>
                </a:cubicBezTo>
                <a:cubicBezTo>
                  <a:pt x="5357540" y="5715045"/>
                  <a:pt x="5347771" y="5715045"/>
                  <a:pt x="5338003" y="5695507"/>
                </a:cubicBezTo>
                <a:cubicBezTo>
                  <a:pt x="5328234" y="5675968"/>
                  <a:pt x="5328234" y="5675968"/>
                  <a:pt x="5318465" y="5675968"/>
                </a:cubicBezTo>
                <a:cubicBezTo>
                  <a:pt x="5308697" y="5675968"/>
                  <a:pt x="5308697" y="5675968"/>
                  <a:pt x="5318465" y="5695507"/>
                </a:cubicBezTo>
                <a:cubicBezTo>
                  <a:pt x="5328234" y="5705276"/>
                  <a:pt x="5328234" y="5715045"/>
                  <a:pt x="5328234" y="5715045"/>
                </a:cubicBezTo>
                <a:cubicBezTo>
                  <a:pt x="5328234" y="5715045"/>
                  <a:pt x="5338003" y="5724815"/>
                  <a:pt x="5338003" y="5734584"/>
                </a:cubicBezTo>
                <a:cubicBezTo>
                  <a:pt x="5338003" y="5744353"/>
                  <a:pt x="5347771" y="5754122"/>
                  <a:pt x="5347771" y="5754122"/>
                </a:cubicBezTo>
                <a:cubicBezTo>
                  <a:pt x="5347771" y="5754122"/>
                  <a:pt x="5357540" y="5763892"/>
                  <a:pt x="5357540" y="5763892"/>
                </a:cubicBezTo>
                <a:cubicBezTo>
                  <a:pt x="5357540" y="5773661"/>
                  <a:pt x="5367308" y="5783430"/>
                  <a:pt x="5367308" y="5783430"/>
                </a:cubicBezTo>
                <a:cubicBezTo>
                  <a:pt x="5377077" y="5793200"/>
                  <a:pt x="5377077" y="5802969"/>
                  <a:pt x="5377077" y="5812738"/>
                </a:cubicBezTo>
                <a:cubicBezTo>
                  <a:pt x="5386846" y="5832277"/>
                  <a:pt x="5406383" y="5851816"/>
                  <a:pt x="5416151" y="5861585"/>
                </a:cubicBezTo>
                <a:cubicBezTo>
                  <a:pt x="5416151" y="5861585"/>
                  <a:pt x="5416151" y="5871354"/>
                  <a:pt x="5416151" y="5881123"/>
                </a:cubicBezTo>
                <a:cubicBezTo>
                  <a:pt x="5416151" y="5881123"/>
                  <a:pt x="5425920" y="5900662"/>
                  <a:pt x="5435689" y="5910431"/>
                </a:cubicBezTo>
                <a:cubicBezTo>
                  <a:pt x="5435689" y="5920201"/>
                  <a:pt x="5445457" y="5929970"/>
                  <a:pt x="5445457" y="5929970"/>
                </a:cubicBezTo>
                <a:cubicBezTo>
                  <a:pt x="5445457" y="5929970"/>
                  <a:pt x="5445457" y="5939739"/>
                  <a:pt x="5445457" y="5939739"/>
                </a:cubicBezTo>
                <a:cubicBezTo>
                  <a:pt x="5455226" y="5939739"/>
                  <a:pt x="5455226" y="5949509"/>
                  <a:pt x="5455226" y="5959278"/>
                </a:cubicBezTo>
                <a:cubicBezTo>
                  <a:pt x="5464995" y="5969047"/>
                  <a:pt x="5474763" y="5978817"/>
                  <a:pt x="5474763" y="5988586"/>
                </a:cubicBezTo>
                <a:cubicBezTo>
                  <a:pt x="5484532" y="5998355"/>
                  <a:pt x="5484532" y="6008124"/>
                  <a:pt x="5494300" y="6017894"/>
                </a:cubicBezTo>
                <a:cubicBezTo>
                  <a:pt x="5494300" y="6027663"/>
                  <a:pt x="5504069" y="6047202"/>
                  <a:pt x="5513838" y="6066740"/>
                </a:cubicBezTo>
                <a:cubicBezTo>
                  <a:pt x="5523606" y="6086279"/>
                  <a:pt x="5533375" y="6105818"/>
                  <a:pt x="5533375" y="6105818"/>
                </a:cubicBezTo>
                <a:cubicBezTo>
                  <a:pt x="5533375" y="6105818"/>
                  <a:pt x="5533375" y="6115587"/>
                  <a:pt x="5533375" y="6115587"/>
                </a:cubicBezTo>
                <a:cubicBezTo>
                  <a:pt x="5543143" y="6115587"/>
                  <a:pt x="5572449" y="6174203"/>
                  <a:pt x="5562681" y="6174203"/>
                </a:cubicBezTo>
                <a:cubicBezTo>
                  <a:pt x="5562681" y="6174203"/>
                  <a:pt x="5572449" y="6183972"/>
                  <a:pt x="5572449" y="6183972"/>
                </a:cubicBezTo>
                <a:cubicBezTo>
                  <a:pt x="5572449" y="6193741"/>
                  <a:pt x="5582218" y="6203511"/>
                  <a:pt x="5582218" y="6203511"/>
                </a:cubicBezTo>
                <a:cubicBezTo>
                  <a:pt x="5582218" y="6203511"/>
                  <a:pt x="5582218" y="6213280"/>
                  <a:pt x="5591986" y="6213280"/>
                </a:cubicBezTo>
                <a:cubicBezTo>
                  <a:pt x="5591986" y="6223049"/>
                  <a:pt x="5601755" y="6232819"/>
                  <a:pt x="5601755" y="6242588"/>
                </a:cubicBezTo>
                <a:cubicBezTo>
                  <a:pt x="5601755" y="6242588"/>
                  <a:pt x="5611524" y="6252357"/>
                  <a:pt x="5611524" y="6262126"/>
                </a:cubicBezTo>
                <a:cubicBezTo>
                  <a:pt x="5611524" y="6271896"/>
                  <a:pt x="5621292" y="6291434"/>
                  <a:pt x="5621292" y="6291434"/>
                </a:cubicBezTo>
                <a:cubicBezTo>
                  <a:pt x="5621292" y="6310973"/>
                  <a:pt x="5631061" y="6310973"/>
                  <a:pt x="5631061" y="6320742"/>
                </a:cubicBezTo>
                <a:cubicBezTo>
                  <a:pt x="5640830" y="6320742"/>
                  <a:pt x="5640830" y="6330512"/>
                  <a:pt x="5640830" y="6330512"/>
                </a:cubicBezTo>
                <a:cubicBezTo>
                  <a:pt x="5640830" y="6340281"/>
                  <a:pt x="5640830" y="6340281"/>
                  <a:pt x="5640830" y="6350050"/>
                </a:cubicBezTo>
                <a:cubicBezTo>
                  <a:pt x="5650598" y="6350050"/>
                  <a:pt x="5660367" y="6369589"/>
                  <a:pt x="5660367" y="6379358"/>
                </a:cubicBezTo>
                <a:cubicBezTo>
                  <a:pt x="5660367" y="6389127"/>
                  <a:pt x="5670135" y="6418435"/>
                  <a:pt x="5679904" y="6418435"/>
                </a:cubicBezTo>
                <a:cubicBezTo>
                  <a:pt x="5679904" y="6418435"/>
                  <a:pt x="5679904" y="6428205"/>
                  <a:pt x="5679904" y="6437974"/>
                </a:cubicBezTo>
                <a:cubicBezTo>
                  <a:pt x="5679904" y="6447743"/>
                  <a:pt x="5679904" y="6457513"/>
                  <a:pt x="5679904" y="6467282"/>
                </a:cubicBezTo>
                <a:cubicBezTo>
                  <a:pt x="5689673" y="6467282"/>
                  <a:pt x="5689673" y="6477051"/>
                  <a:pt x="5689673" y="6486821"/>
                </a:cubicBezTo>
                <a:cubicBezTo>
                  <a:pt x="5689673" y="6486821"/>
                  <a:pt x="5689673" y="6496590"/>
                  <a:pt x="5689673" y="6496590"/>
                </a:cubicBezTo>
                <a:cubicBezTo>
                  <a:pt x="5699441" y="6496590"/>
                  <a:pt x="5709210" y="6535667"/>
                  <a:pt x="5709210" y="6545436"/>
                </a:cubicBezTo>
                <a:cubicBezTo>
                  <a:pt x="5709210" y="6545436"/>
                  <a:pt x="5709210" y="6555206"/>
                  <a:pt x="5718978" y="6555206"/>
                </a:cubicBezTo>
                <a:cubicBezTo>
                  <a:pt x="5718978" y="6555206"/>
                  <a:pt x="5748284" y="6623591"/>
                  <a:pt x="5738516" y="6623591"/>
                </a:cubicBezTo>
                <a:cubicBezTo>
                  <a:pt x="5728747" y="6623591"/>
                  <a:pt x="5718978" y="6594283"/>
                  <a:pt x="5718978" y="6574744"/>
                </a:cubicBezTo>
                <a:cubicBezTo>
                  <a:pt x="5709210" y="6564975"/>
                  <a:pt x="5709210" y="6564975"/>
                  <a:pt x="5709210" y="6564975"/>
                </a:cubicBezTo>
                <a:cubicBezTo>
                  <a:pt x="5699441" y="6574744"/>
                  <a:pt x="5689673" y="6564975"/>
                  <a:pt x="5699441" y="6555206"/>
                </a:cubicBezTo>
                <a:cubicBezTo>
                  <a:pt x="5699441" y="6555206"/>
                  <a:pt x="5699441" y="6545436"/>
                  <a:pt x="5689673" y="6545436"/>
                </a:cubicBezTo>
                <a:cubicBezTo>
                  <a:pt x="5689673" y="6535667"/>
                  <a:pt x="5689673" y="6535667"/>
                  <a:pt x="5689673" y="6535667"/>
                </a:cubicBezTo>
                <a:cubicBezTo>
                  <a:pt x="5679904" y="6545436"/>
                  <a:pt x="5679904" y="6545436"/>
                  <a:pt x="5679904" y="6545436"/>
                </a:cubicBezTo>
                <a:cubicBezTo>
                  <a:pt x="5670135" y="6555206"/>
                  <a:pt x="5670135" y="6574744"/>
                  <a:pt x="5679904" y="6584514"/>
                </a:cubicBezTo>
                <a:cubicBezTo>
                  <a:pt x="5679904" y="6594283"/>
                  <a:pt x="5679904" y="6604052"/>
                  <a:pt x="5679904" y="6604052"/>
                </a:cubicBezTo>
                <a:cubicBezTo>
                  <a:pt x="5679904" y="6604052"/>
                  <a:pt x="5689673" y="6613822"/>
                  <a:pt x="5689673" y="6623591"/>
                </a:cubicBezTo>
                <a:cubicBezTo>
                  <a:pt x="5699441" y="6652899"/>
                  <a:pt x="5709210" y="6662668"/>
                  <a:pt x="5699441" y="6672437"/>
                </a:cubicBezTo>
                <a:cubicBezTo>
                  <a:pt x="5699441" y="6672437"/>
                  <a:pt x="5689673" y="6652899"/>
                  <a:pt x="5689673" y="6643129"/>
                </a:cubicBezTo>
                <a:cubicBezTo>
                  <a:pt x="5689673" y="6643129"/>
                  <a:pt x="5689673" y="6633360"/>
                  <a:pt x="5689673" y="6633360"/>
                </a:cubicBezTo>
                <a:cubicBezTo>
                  <a:pt x="5679904" y="6633360"/>
                  <a:pt x="5679904" y="6623591"/>
                  <a:pt x="5679904" y="6613822"/>
                </a:cubicBezTo>
                <a:cubicBezTo>
                  <a:pt x="5670135" y="6604052"/>
                  <a:pt x="5670135" y="6604052"/>
                  <a:pt x="5670135" y="6594283"/>
                </a:cubicBezTo>
                <a:cubicBezTo>
                  <a:pt x="5670135" y="6584514"/>
                  <a:pt x="5660367" y="6584514"/>
                  <a:pt x="5660367" y="6574744"/>
                </a:cubicBezTo>
                <a:cubicBezTo>
                  <a:pt x="5650598" y="6574744"/>
                  <a:pt x="5650598" y="6564975"/>
                  <a:pt x="5640830" y="6555206"/>
                </a:cubicBezTo>
                <a:cubicBezTo>
                  <a:pt x="5631061" y="6535667"/>
                  <a:pt x="5621292" y="6516128"/>
                  <a:pt x="5621292" y="6506359"/>
                </a:cubicBezTo>
                <a:cubicBezTo>
                  <a:pt x="5611524" y="6506359"/>
                  <a:pt x="5611524" y="6496590"/>
                  <a:pt x="5611524" y="6486821"/>
                </a:cubicBezTo>
                <a:cubicBezTo>
                  <a:pt x="5611524" y="6486821"/>
                  <a:pt x="5601755" y="6477051"/>
                  <a:pt x="5601755" y="6477051"/>
                </a:cubicBezTo>
                <a:cubicBezTo>
                  <a:pt x="5601755" y="6467282"/>
                  <a:pt x="5601755" y="6457513"/>
                  <a:pt x="5601755" y="6457513"/>
                </a:cubicBezTo>
                <a:cubicBezTo>
                  <a:pt x="5601755" y="6447743"/>
                  <a:pt x="5591986" y="6437974"/>
                  <a:pt x="5591986" y="6428205"/>
                </a:cubicBezTo>
                <a:cubicBezTo>
                  <a:pt x="5572449" y="6408666"/>
                  <a:pt x="5572449" y="6408666"/>
                  <a:pt x="5572449" y="6398897"/>
                </a:cubicBezTo>
                <a:cubicBezTo>
                  <a:pt x="5572449" y="6398897"/>
                  <a:pt x="5572449" y="6389127"/>
                  <a:pt x="5572449" y="6389127"/>
                </a:cubicBezTo>
                <a:cubicBezTo>
                  <a:pt x="5562681" y="6389127"/>
                  <a:pt x="5562681" y="6379358"/>
                  <a:pt x="5562681" y="6379358"/>
                </a:cubicBezTo>
                <a:cubicBezTo>
                  <a:pt x="5562681" y="6369589"/>
                  <a:pt x="5562681" y="6369589"/>
                  <a:pt x="5552912" y="6359820"/>
                </a:cubicBezTo>
                <a:cubicBezTo>
                  <a:pt x="5543143" y="6350050"/>
                  <a:pt x="5533375" y="6340281"/>
                  <a:pt x="5533375" y="6330512"/>
                </a:cubicBezTo>
                <a:cubicBezTo>
                  <a:pt x="5533375" y="6330512"/>
                  <a:pt x="5533375" y="6330512"/>
                  <a:pt x="5533375" y="6320742"/>
                </a:cubicBezTo>
                <a:cubicBezTo>
                  <a:pt x="5523606" y="6320742"/>
                  <a:pt x="5523606" y="6320742"/>
                  <a:pt x="5494300" y="6262126"/>
                </a:cubicBezTo>
                <a:cubicBezTo>
                  <a:pt x="5474763" y="6223049"/>
                  <a:pt x="5474763" y="6213280"/>
                  <a:pt x="5464995" y="6223049"/>
                </a:cubicBezTo>
                <a:cubicBezTo>
                  <a:pt x="5464995" y="6223049"/>
                  <a:pt x="5464995" y="6223049"/>
                  <a:pt x="5455226" y="6213280"/>
                </a:cubicBezTo>
                <a:cubicBezTo>
                  <a:pt x="5455226" y="6193741"/>
                  <a:pt x="5445457" y="6183972"/>
                  <a:pt x="5435689" y="6183972"/>
                </a:cubicBezTo>
                <a:cubicBezTo>
                  <a:pt x="5435689" y="6183972"/>
                  <a:pt x="5435689" y="6193741"/>
                  <a:pt x="5435689" y="6193741"/>
                </a:cubicBezTo>
                <a:cubicBezTo>
                  <a:pt x="5435689" y="6203511"/>
                  <a:pt x="5435689" y="6203511"/>
                  <a:pt x="5435689" y="6203511"/>
                </a:cubicBezTo>
                <a:cubicBezTo>
                  <a:pt x="5435689" y="6203511"/>
                  <a:pt x="5435689" y="6213280"/>
                  <a:pt x="5435689" y="6213280"/>
                </a:cubicBezTo>
                <a:cubicBezTo>
                  <a:pt x="5435689" y="6213280"/>
                  <a:pt x="5435689" y="6213280"/>
                  <a:pt x="5416151" y="6174203"/>
                </a:cubicBezTo>
                <a:cubicBezTo>
                  <a:pt x="5406383" y="6154664"/>
                  <a:pt x="5396614" y="6135125"/>
                  <a:pt x="5396614" y="6135125"/>
                </a:cubicBezTo>
                <a:cubicBezTo>
                  <a:pt x="5396614" y="6135125"/>
                  <a:pt x="5396614" y="6135125"/>
                  <a:pt x="5386846" y="6125356"/>
                </a:cubicBezTo>
                <a:cubicBezTo>
                  <a:pt x="5386846" y="6125356"/>
                  <a:pt x="5386846" y="6115587"/>
                  <a:pt x="5386846" y="6115587"/>
                </a:cubicBezTo>
                <a:cubicBezTo>
                  <a:pt x="5386846" y="6115587"/>
                  <a:pt x="5386846" y="6105818"/>
                  <a:pt x="5377077" y="6105818"/>
                </a:cubicBezTo>
                <a:cubicBezTo>
                  <a:pt x="5377077" y="6105818"/>
                  <a:pt x="5377077" y="6096048"/>
                  <a:pt x="5367308" y="6086279"/>
                </a:cubicBezTo>
                <a:cubicBezTo>
                  <a:pt x="5357540" y="6056971"/>
                  <a:pt x="5347771" y="6037432"/>
                  <a:pt x="5338003" y="6017894"/>
                </a:cubicBezTo>
                <a:cubicBezTo>
                  <a:pt x="5328234" y="6008124"/>
                  <a:pt x="5318465" y="5998355"/>
                  <a:pt x="5318465" y="5988586"/>
                </a:cubicBezTo>
                <a:cubicBezTo>
                  <a:pt x="5308697" y="5978817"/>
                  <a:pt x="5308697" y="5969047"/>
                  <a:pt x="5298928" y="5969047"/>
                </a:cubicBezTo>
                <a:cubicBezTo>
                  <a:pt x="5298928" y="5959278"/>
                  <a:pt x="5298928" y="5959278"/>
                  <a:pt x="5289160" y="5959278"/>
                </a:cubicBezTo>
                <a:cubicBezTo>
                  <a:pt x="5289160" y="5959278"/>
                  <a:pt x="5289160" y="5959278"/>
                  <a:pt x="5289160" y="5949509"/>
                </a:cubicBezTo>
                <a:cubicBezTo>
                  <a:pt x="5289160" y="5939739"/>
                  <a:pt x="5289160" y="5939739"/>
                  <a:pt x="5289160" y="5939739"/>
                </a:cubicBezTo>
                <a:cubicBezTo>
                  <a:pt x="5279391" y="5939739"/>
                  <a:pt x="5279391" y="5939739"/>
                  <a:pt x="5269622" y="5929970"/>
                </a:cubicBezTo>
                <a:cubicBezTo>
                  <a:pt x="5269622" y="5920201"/>
                  <a:pt x="5259854" y="5910431"/>
                  <a:pt x="5259854" y="5900662"/>
                </a:cubicBezTo>
                <a:cubicBezTo>
                  <a:pt x="5250085" y="5890893"/>
                  <a:pt x="5250085" y="5881123"/>
                  <a:pt x="5250085" y="5881123"/>
                </a:cubicBezTo>
                <a:cubicBezTo>
                  <a:pt x="5259854" y="5881123"/>
                  <a:pt x="5259854" y="5881123"/>
                  <a:pt x="5259854" y="5881123"/>
                </a:cubicBezTo>
                <a:cubicBezTo>
                  <a:pt x="5259854" y="5871354"/>
                  <a:pt x="5240316" y="5851816"/>
                  <a:pt x="5220779" y="5822508"/>
                </a:cubicBezTo>
                <a:cubicBezTo>
                  <a:pt x="5211011" y="5802969"/>
                  <a:pt x="5211011" y="5793200"/>
                  <a:pt x="5211011" y="5783430"/>
                </a:cubicBezTo>
                <a:cubicBezTo>
                  <a:pt x="5211011" y="5773661"/>
                  <a:pt x="5201242" y="5773661"/>
                  <a:pt x="5201242" y="5773661"/>
                </a:cubicBezTo>
                <a:cubicBezTo>
                  <a:pt x="5191473" y="5773661"/>
                  <a:pt x="5191473" y="5763892"/>
                  <a:pt x="5181705" y="5744353"/>
                </a:cubicBezTo>
                <a:cubicBezTo>
                  <a:pt x="5171936" y="5734584"/>
                  <a:pt x="5162168" y="5724815"/>
                  <a:pt x="5162168" y="5715045"/>
                </a:cubicBezTo>
                <a:cubicBezTo>
                  <a:pt x="5152399" y="5705276"/>
                  <a:pt x="5152399" y="5705276"/>
                  <a:pt x="5152399" y="5705276"/>
                </a:cubicBezTo>
                <a:cubicBezTo>
                  <a:pt x="5152399" y="5695507"/>
                  <a:pt x="5152399" y="5695507"/>
                  <a:pt x="5142630" y="5695507"/>
                </a:cubicBezTo>
                <a:cubicBezTo>
                  <a:pt x="5132862" y="5695507"/>
                  <a:pt x="5132862" y="5705276"/>
                  <a:pt x="5142630" y="5705276"/>
                </a:cubicBezTo>
                <a:cubicBezTo>
                  <a:pt x="5142630" y="5715045"/>
                  <a:pt x="5142630" y="5715045"/>
                  <a:pt x="5142630" y="5715045"/>
                </a:cubicBezTo>
                <a:cubicBezTo>
                  <a:pt x="5142630" y="5724815"/>
                  <a:pt x="5142630" y="5724815"/>
                  <a:pt x="5152399" y="5724815"/>
                </a:cubicBezTo>
                <a:cubicBezTo>
                  <a:pt x="5162168" y="5724815"/>
                  <a:pt x="5162168" y="5724815"/>
                  <a:pt x="5171936" y="5754122"/>
                </a:cubicBezTo>
                <a:cubicBezTo>
                  <a:pt x="5181705" y="5763892"/>
                  <a:pt x="5181705" y="5783430"/>
                  <a:pt x="5191473" y="5783430"/>
                </a:cubicBezTo>
                <a:cubicBezTo>
                  <a:pt x="5191473" y="5793200"/>
                  <a:pt x="5191473" y="5802969"/>
                  <a:pt x="5191473" y="5802969"/>
                </a:cubicBezTo>
                <a:cubicBezTo>
                  <a:pt x="5191473" y="5802969"/>
                  <a:pt x="5201242" y="5802969"/>
                  <a:pt x="5201242" y="5812738"/>
                </a:cubicBezTo>
                <a:cubicBezTo>
                  <a:pt x="5201242" y="5812738"/>
                  <a:pt x="5201242" y="5812738"/>
                  <a:pt x="5201242" y="5822508"/>
                </a:cubicBezTo>
                <a:cubicBezTo>
                  <a:pt x="5211011" y="5851816"/>
                  <a:pt x="5230548" y="5881123"/>
                  <a:pt x="5259854" y="5910431"/>
                </a:cubicBezTo>
                <a:cubicBezTo>
                  <a:pt x="5259854" y="5920201"/>
                  <a:pt x="5269622" y="5939739"/>
                  <a:pt x="5279391" y="5949509"/>
                </a:cubicBezTo>
                <a:cubicBezTo>
                  <a:pt x="5279391" y="5959278"/>
                  <a:pt x="5289160" y="5978817"/>
                  <a:pt x="5289160" y="5978817"/>
                </a:cubicBezTo>
                <a:cubicBezTo>
                  <a:pt x="5298928" y="5988586"/>
                  <a:pt x="5298928" y="5998355"/>
                  <a:pt x="5298928" y="5998355"/>
                </a:cubicBezTo>
                <a:cubicBezTo>
                  <a:pt x="5308697" y="5998355"/>
                  <a:pt x="5308697" y="6008124"/>
                  <a:pt x="5308697" y="6017894"/>
                </a:cubicBezTo>
                <a:cubicBezTo>
                  <a:pt x="5318465" y="6027663"/>
                  <a:pt x="5318465" y="6047202"/>
                  <a:pt x="5328234" y="6047202"/>
                </a:cubicBezTo>
                <a:cubicBezTo>
                  <a:pt x="5328234" y="6056971"/>
                  <a:pt x="5338003" y="6066740"/>
                  <a:pt x="5338003" y="6076510"/>
                </a:cubicBezTo>
                <a:cubicBezTo>
                  <a:pt x="5338003" y="6076510"/>
                  <a:pt x="5338003" y="6076510"/>
                  <a:pt x="5338003" y="6086279"/>
                </a:cubicBezTo>
                <a:cubicBezTo>
                  <a:pt x="5338003" y="6086279"/>
                  <a:pt x="5338003" y="6086279"/>
                  <a:pt x="5347771" y="6096048"/>
                </a:cubicBezTo>
                <a:cubicBezTo>
                  <a:pt x="5347771" y="6096048"/>
                  <a:pt x="5347771" y="6105818"/>
                  <a:pt x="5347771" y="6105818"/>
                </a:cubicBezTo>
                <a:cubicBezTo>
                  <a:pt x="5357540" y="6105818"/>
                  <a:pt x="5357540" y="6125356"/>
                  <a:pt x="5357540" y="6125356"/>
                </a:cubicBezTo>
                <a:cubicBezTo>
                  <a:pt x="5357540" y="6125356"/>
                  <a:pt x="5367308" y="6144895"/>
                  <a:pt x="5377077" y="6154664"/>
                </a:cubicBezTo>
                <a:cubicBezTo>
                  <a:pt x="5386846" y="6174203"/>
                  <a:pt x="5396614" y="6193741"/>
                  <a:pt x="5396614" y="6193741"/>
                </a:cubicBezTo>
                <a:cubicBezTo>
                  <a:pt x="5396614" y="6203511"/>
                  <a:pt x="5406383" y="6203511"/>
                  <a:pt x="5406383" y="6213280"/>
                </a:cubicBezTo>
                <a:cubicBezTo>
                  <a:pt x="5406383" y="6213280"/>
                  <a:pt x="5416151" y="6223049"/>
                  <a:pt x="5416151" y="6232819"/>
                </a:cubicBezTo>
                <a:cubicBezTo>
                  <a:pt x="5425920" y="6252357"/>
                  <a:pt x="5435689" y="6271896"/>
                  <a:pt x="5445457" y="6281665"/>
                </a:cubicBezTo>
                <a:cubicBezTo>
                  <a:pt x="5455226" y="6301204"/>
                  <a:pt x="5464995" y="6320742"/>
                  <a:pt x="5474763" y="6340281"/>
                </a:cubicBezTo>
                <a:cubicBezTo>
                  <a:pt x="5484532" y="6350050"/>
                  <a:pt x="5494300" y="6369589"/>
                  <a:pt x="5494300" y="6389127"/>
                </a:cubicBezTo>
                <a:cubicBezTo>
                  <a:pt x="5504069" y="6398897"/>
                  <a:pt x="5513838" y="6418435"/>
                  <a:pt x="5523606" y="6437974"/>
                </a:cubicBezTo>
                <a:cubicBezTo>
                  <a:pt x="5533375" y="6447743"/>
                  <a:pt x="5543143" y="6467282"/>
                  <a:pt x="5552912" y="6486821"/>
                </a:cubicBezTo>
                <a:cubicBezTo>
                  <a:pt x="5562681" y="6506359"/>
                  <a:pt x="5562681" y="6525898"/>
                  <a:pt x="5562681" y="6525898"/>
                </a:cubicBezTo>
                <a:cubicBezTo>
                  <a:pt x="5562681" y="6525898"/>
                  <a:pt x="5562681" y="6525898"/>
                  <a:pt x="5552912" y="6506359"/>
                </a:cubicBezTo>
                <a:cubicBezTo>
                  <a:pt x="5543143" y="6496590"/>
                  <a:pt x="5523606" y="6467282"/>
                  <a:pt x="5523606" y="6447743"/>
                </a:cubicBezTo>
                <a:cubicBezTo>
                  <a:pt x="5513838" y="6447743"/>
                  <a:pt x="5513838" y="6437974"/>
                  <a:pt x="5513838" y="6437974"/>
                </a:cubicBezTo>
                <a:cubicBezTo>
                  <a:pt x="5504069" y="6428205"/>
                  <a:pt x="5484532" y="6398897"/>
                  <a:pt x="5484532" y="6389127"/>
                </a:cubicBezTo>
                <a:cubicBezTo>
                  <a:pt x="5484532" y="6389127"/>
                  <a:pt x="5484532" y="6379358"/>
                  <a:pt x="5484532" y="6379358"/>
                </a:cubicBezTo>
                <a:cubicBezTo>
                  <a:pt x="5474763" y="6369589"/>
                  <a:pt x="5474763" y="6369589"/>
                  <a:pt x="5474763" y="6359820"/>
                </a:cubicBezTo>
                <a:cubicBezTo>
                  <a:pt x="5474763" y="6350050"/>
                  <a:pt x="5455226" y="6330512"/>
                  <a:pt x="5455226" y="6320742"/>
                </a:cubicBezTo>
                <a:cubicBezTo>
                  <a:pt x="5445457" y="6310973"/>
                  <a:pt x="5445457" y="6310973"/>
                  <a:pt x="5445457" y="6310973"/>
                </a:cubicBezTo>
                <a:cubicBezTo>
                  <a:pt x="5445457" y="6301204"/>
                  <a:pt x="5425920" y="6271896"/>
                  <a:pt x="5416151" y="6271896"/>
                </a:cubicBezTo>
                <a:cubicBezTo>
                  <a:pt x="5416151" y="6267011"/>
                  <a:pt x="5413709" y="6262126"/>
                  <a:pt x="5410046" y="6257242"/>
                </a:cubicBezTo>
                <a:lnTo>
                  <a:pt x="5400288" y="6246596"/>
                </a:lnTo>
                <a:lnTo>
                  <a:pt x="5396614" y="6232819"/>
                </a:lnTo>
                <a:cubicBezTo>
                  <a:pt x="5396614" y="6232819"/>
                  <a:pt x="5396614" y="6232819"/>
                  <a:pt x="5396614" y="6242588"/>
                </a:cubicBezTo>
                <a:lnTo>
                  <a:pt x="5400288" y="6246596"/>
                </a:lnTo>
                <a:lnTo>
                  <a:pt x="5401498" y="6251136"/>
                </a:lnTo>
                <a:cubicBezTo>
                  <a:pt x="5403940" y="6257242"/>
                  <a:pt x="5406383" y="6262126"/>
                  <a:pt x="5406383" y="6262126"/>
                </a:cubicBezTo>
                <a:cubicBezTo>
                  <a:pt x="5406383" y="6262126"/>
                  <a:pt x="5406383" y="6271896"/>
                  <a:pt x="5406383" y="6271896"/>
                </a:cubicBezTo>
                <a:cubicBezTo>
                  <a:pt x="5406383" y="6281665"/>
                  <a:pt x="5416151" y="6291434"/>
                  <a:pt x="5416151" y="6301204"/>
                </a:cubicBezTo>
                <a:cubicBezTo>
                  <a:pt x="5435689" y="6330512"/>
                  <a:pt x="5445457" y="6359820"/>
                  <a:pt x="5445457" y="6369589"/>
                </a:cubicBezTo>
                <a:cubicBezTo>
                  <a:pt x="5455226" y="6379358"/>
                  <a:pt x="5455226" y="6389127"/>
                  <a:pt x="5464995" y="6398897"/>
                </a:cubicBezTo>
                <a:lnTo>
                  <a:pt x="5469879" y="6413551"/>
                </a:lnTo>
                <a:lnTo>
                  <a:pt x="5466216" y="6409887"/>
                </a:lnTo>
                <a:cubicBezTo>
                  <a:pt x="5464995" y="6408666"/>
                  <a:pt x="5464995" y="6408666"/>
                  <a:pt x="5464995" y="6408666"/>
                </a:cubicBezTo>
                <a:cubicBezTo>
                  <a:pt x="5464995" y="6408666"/>
                  <a:pt x="5464995" y="6428205"/>
                  <a:pt x="5474763" y="6437974"/>
                </a:cubicBezTo>
                <a:cubicBezTo>
                  <a:pt x="5474763" y="6457513"/>
                  <a:pt x="5484532" y="6467282"/>
                  <a:pt x="5484532" y="6477051"/>
                </a:cubicBezTo>
                <a:cubicBezTo>
                  <a:pt x="5484532" y="6477051"/>
                  <a:pt x="5494300" y="6486821"/>
                  <a:pt x="5494300" y="6496590"/>
                </a:cubicBezTo>
                <a:cubicBezTo>
                  <a:pt x="5494300" y="6496590"/>
                  <a:pt x="5504069" y="6506359"/>
                  <a:pt x="5504069" y="6506359"/>
                </a:cubicBezTo>
                <a:cubicBezTo>
                  <a:pt x="5504069" y="6516128"/>
                  <a:pt x="5504069" y="6516128"/>
                  <a:pt x="5504069" y="6525898"/>
                </a:cubicBezTo>
                <a:cubicBezTo>
                  <a:pt x="5513838" y="6525898"/>
                  <a:pt x="5513838" y="6535667"/>
                  <a:pt x="5513838" y="6535667"/>
                </a:cubicBezTo>
                <a:cubicBezTo>
                  <a:pt x="5513838" y="6535667"/>
                  <a:pt x="5523606" y="6564975"/>
                  <a:pt x="5533375" y="6574744"/>
                </a:cubicBezTo>
                <a:cubicBezTo>
                  <a:pt x="5533375" y="6584514"/>
                  <a:pt x="5533375" y="6584514"/>
                  <a:pt x="5533375" y="6594283"/>
                </a:cubicBezTo>
                <a:cubicBezTo>
                  <a:pt x="5543143" y="6604052"/>
                  <a:pt x="5552912" y="6633360"/>
                  <a:pt x="5562681" y="6652899"/>
                </a:cubicBezTo>
                <a:cubicBezTo>
                  <a:pt x="5562681" y="6652899"/>
                  <a:pt x="5562681" y="6662668"/>
                  <a:pt x="5562681" y="6662668"/>
                </a:cubicBezTo>
                <a:cubicBezTo>
                  <a:pt x="5562681" y="6662668"/>
                  <a:pt x="5562681" y="6672437"/>
                  <a:pt x="5572449" y="6672437"/>
                </a:cubicBezTo>
                <a:cubicBezTo>
                  <a:pt x="5572449" y="6682207"/>
                  <a:pt x="5582218" y="6711515"/>
                  <a:pt x="5601755" y="6750592"/>
                </a:cubicBezTo>
                <a:cubicBezTo>
                  <a:pt x="5611524" y="6779900"/>
                  <a:pt x="5621292" y="6809208"/>
                  <a:pt x="5631061" y="6818977"/>
                </a:cubicBezTo>
                <a:cubicBezTo>
                  <a:pt x="5631061" y="6828746"/>
                  <a:pt x="5640830" y="6838516"/>
                  <a:pt x="5640830" y="6848285"/>
                </a:cubicBezTo>
                <a:cubicBezTo>
                  <a:pt x="5640830" y="6848285"/>
                  <a:pt x="5640830" y="6858054"/>
                  <a:pt x="5640830" y="6858054"/>
                </a:cubicBezTo>
                <a:cubicBezTo>
                  <a:pt x="5640830" y="6848285"/>
                  <a:pt x="5631061" y="6838516"/>
                  <a:pt x="5631061" y="6838516"/>
                </a:cubicBezTo>
                <a:cubicBezTo>
                  <a:pt x="5621292" y="6828746"/>
                  <a:pt x="5621292" y="6809208"/>
                  <a:pt x="5611524" y="6809208"/>
                </a:cubicBezTo>
                <a:cubicBezTo>
                  <a:pt x="5601755" y="6779900"/>
                  <a:pt x="5591986" y="6760361"/>
                  <a:pt x="5582218" y="6740823"/>
                </a:cubicBezTo>
                <a:cubicBezTo>
                  <a:pt x="5582218" y="6731053"/>
                  <a:pt x="5572449" y="6721284"/>
                  <a:pt x="5572449" y="6711515"/>
                </a:cubicBezTo>
                <a:cubicBezTo>
                  <a:pt x="5562681" y="6701745"/>
                  <a:pt x="5562681" y="6691976"/>
                  <a:pt x="5562681" y="6682207"/>
                </a:cubicBezTo>
                <a:cubicBezTo>
                  <a:pt x="5562681" y="6682207"/>
                  <a:pt x="5552912" y="6672437"/>
                  <a:pt x="5552912" y="6672437"/>
                </a:cubicBezTo>
                <a:cubicBezTo>
                  <a:pt x="5552912" y="6662668"/>
                  <a:pt x="5552912" y="6652899"/>
                  <a:pt x="5543143" y="6652899"/>
                </a:cubicBezTo>
                <a:cubicBezTo>
                  <a:pt x="5543143" y="6652899"/>
                  <a:pt x="5543143" y="6643129"/>
                  <a:pt x="5543143" y="6633360"/>
                </a:cubicBezTo>
                <a:cubicBezTo>
                  <a:pt x="5533375" y="6623591"/>
                  <a:pt x="5533375" y="6613822"/>
                  <a:pt x="5523606" y="6604052"/>
                </a:cubicBezTo>
                <a:cubicBezTo>
                  <a:pt x="5523606" y="6604052"/>
                  <a:pt x="5523606" y="6584514"/>
                  <a:pt x="5513838" y="6574744"/>
                </a:cubicBezTo>
                <a:cubicBezTo>
                  <a:pt x="5513838" y="6564975"/>
                  <a:pt x="5504069" y="6564975"/>
                  <a:pt x="5504069" y="6564975"/>
                </a:cubicBezTo>
                <a:cubicBezTo>
                  <a:pt x="5504069" y="6564975"/>
                  <a:pt x="5504069" y="6555206"/>
                  <a:pt x="5504069" y="6555206"/>
                </a:cubicBezTo>
                <a:cubicBezTo>
                  <a:pt x="5504069" y="6555206"/>
                  <a:pt x="5494300" y="6545436"/>
                  <a:pt x="5494300" y="6535667"/>
                </a:cubicBezTo>
                <a:cubicBezTo>
                  <a:pt x="5494300" y="6525898"/>
                  <a:pt x="5484532" y="6516128"/>
                  <a:pt x="5484532" y="6516128"/>
                </a:cubicBezTo>
                <a:cubicBezTo>
                  <a:pt x="5484532" y="6506359"/>
                  <a:pt x="5474763" y="6496590"/>
                  <a:pt x="5474763" y="6496590"/>
                </a:cubicBezTo>
                <a:cubicBezTo>
                  <a:pt x="5464995" y="6496590"/>
                  <a:pt x="5455226" y="6467282"/>
                  <a:pt x="5455226" y="6457513"/>
                </a:cubicBezTo>
                <a:cubicBezTo>
                  <a:pt x="5455226" y="6457513"/>
                  <a:pt x="5445457" y="6457513"/>
                  <a:pt x="5445457" y="6447743"/>
                </a:cubicBezTo>
                <a:cubicBezTo>
                  <a:pt x="5445457" y="6447743"/>
                  <a:pt x="5435689" y="6437974"/>
                  <a:pt x="5435689" y="6428205"/>
                </a:cubicBezTo>
                <a:cubicBezTo>
                  <a:pt x="5435689" y="6428205"/>
                  <a:pt x="5435689" y="6428205"/>
                  <a:pt x="5435689" y="6418435"/>
                </a:cubicBezTo>
                <a:cubicBezTo>
                  <a:pt x="5425920" y="6418435"/>
                  <a:pt x="5425920" y="6418435"/>
                  <a:pt x="5425920" y="6408666"/>
                </a:cubicBezTo>
                <a:cubicBezTo>
                  <a:pt x="5416151" y="6398897"/>
                  <a:pt x="5406383" y="6389127"/>
                  <a:pt x="5406383" y="6379358"/>
                </a:cubicBezTo>
                <a:cubicBezTo>
                  <a:pt x="5396614" y="6369589"/>
                  <a:pt x="5386846" y="6350050"/>
                  <a:pt x="5386846" y="6340281"/>
                </a:cubicBezTo>
                <a:cubicBezTo>
                  <a:pt x="5377077" y="6330512"/>
                  <a:pt x="5367308" y="6301204"/>
                  <a:pt x="5357540" y="6281665"/>
                </a:cubicBezTo>
                <a:cubicBezTo>
                  <a:pt x="5347771" y="6262126"/>
                  <a:pt x="5338003" y="6232819"/>
                  <a:pt x="5328234" y="6232819"/>
                </a:cubicBezTo>
                <a:cubicBezTo>
                  <a:pt x="5328234" y="6223049"/>
                  <a:pt x="5328234" y="6223049"/>
                  <a:pt x="5328234" y="6223049"/>
                </a:cubicBezTo>
                <a:cubicBezTo>
                  <a:pt x="5328234" y="6213280"/>
                  <a:pt x="5318465" y="6213280"/>
                  <a:pt x="5318465" y="6203511"/>
                </a:cubicBezTo>
                <a:cubicBezTo>
                  <a:pt x="5318465" y="6203511"/>
                  <a:pt x="5308697" y="6183972"/>
                  <a:pt x="5298928" y="6174203"/>
                </a:cubicBezTo>
                <a:cubicBezTo>
                  <a:pt x="5259854" y="6096048"/>
                  <a:pt x="5269622" y="6096048"/>
                  <a:pt x="5259854" y="6105818"/>
                </a:cubicBezTo>
                <a:cubicBezTo>
                  <a:pt x="5259854" y="6105818"/>
                  <a:pt x="5279391" y="6135125"/>
                  <a:pt x="5269622" y="6125356"/>
                </a:cubicBezTo>
                <a:cubicBezTo>
                  <a:pt x="5259854" y="6115587"/>
                  <a:pt x="5250085" y="6096048"/>
                  <a:pt x="5250085" y="6086279"/>
                </a:cubicBezTo>
                <a:cubicBezTo>
                  <a:pt x="5250085" y="6086279"/>
                  <a:pt x="5240316" y="6076510"/>
                  <a:pt x="5240316" y="6066740"/>
                </a:cubicBezTo>
                <a:cubicBezTo>
                  <a:pt x="5240316" y="6047202"/>
                  <a:pt x="5240316" y="6037432"/>
                  <a:pt x="5230548" y="6037432"/>
                </a:cubicBezTo>
                <a:cubicBezTo>
                  <a:pt x="5230548" y="6027663"/>
                  <a:pt x="5220779" y="6027663"/>
                  <a:pt x="5220779" y="6017894"/>
                </a:cubicBezTo>
                <a:cubicBezTo>
                  <a:pt x="5220779" y="6017894"/>
                  <a:pt x="5220779" y="6008124"/>
                  <a:pt x="5211011" y="6008124"/>
                </a:cubicBezTo>
                <a:cubicBezTo>
                  <a:pt x="5211011" y="6008124"/>
                  <a:pt x="5191473" y="5969047"/>
                  <a:pt x="5191473" y="5959278"/>
                </a:cubicBezTo>
                <a:cubicBezTo>
                  <a:pt x="5181705" y="5949509"/>
                  <a:pt x="5181705" y="5939739"/>
                  <a:pt x="5171936" y="5939739"/>
                </a:cubicBezTo>
                <a:cubicBezTo>
                  <a:pt x="5171936" y="5939739"/>
                  <a:pt x="5162168" y="5939739"/>
                  <a:pt x="5162168" y="5929970"/>
                </a:cubicBezTo>
                <a:cubicBezTo>
                  <a:pt x="5162168" y="5929970"/>
                  <a:pt x="5162168" y="5920201"/>
                  <a:pt x="5152399" y="5920201"/>
                </a:cubicBezTo>
                <a:cubicBezTo>
                  <a:pt x="5152399" y="5910431"/>
                  <a:pt x="5152399" y="5910431"/>
                  <a:pt x="5142630" y="5920201"/>
                </a:cubicBezTo>
                <a:cubicBezTo>
                  <a:pt x="5142630" y="5920201"/>
                  <a:pt x="5142630" y="5920201"/>
                  <a:pt x="5132862" y="5910431"/>
                </a:cubicBezTo>
                <a:cubicBezTo>
                  <a:pt x="5132862" y="5900662"/>
                  <a:pt x="5123093" y="5900662"/>
                  <a:pt x="5132862" y="5890893"/>
                </a:cubicBezTo>
                <a:cubicBezTo>
                  <a:pt x="5132862" y="5881123"/>
                  <a:pt x="5123093" y="5881123"/>
                  <a:pt x="5113325" y="5851816"/>
                </a:cubicBezTo>
                <a:cubicBezTo>
                  <a:pt x="5103556" y="5842046"/>
                  <a:pt x="5103556" y="5832277"/>
                  <a:pt x="5093787" y="5832277"/>
                </a:cubicBezTo>
                <a:cubicBezTo>
                  <a:pt x="5093787" y="5822508"/>
                  <a:pt x="5084019" y="5812738"/>
                  <a:pt x="5084019" y="5812738"/>
                </a:cubicBezTo>
                <a:cubicBezTo>
                  <a:pt x="5074250" y="5812738"/>
                  <a:pt x="5074250" y="5812738"/>
                  <a:pt x="5074250" y="5802969"/>
                </a:cubicBezTo>
                <a:cubicBezTo>
                  <a:pt x="5064481" y="5793200"/>
                  <a:pt x="5064481" y="5783430"/>
                  <a:pt x="5064481" y="5783430"/>
                </a:cubicBezTo>
                <a:cubicBezTo>
                  <a:pt x="5064481" y="5763892"/>
                  <a:pt x="5035176" y="5734584"/>
                  <a:pt x="5025407" y="5734584"/>
                </a:cubicBezTo>
                <a:cubicBezTo>
                  <a:pt x="5025407" y="5734584"/>
                  <a:pt x="5025407" y="5734584"/>
                  <a:pt x="5015638" y="5734584"/>
                </a:cubicBezTo>
                <a:cubicBezTo>
                  <a:pt x="5015638" y="5734584"/>
                  <a:pt x="5015638" y="5754122"/>
                  <a:pt x="5015638" y="5763892"/>
                </a:cubicBezTo>
                <a:cubicBezTo>
                  <a:pt x="5025407" y="5763892"/>
                  <a:pt x="5025407" y="5763892"/>
                  <a:pt x="5025407" y="5773661"/>
                </a:cubicBezTo>
                <a:cubicBezTo>
                  <a:pt x="5025407" y="5773661"/>
                  <a:pt x="5025407" y="5783430"/>
                  <a:pt x="5025407" y="5783430"/>
                </a:cubicBezTo>
                <a:cubicBezTo>
                  <a:pt x="5035176" y="5793200"/>
                  <a:pt x="5035176" y="5793200"/>
                  <a:pt x="5035176" y="5802969"/>
                </a:cubicBezTo>
                <a:cubicBezTo>
                  <a:pt x="5035176" y="5802969"/>
                  <a:pt x="5044944" y="5812738"/>
                  <a:pt x="5044944" y="5812738"/>
                </a:cubicBezTo>
                <a:cubicBezTo>
                  <a:pt x="5044944" y="5812738"/>
                  <a:pt x="5044944" y="5822508"/>
                  <a:pt x="5054713" y="5832277"/>
                </a:cubicBezTo>
                <a:cubicBezTo>
                  <a:pt x="5054713" y="5842046"/>
                  <a:pt x="5074250" y="5871354"/>
                  <a:pt x="5084019" y="5890893"/>
                </a:cubicBezTo>
                <a:cubicBezTo>
                  <a:pt x="5084019" y="5890893"/>
                  <a:pt x="5093787" y="5900662"/>
                  <a:pt x="5093787" y="5910431"/>
                </a:cubicBezTo>
                <a:cubicBezTo>
                  <a:pt x="5103556" y="5929970"/>
                  <a:pt x="5113325" y="5929970"/>
                  <a:pt x="5113325" y="5920201"/>
                </a:cubicBezTo>
                <a:cubicBezTo>
                  <a:pt x="5103556" y="5910431"/>
                  <a:pt x="5113325" y="5900662"/>
                  <a:pt x="5113325" y="5910431"/>
                </a:cubicBezTo>
                <a:cubicBezTo>
                  <a:pt x="5113325" y="5910431"/>
                  <a:pt x="5113325" y="5920201"/>
                  <a:pt x="5123093" y="5920201"/>
                </a:cubicBezTo>
                <a:cubicBezTo>
                  <a:pt x="5123093" y="5939739"/>
                  <a:pt x="5132862" y="5969047"/>
                  <a:pt x="5162168" y="5998355"/>
                </a:cubicBezTo>
                <a:cubicBezTo>
                  <a:pt x="5167052" y="6013009"/>
                  <a:pt x="5171936" y="6025221"/>
                  <a:pt x="5175599" y="6034990"/>
                </a:cubicBezTo>
                <a:lnTo>
                  <a:pt x="5180322" y="6051994"/>
                </a:lnTo>
                <a:lnTo>
                  <a:pt x="5171936" y="6047202"/>
                </a:lnTo>
                <a:cubicBezTo>
                  <a:pt x="5171936" y="6037432"/>
                  <a:pt x="5162168" y="6027663"/>
                  <a:pt x="5162168" y="6017894"/>
                </a:cubicBezTo>
                <a:cubicBezTo>
                  <a:pt x="5152399" y="6008124"/>
                  <a:pt x="5152399" y="6008124"/>
                  <a:pt x="5142630" y="5998355"/>
                </a:cubicBezTo>
                <a:cubicBezTo>
                  <a:pt x="5142630" y="5998355"/>
                  <a:pt x="5142630" y="5998355"/>
                  <a:pt x="5142630" y="5988586"/>
                </a:cubicBezTo>
                <a:cubicBezTo>
                  <a:pt x="5142630" y="5988586"/>
                  <a:pt x="5132862" y="5978817"/>
                  <a:pt x="5132862" y="5969047"/>
                </a:cubicBezTo>
                <a:cubicBezTo>
                  <a:pt x="5123093" y="5969047"/>
                  <a:pt x="5123093" y="5959278"/>
                  <a:pt x="5113325" y="5949509"/>
                </a:cubicBezTo>
                <a:cubicBezTo>
                  <a:pt x="5113325" y="5949509"/>
                  <a:pt x="5113325" y="5959278"/>
                  <a:pt x="5113325" y="5959278"/>
                </a:cubicBezTo>
                <a:cubicBezTo>
                  <a:pt x="5113325" y="5969047"/>
                  <a:pt x="5123093" y="5969047"/>
                  <a:pt x="5123093" y="5969047"/>
                </a:cubicBezTo>
                <a:cubicBezTo>
                  <a:pt x="5123093" y="5969047"/>
                  <a:pt x="5123093" y="5978817"/>
                  <a:pt x="5132862" y="5988586"/>
                </a:cubicBezTo>
                <a:cubicBezTo>
                  <a:pt x="5132862" y="5998355"/>
                  <a:pt x="5132862" y="6008124"/>
                  <a:pt x="5142630" y="6008124"/>
                </a:cubicBezTo>
                <a:cubicBezTo>
                  <a:pt x="5142630" y="6017894"/>
                  <a:pt x="5142630" y="6017894"/>
                  <a:pt x="5142630" y="6027663"/>
                </a:cubicBezTo>
                <a:cubicBezTo>
                  <a:pt x="5142630" y="6027663"/>
                  <a:pt x="5142630" y="6037432"/>
                  <a:pt x="5152399" y="6047202"/>
                </a:cubicBezTo>
                <a:cubicBezTo>
                  <a:pt x="5152399" y="6047202"/>
                  <a:pt x="5152399" y="6047202"/>
                  <a:pt x="5162168" y="6056971"/>
                </a:cubicBezTo>
                <a:cubicBezTo>
                  <a:pt x="5162168" y="6066740"/>
                  <a:pt x="5171936" y="6066740"/>
                  <a:pt x="5171936" y="6076510"/>
                </a:cubicBezTo>
                <a:cubicBezTo>
                  <a:pt x="5171936" y="6076510"/>
                  <a:pt x="5181705" y="6086279"/>
                  <a:pt x="5181705" y="6086279"/>
                </a:cubicBezTo>
                <a:cubicBezTo>
                  <a:pt x="5191473" y="6105818"/>
                  <a:pt x="5211011" y="6144895"/>
                  <a:pt x="5220779" y="6164433"/>
                </a:cubicBezTo>
                <a:cubicBezTo>
                  <a:pt x="5240316" y="6183972"/>
                  <a:pt x="5240316" y="6193741"/>
                  <a:pt x="5240316" y="6203511"/>
                </a:cubicBezTo>
                <a:cubicBezTo>
                  <a:pt x="5240316" y="6203511"/>
                  <a:pt x="5240316" y="6213280"/>
                  <a:pt x="5240316" y="6213280"/>
                </a:cubicBezTo>
                <a:cubicBezTo>
                  <a:pt x="5250085" y="6213280"/>
                  <a:pt x="5250085" y="6213280"/>
                  <a:pt x="5250085" y="6223049"/>
                </a:cubicBezTo>
                <a:cubicBezTo>
                  <a:pt x="5250085" y="6232819"/>
                  <a:pt x="5259854" y="6242588"/>
                  <a:pt x="5259854" y="6252357"/>
                </a:cubicBezTo>
                <a:cubicBezTo>
                  <a:pt x="5269622" y="6271896"/>
                  <a:pt x="5269622" y="6271896"/>
                  <a:pt x="5269622" y="6281665"/>
                </a:cubicBezTo>
                <a:cubicBezTo>
                  <a:pt x="5269622" y="6281665"/>
                  <a:pt x="5269622" y="6281665"/>
                  <a:pt x="5269622" y="6291434"/>
                </a:cubicBezTo>
                <a:cubicBezTo>
                  <a:pt x="5269622" y="6291434"/>
                  <a:pt x="5279391" y="6301204"/>
                  <a:pt x="5279391" y="6310973"/>
                </a:cubicBezTo>
                <a:cubicBezTo>
                  <a:pt x="5279391" y="6320742"/>
                  <a:pt x="5289160" y="6330512"/>
                  <a:pt x="5289160" y="6330512"/>
                </a:cubicBezTo>
                <a:cubicBezTo>
                  <a:pt x="5289160" y="6330512"/>
                  <a:pt x="5289160" y="6340281"/>
                  <a:pt x="5298928" y="6350050"/>
                </a:cubicBezTo>
                <a:cubicBezTo>
                  <a:pt x="5298928" y="6359820"/>
                  <a:pt x="5298928" y="6359820"/>
                  <a:pt x="5308697" y="6369589"/>
                </a:cubicBezTo>
                <a:cubicBezTo>
                  <a:pt x="5308697" y="6369589"/>
                  <a:pt x="5308697" y="6379358"/>
                  <a:pt x="5318465" y="6389127"/>
                </a:cubicBezTo>
                <a:cubicBezTo>
                  <a:pt x="5318465" y="6389127"/>
                  <a:pt x="5328234" y="6418435"/>
                  <a:pt x="5338003" y="6437974"/>
                </a:cubicBezTo>
                <a:cubicBezTo>
                  <a:pt x="5357540" y="6477051"/>
                  <a:pt x="5377077" y="6525898"/>
                  <a:pt x="5377077" y="6525898"/>
                </a:cubicBezTo>
                <a:cubicBezTo>
                  <a:pt x="5367308" y="6525898"/>
                  <a:pt x="5377077" y="6545436"/>
                  <a:pt x="5386846" y="6555206"/>
                </a:cubicBezTo>
                <a:cubicBezTo>
                  <a:pt x="5386846" y="6574744"/>
                  <a:pt x="5396614" y="6584514"/>
                  <a:pt x="5396614" y="6594283"/>
                </a:cubicBezTo>
                <a:cubicBezTo>
                  <a:pt x="5401498" y="6599168"/>
                  <a:pt x="5403940" y="6604052"/>
                  <a:pt x="5405162" y="6607716"/>
                </a:cubicBezTo>
                <a:lnTo>
                  <a:pt x="5406383" y="6613821"/>
                </a:lnTo>
                <a:lnTo>
                  <a:pt x="5396614" y="6604052"/>
                </a:lnTo>
                <a:cubicBezTo>
                  <a:pt x="5396614" y="6604052"/>
                  <a:pt x="5396614" y="6594283"/>
                  <a:pt x="5386846" y="6574744"/>
                </a:cubicBezTo>
                <a:cubicBezTo>
                  <a:pt x="5386846" y="6564975"/>
                  <a:pt x="5377077" y="6555206"/>
                  <a:pt x="5377077" y="6545436"/>
                </a:cubicBezTo>
                <a:cubicBezTo>
                  <a:pt x="5367308" y="6545436"/>
                  <a:pt x="5367308" y="6525898"/>
                  <a:pt x="5357540" y="6516128"/>
                </a:cubicBezTo>
                <a:cubicBezTo>
                  <a:pt x="5357540" y="6506359"/>
                  <a:pt x="5347771" y="6496590"/>
                  <a:pt x="5347771" y="6496590"/>
                </a:cubicBezTo>
                <a:cubicBezTo>
                  <a:pt x="5347771" y="6496590"/>
                  <a:pt x="5347771" y="6486821"/>
                  <a:pt x="5347771" y="6486821"/>
                </a:cubicBezTo>
                <a:cubicBezTo>
                  <a:pt x="5338003" y="6477051"/>
                  <a:pt x="5338003" y="6477051"/>
                  <a:pt x="5338003" y="6486821"/>
                </a:cubicBezTo>
                <a:cubicBezTo>
                  <a:pt x="5338003" y="6486821"/>
                  <a:pt x="5338003" y="6486821"/>
                  <a:pt x="5338003" y="6496590"/>
                </a:cubicBezTo>
                <a:cubicBezTo>
                  <a:pt x="5328234" y="6496590"/>
                  <a:pt x="5328234" y="6486821"/>
                  <a:pt x="5328234" y="6486821"/>
                </a:cubicBezTo>
                <a:cubicBezTo>
                  <a:pt x="5328234" y="6477051"/>
                  <a:pt x="5328234" y="6477051"/>
                  <a:pt x="5318465" y="6477051"/>
                </a:cubicBezTo>
                <a:cubicBezTo>
                  <a:pt x="5308697" y="6457513"/>
                  <a:pt x="5259854" y="6359820"/>
                  <a:pt x="5250085" y="6350050"/>
                </a:cubicBezTo>
                <a:cubicBezTo>
                  <a:pt x="5250085" y="6340281"/>
                  <a:pt x="5220779" y="6271896"/>
                  <a:pt x="5211011" y="6252357"/>
                </a:cubicBezTo>
                <a:cubicBezTo>
                  <a:pt x="5201242" y="6232819"/>
                  <a:pt x="5191473" y="6223049"/>
                  <a:pt x="5191473" y="6213280"/>
                </a:cubicBezTo>
                <a:cubicBezTo>
                  <a:pt x="5181705" y="6213280"/>
                  <a:pt x="5181705" y="6213280"/>
                  <a:pt x="5181705" y="6223049"/>
                </a:cubicBezTo>
                <a:cubicBezTo>
                  <a:pt x="5181705" y="6223049"/>
                  <a:pt x="5181705" y="6223049"/>
                  <a:pt x="5171936" y="6223049"/>
                </a:cubicBezTo>
                <a:cubicBezTo>
                  <a:pt x="5171936" y="6223049"/>
                  <a:pt x="5162168" y="6213280"/>
                  <a:pt x="5162168" y="6213280"/>
                </a:cubicBezTo>
                <a:cubicBezTo>
                  <a:pt x="5171936" y="6213280"/>
                  <a:pt x="5171936" y="6203511"/>
                  <a:pt x="5171936" y="6193741"/>
                </a:cubicBezTo>
                <a:cubicBezTo>
                  <a:pt x="5171936" y="6183972"/>
                  <a:pt x="5152399" y="6135125"/>
                  <a:pt x="5152399" y="6135125"/>
                </a:cubicBezTo>
                <a:cubicBezTo>
                  <a:pt x="5152399" y="6135125"/>
                  <a:pt x="5142630" y="6135125"/>
                  <a:pt x="5142630" y="6125356"/>
                </a:cubicBezTo>
                <a:cubicBezTo>
                  <a:pt x="5132862" y="6115587"/>
                  <a:pt x="5132862" y="6105818"/>
                  <a:pt x="5123093" y="6096048"/>
                </a:cubicBezTo>
                <a:cubicBezTo>
                  <a:pt x="5123093" y="6096048"/>
                  <a:pt x="5123093" y="6086279"/>
                  <a:pt x="5123093" y="6076510"/>
                </a:cubicBezTo>
                <a:cubicBezTo>
                  <a:pt x="5123093" y="6076510"/>
                  <a:pt x="5123093" y="6066740"/>
                  <a:pt x="5123093" y="6066740"/>
                </a:cubicBezTo>
                <a:cubicBezTo>
                  <a:pt x="5113325" y="6066740"/>
                  <a:pt x="5113325" y="6056971"/>
                  <a:pt x="5113325" y="6047202"/>
                </a:cubicBezTo>
                <a:cubicBezTo>
                  <a:pt x="5113325" y="6047202"/>
                  <a:pt x="5103556" y="6037432"/>
                  <a:pt x="5103556" y="6037432"/>
                </a:cubicBezTo>
                <a:cubicBezTo>
                  <a:pt x="5103556" y="6027663"/>
                  <a:pt x="5093787" y="6008124"/>
                  <a:pt x="5093787" y="5998355"/>
                </a:cubicBezTo>
                <a:cubicBezTo>
                  <a:pt x="5093787" y="5998355"/>
                  <a:pt x="5084019" y="5988586"/>
                  <a:pt x="5074250" y="5978817"/>
                </a:cubicBezTo>
                <a:cubicBezTo>
                  <a:pt x="5074250" y="5978817"/>
                  <a:pt x="5064481" y="5969047"/>
                  <a:pt x="5064481" y="5969047"/>
                </a:cubicBezTo>
                <a:cubicBezTo>
                  <a:pt x="5064481" y="5969047"/>
                  <a:pt x="5074250" y="5969047"/>
                  <a:pt x="5074250" y="5969047"/>
                </a:cubicBezTo>
                <a:cubicBezTo>
                  <a:pt x="5074250" y="5969047"/>
                  <a:pt x="5074250" y="5959278"/>
                  <a:pt x="5074250" y="5959278"/>
                </a:cubicBezTo>
                <a:cubicBezTo>
                  <a:pt x="5084019" y="5969047"/>
                  <a:pt x="5084019" y="5978817"/>
                  <a:pt x="5084019" y="5978817"/>
                </a:cubicBezTo>
                <a:cubicBezTo>
                  <a:pt x="5084019" y="5988586"/>
                  <a:pt x="5084019" y="5988586"/>
                  <a:pt x="5093787" y="5988586"/>
                </a:cubicBezTo>
                <a:cubicBezTo>
                  <a:pt x="5093787" y="5988586"/>
                  <a:pt x="5103556" y="6017894"/>
                  <a:pt x="5113325" y="6027663"/>
                </a:cubicBezTo>
                <a:cubicBezTo>
                  <a:pt x="5123093" y="6037432"/>
                  <a:pt x="5123093" y="6047202"/>
                  <a:pt x="5123093" y="6047202"/>
                </a:cubicBezTo>
                <a:cubicBezTo>
                  <a:pt x="5132862" y="6056971"/>
                  <a:pt x="5132862" y="6056971"/>
                  <a:pt x="5132862" y="6056971"/>
                </a:cubicBezTo>
                <a:cubicBezTo>
                  <a:pt x="5132862" y="6047202"/>
                  <a:pt x="5132862" y="6047202"/>
                  <a:pt x="5132862" y="6037432"/>
                </a:cubicBezTo>
                <a:cubicBezTo>
                  <a:pt x="5132862" y="6037432"/>
                  <a:pt x="5132862" y="6027663"/>
                  <a:pt x="5123093" y="6017894"/>
                </a:cubicBezTo>
                <a:cubicBezTo>
                  <a:pt x="5123093" y="6008124"/>
                  <a:pt x="5123093" y="5998355"/>
                  <a:pt x="5113325" y="5998355"/>
                </a:cubicBezTo>
                <a:cubicBezTo>
                  <a:pt x="5113325" y="5998355"/>
                  <a:pt x="5113325" y="5988586"/>
                  <a:pt x="5113325" y="5988586"/>
                </a:cubicBezTo>
                <a:cubicBezTo>
                  <a:pt x="5113325" y="5978817"/>
                  <a:pt x="5103556" y="5969047"/>
                  <a:pt x="5103556" y="5949509"/>
                </a:cubicBezTo>
                <a:cubicBezTo>
                  <a:pt x="5093787" y="5939739"/>
                  <a:pt x="5093787" y="5929970"/>
                  <a:pt x="5093787" y="5929970"/>
                </a:cubicBezTo>
                <a:cubicBezTo>
                  <a:pt x="5093787" y="5929970"/>
                  <a:pt x="5084019" y="5920201"/>
                  <a:pt x="5074250" y="5910431"/>
                </a:cubicBezTo>
                <a:cubicBezTo>
                  <a:pt x="5074250" y="5890893"/>
                  <a:pt x="5064481" y="5890893"/>
                  <a:pt x="5064481" y="5890893"/>
                </a:cubicBezTo>
                <a:cubicBezTo>
                  <a:pt x="5054713" y="5890893"/>
                  <a:pt x="5054713" y="5890893"/>
                  <a:pt x="5044944" y="5890893"/>
                </a:cubicBezTo>
                <a:cubicBezTo>
                  <a:pt x="5044944" y="5900662"/>
                  <a:pt x="5044944" y="5900662"/>
                  <a:pt x="5035176" y="5881123"/>
                </a:cubicBezTo>
                <a:cubicBezTo>
                  <a:pt x="5025407" y="5881123"/>
                  <a:pt x="5025407" y="5871354"/>
                  <a:pt x="5025407" y="5871354"/>
                </a:cubicBezTo>
                <a:cubicBezTo>
                  <a:pt x="5015638" y="5871354"/>
                  <a:pt x="5015638" y="5861585"/>
                  <a:pt x="4996101" y="5842046"/>
                </a:cubicBezTo>
                <a:cubicBezTo>
                  <a:pt x="4986333" y="5812738"/>
                  <a:pt x="4986333" y="5812738"/>
                  <a:pt x="4986333" y="5822508"/>
                </a:cubicBezTo>
                <a:cubicBezTo>
                  <a:pt x="4986333" y="5822508"/>
                  <a:pt x="4986333" y="5822508"/>
                  <a:pt x="4986333" y="5832277"/>
                </a:cubicBezTo>
                <a:cubicBezTo>
                  <a:pt x="4976564" y="5832277"/>
                  <a:pt x="4966795" y="5842046"/>
                  <a:pt x="4966795" y="5851816"/>
                </a:cubicBezTo>
                <a:cubicBezTo>
                  <a:pt x="4966795" y="5842046"/>
                  <a:pt x="4947258" y="5822508"/>
                  <a:pt x="4947258" y="5822508"/>
                </a:cubicBezTo>
                <a:cubicBezTo>
                  <a:pt x="4947258" y="5832277"/>
                  <a:pt x="4947258" y="5832277"/>
                  <a:pt x="4957027" y="5842046"/>
                </a:cubicBezTo>
                <a:cubicBezTo>
                  <a:pt x="4957027" y="5851816"/>
                  <a:pt x="4966795" y="5861585"/>
                  <a:pt x="4976564" y="5890893"/>
                </a:cubicBezTo>
                <a:cubicBezTo>
                  <a:pt x="4976564" y="5900662"/>
                  <a:pt x="4986333" y="5910431"/>
                  <a:pt x="4996101" y="5920201"/>
                </a:cubicBezTo>
                <a:cubicBezTo>
                  <a:pt x="5005870" y="5929970"/>
                  <a:pt x="5005870" y="5939739"/>
                  <a:pt x="5015638" y="5959278"/>
                </a:cubicBezTo>
                <a:cubicBezTo>
                  <a:pt x="5015638" y="5959278"/>
                  <a:pt x="5015638" y="5969047"/>
                  <a:pt x="5025407" y="5978817"/>
                </a:cubicBezTo>
                <a:cubicBezTo>
                  <a:pt x="5035176" y="5988586"/>
                  <a:pt x="5035176" y="5998355"/>
                  <a:pt x="5035176" y="6008124"/>
                </a:cubicBezTo>
                <a:cubicBezTo>
                  <a:pt x="5035176" y="6008124"/>
                  <a:pt x="5044944" y="6027663"/>
                  <a:pt x="5044944" y="6037432"/>
                </a:cubicBezTo>
                <a:cubicBezTo>
                  <a:pt x="5064481" y="6066740"/>
                  <a:pt x="5064481" y="6076510"/>
                  <a:pt x="5064481" y="6076510"/>
                </a:cubicBezTo>
                <a:cubicBezTo>
                  <a:pt x="5064481" y="6076510"/>
                  <a:pt x="5035176" y="6027663"/>
                  <a:pt x="5035176" y="6017894"/>
                </a:cubicBezTo>
                <a:cubicBezTo>
                  <a:pt x="5035176" y="6017894"/>
                  <a:pt x="5035176" y="6017894"/>
                  <a:pt x="5025407" y="6008124"/>
                </a:cubicBezTo>
                <a:cubicBezTo>
                  <a:pt x="5025407" y="6008124"/>
                  <a:pt x="5025407" y="6008124"/>
                  <a:pt x="5025407" y="5998355"/>
                </a:cubicBezTo>
                <a:cubicBezTo>
                  <a:pt x="5025407" y="5998355"/>
                  <a:pt x="5025407" y="5988586"/>
                  <a:pt x="5015638" y="5988586"/>
                </a:cubicBezTo>
                <a:cubicBezTo>
                  <a:pt x="5015638" y="5978817"/>
                  <a:pt x="5005870" y="5959278"/>
                  <a:pt x="4996101" y="5949509"/>
                </a:cubicBezTo>
                <a:cubicBezTo>
                  <a:pt x="4996101" y="5939739"/>
                  <a:pt x="4986333" y="5920201"/>
                  <a:pt x="4976564" y="5910431"/>
                </a:cubicBezTo>
                <a:cubicBezTo>
                  <a:pt x="4976564" y="5900662"/>
                  <a:pt x="4966795" y="5890893"/>
                  <a:pt x="4966795" y="5881123"/>
                </a:cubicBezTo>
                <a:cubicBezTo>
                  <a:pt x="4947258" y="5861585"/>
                  <a:pt x="4937490" y="5842046"/>
                  <a:pt x="4927721" y="5832277"/>
                </a:cubicBezTo>
                <a:cubicBezTo>
                  <a:pt x="4917952" y="5822508"/>
                  <a:pt x="4908184" y="5822508"/>
                  <a:pt x="4908184" y="5832277"/>
                </a:cubicBezTo>
                <a:cubicBezTo>
                  <a:pt x="4908184" y="5832277"/>
                  <a:pt x="4937490" y="5881123"/>
                  <a:pt x="4966795" y="5929970"/>
                </a:cubicBezTo>
                <a:cubicBezTo>
                  <a:pt x="4976564" y="5939739"/>
                  <a:pt x="4976564" y="5949509"/>
                  <a:pt x="4976564" y="5949509"/>
                </a:cubicBezTo>
                <a:cubicBezTo>
                  <a:pt x="4966795" y="5949509"/>
                  <a:pt x="4947258" y="5920201"/>
                  <a:pt x="4947258" y="5910431"/>
                </a:cubicBezTo>
                <a:cubicBezTo>
                  <a:pt x="4947258" y="5910431"/>
                  <a:pt x="4927721" y="5881123"/>
                  <a:pt x="4917952" y="5871354"/>
                </a:cubicBezTo>
                <a:cubicBezTo>
                  <a:pt x="4908184" y="5851816"/>
                  <a:pt x="4908184" y="5842046"/>
                  <a:pt x="4898415" y="5842046"/>
                </a:cubicBezTo>
                <a:cubicBezTo>
                  <a:pt x="4898415" y="5832277"/>
                  <a:pt x="4898415" y="5832277"/>
                  <a:pt x="4898415" y="5832277"/>
                </a:cubicBezTo>
                <a:cubicBezTo>
                  <a:pt x="4898415" y="5832277"/>
                  <a:pt x="4888646" y="5822508"/>
                  <a:pt x="4878878" y="5812738"/>
                </a:cubicBezTo>
                <a:cubicBezTo>
                  <a:pt x="4869109" y="5793200"/>
                  <a:pt x="4859341" y="5783430"/>
                  <a:pt x="4859341" y="5773661"/>
                </a:cubicBezTo>
                <a:cubicBezTo>
                  <a:pt x="4849572" y="5763892"/>
                  <a:pt x="4849572" y="5744353"/>
                  <a:pt x="4849572" y="5744353"/>
                </a:cubicBezTo>
                <a:cubicBezTo>
                  <a:pt x="4839803" y="5744353"/>
                  <a:pt x="4839803" y="5734584"/>
                  <a:pt x="4830035" y="5724815"/>
                </a:cubicBezTo>
                <a:cubicBezTo>
                  <a:pt x="4830035" y="5715045"/>
                  <a:pt x="4820266" y="5705276"/>
                  <a:pt x="4820266" y="5705276"/>
                </a:cubicBezTo>
                <a:cubicBezTo>
                  <a:pt x="4800729" y="5695507"/>
                  <a:pt x="4790960" y="5695507"/>
                  <a:pt x="4790960" y="5695507"/>
                </a:cubicBezTo>
                <a:cubicBezTo>
                  <a:pt x="4790960" y="5705276"/>
                  <a:pt x="4800729" y="5724815"/>
                  <a:pt x="4839803" y="5802969"/>
                </a:cubicBezTo>
                <a:cubicBezTo>
                  <a:pt x="4859341" y="5832277"/>
                  <a:pt x="4869109" y="5842046"/>
                  <a:pt x="4859341" y="5832277"/>
                </a:cubicBezTo>
                <a:cubicBezTo>
                  <a:pt x="4849572" y="5822508"/>
                  <a:pt x="4849572" y="5822508"/>
                  <a:pt x="4849572" y="5832277"/>
                </a:cubicBezTo>
                <a:cubicBezTo>
                  <a:pt x="4839803" y="5832277"/>
                  <a:pt x="4849572" y="5832277"/>
                  <a:pt x="4849572" y="5842046"/>
                </a:cubicBezTo>
                <a:cubicBezTo>
                  <a:pt x="4859341" y="5851816"/>
                  <a:pt x="4859341" y="5861585"/>
                  <a:pt x="4859341" y="5861585"/>
                </a:cubicBezTo>
                <a:cubicBezTo>
                  <a:pt x="4859341" y="5861585"/>
                  <a:pt x="4869109" y="5871354"/>
                  <a:pt x="4869109" y="5881123"/>
                </a:cubicBezTo>
                <a:cubicBezTo>
                  <a:pt x="4869109" y="5890893"/>
                  <a:pt x="4878878" y="5900662"/>
                  <a:pt x="4878878" y="5900662"/>
                </a:cubicBezTo>
                <a:cubicBezTo>
                  <a:pt x="4878878" y="5910431"/>
                  <a:pt x="4878878" y="5910431"/>
                  <a:pt x="4888646" y="5920201"/>
                </a:cubicBezTo>
                <a:cubicBezTo>
                  <a:pt x="4888646" y="5929970"/>
                  <a:pt x="4898415" y="5939739"/>
                  <a:pt x="4898415" y="5949509"/>
                </a:cubicBezTo>
                <a:cubicBezTo>
                  <a:pt x="4888646" y="5939739"/>
                  <a:pt x="4878878" y="5920201"/>
                  <a:pt x="4878878" y="5920201"/>
                </a:cubicBezTo>
                <a:cubicBezTo>
                  <a:pt x="4869109" y="5910431"/>
                  <a:pt x="4869109" y="5900662"/>
                  <a:pt x="4859341" y="5890893"/>
                </a:cubicBezTo>
                <a:cubicBezTo>
                  <a:pt x="4859341" y="5881123"/>
                  <a:pt x="4849572" y="5871354"/>
                  <a:pt x="4849572" y="5871354"/>
                </a:cubicBezTo>
                <a:cubicBezTo>
                  <a:pt x="4839803" y="5861585"/>
                  <a:pt x="4839803" y="5861585"/>
                  <a:pt x="4839803" y="5851816"/>
                </a:cubicBezTo>
                <a:cubicBezTo>
                  <a:pt x="4830035" y="5842046"/>
                  <a:pt x="4830035" y="5842046"/>
                  <a:pt x="4830035" y="5842046"/>
                </a:cubicBezTo>
                <a:cubicBezTo>
                  <a:pt x="4820266" y="5842046"/>
                  <a:pt x="4820266" y="5842046"/>
                  <a:pt x="4800729" y="5822508"/>
                </a:cubicBezTo>
                <a:cubicBezTo>
                  <a:pt x="4800729" y="5812738"/>
                  <a:pt x="4781192" y="5793200"/>
                  <a:pt x="4781192" y="5783430"/>
                </a:cubicBezTo>
                <a:cubicBezTo>
                  <a:pt x="4761655" y="5763892"/>
                  <a:pt x="4732349" y="5734584"/>
                  <a:pt x="4732349" y="5715045"/>
                </a:cubicBezTo>
                <a:cubicBezTo>
                  <a:pt x="4722580" y="5715045"/>
                  <a:pt x="4722580" y="5705276"/>
                  <a:pt x="4722580" y="5705276"/>
                </a:cubicBezTo>
                <a:cubicBezTo>
                  <a:pt x="4722580" y="5705276"/>
                  <a:pt x="4722580" y="5715045"/>
                  <a:pt x="4722580" y="5724815"/>
                </a:cubicBezTo>
                <a:cubicBezTo>
                  <a:pt x="4722580" y="5724815"/>
                  <a:pt x="4722580" y="5734584"/>
                  <a:pt x="4722580" y="5744353"/>
                </a:cubicBezTo>
                <a:cubicBezTo>
                  <a:pt x="4722580" y="5744353"/>
                  <a:pt x="4712811" y="5734584"/>
                  <a:pt x="4712811" y="5724815"/>
                </a:cubicBezTo>
                <a:cubicBezTo>
                  <a:pt x="4703043" y="5724815"/>
                  <a:pt x="4703043" y="5715045"/>
                  <a:pt x="4703043" y="5724815"/>
                </a:cubicBezTo>
                <a:cubicBezTo>
                  <a:pt x="4703043" y="5724815"/>
                  <a:pt x="4703043" y="5724815"/>
                  <a:pt x="4703043" y="5734584"/>
                </a:cubicBezTo>
                <a:cubicBezTo>
                  <a:pt x="4712811" y="5744353"/>
                  <a:pt x="4712811" y="5744353"/>
                  <a:pt x="4722580" y="5754122"/>
                </a:cubicBezTo>
                <a:cubicBezTo>
                  <a:pt x="4732349" y="5754122"/>
                  <a:pt x="4732349" y="5754122"/>
                  <a:pt x="4732349" y="5763892"/>
                </a:cubicBezTo>
                <a:cubicBezTo>
                  <a:pt x="4732349" y="5763892"/>
                  <a:pt x="4722580" y="5763892"/>
                  <a:pt x="4722580" y="5763892"/>
                </a:cubicBezTo>
                <a:cubicBezTo>
                  <a:pt x="4722580" y="5763892"/>
                  <a:pt x="4722580" y="5773661"/>
                  <a:pt x="4722580" y="5783430"/>
                </a:cubicBezTo>
                <a:cubicBezTo>
                  <a:pt x="4732349" y="5793200"/>
                  <a:pt x="4732349" y="5793200"/>
                  <a:pt x="4732349" y="5802969"/>
                </a:cubicBezTo>
                <a:cubicBezTo>
                  <a:pt x="4732349" y="5822508"/>
                  <a:pt x="4742117" y="5832277"/>
                  <a:pt x="4751886" y="5842046"/>
                </a:cubicBezTo>
                <a:cubicBezTo>
                  <a:pt x="4751886" y="5842046"/>
                  <a:pt x="4761655" y="5851816"/>
                  <a:pt x="4761655" y="5861585"/>
                </a:cubicBezTo>
                <a:cubicBezTo>
                  <a:pt x="4761655" y="5861585"/>
                  <a:pt x="4771423" y="5871354"/>
                  <a:pt x="4771423" y="5871354"/>
                </a:cubicBezTo>
                <a:cubicBezTo>
                  <a:pt x="4781192" y="5881123"/>
                  <a:pt x="4790960" y="5881123"/>
                  <a:pt x="4781192" y="5890893"/>
                </a:cubicBezTo>
                <a:cubicBezTo>
                  <a:pt x="4781192" y="5890893"/>
                  <a:pt x="4781192" y="5890893"/>
                  <a:pt x="4781192" y="5900662"/>
                </a:cubicBezTo>
                <a:cubicBezTo>
                  <a:pt x="4781192" y="5900662"/>
                  <a:pt x="4781192" y="5910431"/>
                  <a:pt x="4781192" y="5910431"/>
                </a:cubicBezTo>
                <a:cubicBezTo>
                  <a:pt x="4771423" y="5910431"/>
                  <a:pt x="4771423" y="5910431"/>
                  <a:pt x="4771423" y="5920201"/>
                </a:cubicBezTo>
                <a:cubicBezTo>
                  <a:pt x="4771423" y="5920201"/>
                  <a:pt x="4771423" y="5920201"/>
                  <a:pt x="4761655" y="5929970"/>
                </a:cubicBezTo>
                <a:cubicBezTo>
                  <a:pt x="4761655" y="5929970"/>
                  <a:pt x="4751886" y="5910431"/>
                  <a:pt x="4742117" y="5890893"/>
                </a:cubicBezTo>
                <a:cubicBezTo>
                  <a:pt x="4742117" y="5871354"/>
                  <a:pt x="4742117" y="5851816"/>
                  <a:pt x="4722580" y="5842046"/>
                </a:cubicBezTo>
                <a:cubicBezTo>
                  <a:pt x="4712811" y="5832277"/>
                  <a:pt x="4703043" y="5812738"/>
                  <a:pt x="4703043" y="5793200"/>
                </a:cubicBezTo>
                <a:cubicBezTo>
                  <a:pt x="4693274" y="5783430"/>
                  <a:pt x="4693274" y="5773661"/>
                  <a:pt x="4683506" y="5773661"/>
                </a:cubicBezTo>
                <a:cubicBezTo>
                  <a:pt x="4683506" y="5773661"/>
                  <a:pt x="4673737" y="5754122"/>
                  <a:pt x="4663968" y="5744353"/>
                </a:cubicBezTo>
                <a:cubicBezTo>
                  <a:pt x="4663968" y="5734584"/>
                  <a:pt x="4654200" y="5724815"/>
                  <a:pt x="4644431" y="5715045"/>
                </a:cubicBezTo>
                <a:cubicBezTo>
                  <a:pt x="4644431" y="5715045"/>
                  <a:pt x="4634663" y="5705276"/>
                  <a:pt x="4624894" y="5695507"/>
                </a:cubicBezTo>
                <a:cubicBezTo>
                  <a:pt x="4615125" y="5675968"/>
                  <a:pt x="4605357" y="5666199"/>
                  <a:pt x="4576051" y="5636891"/>
                </a:cubicBezTo>
                <a:cubicBezTo>
                  <a:pt x="4576051" y="5627121"/>
                  <a:pt x="4566282" y="5607583"/>
                  <a:pt x="4556514" y="5607583"/>
                </a:cubicBezTo>
                <a:cubicBezTo>
                  <a:pt x="4556514" y="5597814"/>
                  <a:pt x="4556514" y="5597814"/>
                  <a:pt x="4546745" y="5588044"/>
                </a:cubicBezTo>
                <a:cubicBezTo>
                  <a:pt x="4536976" y="5588044"/>
                  <a:pt x="4536976" y="5578275"/>
                  <a:pt x="4527208" y="5568506"/>
                </a:cubicBezTo>
                <a:cubicBezTo>
                  <a:pt x="4517439" y="5558736"/>
                  <a:pt x="4517439" y="5548967"/>
                  <a:pt x="4507671" y="5539198"/>
                </a:cubicBezTo>
                <a:cubicBezTo>
                  <a:pt x="4507671" y="5529428"/>
                  <a:pt x="4497902" y="5519659"/>
                  <a:pt x="4497902" y="5519659"/>
                </a:cubicBezTo>
                <a:cubicBezTo>
                  <a:pt x="4497902" y="5509890"/>
                  <a:pt x="4488133" y="5509890"/>
                  <a:pt x="4488133" y="5500120"/>
                </a:cubicBezTo>
                <a:cubicBezTo>
                  <a:pt x="4478365" y="5500120"/>
                  <a:pt x="4478365" y="5500120"/>
                  <a:pt x="4478365" y="5490351"/>
                </a:cubicBezTo>
                <a:cubicBezTo>
                  <a:pt x="4478365" y="5480582"/>
                  <a:pt x="4468596" y="5461043"/>
                  <a:pt x="4458828" y="5451274"/>
                </a:cubicBezTo>
                <a:cubicBezTo>
                  <a:pt x="4449059" y="5441505"/>
                  <a:pt x="4439290" y="5431735"/>
                  <a:pt x="4419753" y="5402427"/>
                </a:cubicBezTo>
                <a:cubicBezTo>
                  <a:pt x="4409985" y="5392658"/>
                  <a:pt x="4409985" y="5382889"/>
                  <a:pt x="4409985" y="5382889"/>
                </a:cubicBezTo>
                <a:cubicBezTo>
                  <a:pt x="4409985" y="5382889"/>
                  <a:pt x="4419753" y="5382889"/>
                  <a:pt x="4419753" y="5382889"/>
                </a:cubicBezTo>
                <a:cubicBezTo>
                  <a:pt x="4419753" y="5382889"/>
                  <a:pt x="4429522" y="5382889"/>
                  <a:pt x="4429522" y="5392658"/>
                </a:cubicBezTo>
                <a:cubicBezTo>
                  <a:pt x="4434406" y="5397543"/>
                  <a:pt x="4444174" y="5407312"/>
                  <a:pt x="4451501" y="5415860"/>
                </a:cubicBezTo>
                <a:lnTo>
                  <a:pt x="4457930" y="5424551"/>
                </a:lnTo>
                <a:lnTo>
                  <a:pt x="4458828" y="5431735"/>
                </a:lnTo>
                <a:cubicBezTo>
                  <a:pt x="4461270" y="5431735"/>
                  <a:pt x="4461270" y="5429903"/>
                  <a:pt x="4459743" y="5427003"/>
                </a:cubicBezTo>
                <a:lnTo>
                  <a:pt x="4457930" y="5424551"/>
                </a:lnTo>
                <a:lnTo>
                  <a:pt x="4457606" y="5421966"/>
                </a:lnTo>
                <a:cubicBezTo>
                  <a:pt x="4456385" y="5419524"/>
                  <a:pt x="4453943" y="5417082"/>
                  <a:pt x="4449059" y="5412197"/>
                </a:cubicBezTo>
                <a:cubicBezTo>
                  <a:pt x="4449059" y="5402427"/>
                  <a:pt x="4429522" y="5363350"/>
                  <a:pt x="4429522" y="5363350"/>
                </a:cubicBezTo>
                <a:cubicBezTo>
                  <a:pt x="4429522" y="5363350"/>
                  <a:pt x="4429522" y="5363350"/>
                  <a:pt x="4419753" y="5353581"/>
                </a:cubicBezTo>
                <a:cubicBezTo>
                  <a:pt x="4419753" y="5353581"/>
                  <a:pt x="4419753" y="5353581"/>
                  <a:pt x="4409985" y="5343812"/>
                </a:cubicBezTo>
                <a:cubicBezTo>
                  <a:pt x="4400216" y="5324273"/>
                  <a:pt x="4400216" y="5324273"/>
                  <a:pt x="4380679" y="5304734"/>
                </a:cubicBezTo>
                <a:cubicBezTo>
                  <a:pt x="4380679" y="5294965"/>
                  <a:pt x="4370910" y="5285196"/>
                  <a:pt x="4361141" y="5275426"/>
                </a:cubicBezTo>
                <a:cubicBezTo>
                  <a:pt x="4361141" y="5275426"/>
                  <a:pt x="4361141" y="5275426"/>
                  <a:pt x="4351373" y="5275426"/>
                </a:cubicBezTo>
                <a:cubicBezTo>
                  <a:pt x="4341604" y="5275426"/>
                  <a:pt x="4331836" y="5275426"/>
                  <a:pt x="4331836" y="5285196"/>
                </a:cubicBezTo>
                <a:cubicBezTo>
                  <a:pt x="4331836" y="5294965"/>
                  <a:pt x="4312298" y="5294965"/>
                  <a:pt x="4312298" y="5294965"/>
                </a:cubicBezTo>
                <a:cubicBezTo>
                  <a:pt x="4312298" y="5294965"/>
                  <a:pt x="4312298" y="5285196"/>
                  <a:pt x="4312298" y="5285196"/>
                </a:cubicBezTo>
                <a:cubicBezTo>
                  <a:pt x="4312298" y="5275426"/>
                  <a:pt x="4302530" y="5255888"/>
                  <a:pt x="4292761" y="5246118"/>
                </a:cubicBezTo>
                <a:cubicBezTo>
                  <a:pt x="4292761" y="5236349"/>
                  <a:pt x="4282993" y="5236349"/>
                  <a:pt x="4273224" y="5236349"/>
                </a:cubicBezTo>
                <a:cubicBezTo>
                  <a:pt x="4273224" y="5236349"/>
                  <a:pt x="4273224" y="5246118"/>
                  <a:pt x="4273224" y="5246118"/>
                </a:cubicBezTo>
                <a:cubicBezTo>
                  <a:pt x="4282993" y="5255888"/>
                  <a:pt x="4282993" y="5265657"/>
                  <a:pt x="4273224" y="5265657"/>
                </a:cubicBezTo>
                <a:cubicBezTo>
                  <a:pt x="4273224" y="5265657"/>
                  <a:pt x="4273224" y="5265657"/>
                  <a:pt x="4273224" y="5255888"/>
                </a:cubicBezTo>
                <a:cubicBezTo>
                  <a:pt x="4263455" y="5246118"/>
                  <a:pt x="4263455" y="5255888"/>
                  <a:pt x="4263455" y="5255888"/>
                </a:cubicBezTo>
                <a:cubicBezTo>
                  <a:pt x="4263455" y="5265657"/>
                  <a:pt x="4263455" y="5265657"/>
                  <a:pt x="4253687" y="5265657"/>
                </a:cubicBezTo>
                <a:cubicBezTo>
                  <a:pt x="4253687" y="5265657"/>
                  <a:pt x="4243918" y="5265657"/>
                  <a:pt x="4243918" y="5265657"/>
                </a:cubicBezTo>
                <a:cubicBezTo>
                  <a:pt x="4243918" y="5255888"/>
                  <a:pt x="4243918" y="5236349"/>
                  <a:pt x="4253687" y="5236349"/>
                </a:cubicBezTo>
                <a:cubicBezTo>
                  <a:pt x="4253687" y="5236349"/>
                  <a:pt x="4263455" y="5216811"/>
                  <a:pt x="4263455" y="5207041"/>
                </a:cubicBezTo>
                <a:cubicBezTo>
                  <a:pt x="4263455" y="5197272"/>
                  <a:pt x="4263455" y="5197272"/>
                  <a:pt x="4253687" y="5187503"/>
                </a:cubicBezTo>
                <a:cubicBezTo>
                  <a:pt x="4243918" y="5167964"/>
                  <a:pt x="4224381" y="5148425"/>
                  <a:pt x="4195075" y="5119117"/>
                </a:cubicBezTo>
                <a:cubicBezTo>
                  <a:pt x="4175538" y="5089810"/>
                  <a:pt x="4156001" y="5070271"/>
                  <a:pt x="4156001" y="5070271"/>
                </a:cubicBezTo>
                <a:cubicBezTo>
                  <a:pt x="4156001" y="5070271"/>
                  <a:pt x="4126695" y="5040963"/>
                  <a:pt x="4126695" y="5040963"/>
                </a:cubicBezTo>
                <a:cubicBezTo>
                  <a:pt x="4126695" y="5040963"/>
                  <a:pt x="4126695" y="5050732"/>
                  <a:pt x="4126695" y="5050732"/>
                </a:cubicBezTo>
                <a:cubicBezTo>
                  <a:pt x="4126695" y="5060502"/>
                  <a:pt x="4126695" y="5060502"/>
                  <a:pt x="4116926" y="5060502"/>
                </a:cubicBezTo>
                <a:cubicBezTo>
                  <a:pt x="4116926" y="5060502"/>
                  <a:pt x="4116926" y="5060502"/>
                  <a:pt x="4116926" y="5070271"/>
                </a:cubicBezTo>
                <a:cubicBezTo>
                  <a:pt x="4116926" y="5080040"/>
                  <a:pt x="4126695" y="5089810"/>
                  <a:pt x="4136463" y="5099579"/>
                </a:cubicBezTo>
                <a:cubicBezTo>
                  <a:pt x="4146232" y="5109348"/>
                  <a:pt x="4156001" y="5119117"/>
                  <a:pt x="4156001" y="5119117"/>
                </a:cubicBezTo>
                <a:cubicBezTo>
                  <a:pt x="4156001" y="5128887"/>
                  <a:pt x="4156001" y="5128887"/>
                  <a:pt x="4156001" y="5128887"/>
                </a:cubicBezTo>
                <a:cubicBezTo>
                  <a:pt x="4165769" y="5138656"/>
                  <a:pt x="4146232" y="5128887"/>
                  <a:pt x="4136463" y="5119117"/>
                </a:cubicBezTo>
                <a:cubicBezTo>
                  <a:pt x="4136463" y="5119117"/>
                  <a:pt x="4126695" y="5119117"/>
                  <a:pt x="4126695" y="5119117"/>
                </a:cubicBezTo>
                <a:cubicBezTo>
                  <a:pt x="4126695" y="5128887"/>
                  <a:pt x="4126695" y="5119117"/>
                  <a:pt x="4116926" y="5099579"/>
                </a:cubicBezTo>
                <a:cubicBezTo>
                  <a:pt x="4107157" y="5089810"/>
                  <a:pt x="4097389" y="5080040"/>
                  <a:pt x="4087620" y="5070271"/>
                </a:cubicBezTo>
                <a:cubicBezTo>
                  <a:pt x="4077852" y="5060502"/>
                  <a:pt x="4068083" y="5040963"/>
                  <a:pt x="4068083" y="5040963"/>
                </a:cubicBezTo>
                <a:cubicBezTo>
                  <a:pt x="4068083" y="5031194"/>
                  <a:pt x="4058314" y="5031194"/>
                  <a:pt x="4058314" y="5021424"/>
                </a:cubicBezTo>
                <a:cubicBezTo>
                  <a:pt x="4048546" y="5021424"/>
                  <a:pt x="4038777" y="5011655"/>
                  <a:pt x="4038777" y="5001886"/>
                </a:cubicBezTo>
                <a:cubicBezTo>
                  <a:pt x="4009471" y="4972578"/>
                  <a:pt x="3980166" y="4933501"/>
                  <a:pt x="3980166" y="4943270"/>
                </a:cubicBezTo>
                <a:cubicBezTo>
                  <a:pt x="3980166" y="4943270"/>
                  <a:pt x="3989934" y="4953039"/>
                  <a:pt x="3999703" y="4962809"/>
                </a:cubicBezTo>
                <a:cubicBezTo>
                  <a:pt x="4009471" y="4972578"/>
                  <a:pt x="4019240" y="4992116"/>
                  <a:pt x="4019240" y="5001886"/>
                </a:cubicBezTo>
                <a:cubicBezTo>
                  <a:pt x="4029009" y="5011655"/>
                  <a:pt x="4038777" y="5021424"/>
                  <a:pt x="4058314" y="5050732"/>
                </a:cubicBezTo>
                <a:cubicBezTo>
                  <a:pt x="4077852" y="5060502"/>
                  <a:pt x="4077852" y="5070271"/>
                  <a:pt x="4087620" y="5089810"/>
                </a:cubicBezTo>
                <a:cubicBezTo>
                  <a:pt x="4087620" y="5089810"/>
                  <a:pt x="4097389" y="5099579"/>
                  <a:pt x="4107157" y="5109348"/>
                </a:cubicBezTo>
                <a:cubicBezTo>
                  <a:pt x="4126695" y="5128887"/>
                  <a:pt x="4136463" y="5148425"/>
                  <a:pt x="4156001" y="5177733"/>
                </a:cubicBezTo>
                <a:cubicBezTo>
                  <a:pt x="4165769" y="5187503"/>
                  <a:pt x="4165769" y="5187503"/>
                  <a:pt x="4175538" y="5197272"/>
                </a:cubicBezTo>
                <a:cubicBezTo>
                  <a:pt x="4185306" y="5207041"/>
                  <a:pt x="4185306" y="5207041"/>
                  <a:pt x="4175538" y="5207041"/>
                </a:cubicBezTo>
                <a:cubicBezTo>
                  <a:pt x="4175538" y="5216811"/>
                  <a:pt x="4185306" y="5226580"/>
                  <a:pt x="4185306" y="5216811"/>
                </a:cubicBezTo>
                <a:cubicBezTo>
                  <a:pt x="4195075" y="5216811"/>
                  <a:pt x="4195075" y="5216811"/>
                  <a:pt x="4195075" y="5226580"/>
                </a:cubicBezTo>
                <a:cubicBezTo>
                  <a:pt x="4204844" y="5236349"/>
                  <a:pt x="4204844" y="5236349"/>
                  <a:pt x="4204844" y="5236349"/>
                </a:cubicBezTo>
                <a:cubicBezTo>
                  <a:pt x="4195075" y="5236349"/>
                  <a:pt x="4195075" y="5236349"/>
                  <a:pt x="4195075" y="5236349"/>
                </a:cubicBezTo>
                <a:cubicBezTo>
                  <a:pt x="4195075" y="5246118"/>
                  <a:pt x="4195075" y="5246118"/>
                  <a:pt x="4195075" y="5246118"/>
                </a:cubicBezTo>
                <a:cubicBezTo>
                  <a:pt x="4195075" y="5246118"/>
                  <a:pt x="4195075" y="5255888"/>
                  <a:pt x="4204844" y="5265657"/>
                </a:cubicBezTo>
                <a:cubicBezTo>
                  <a:pt x="4214612" y="5275426"/>
                  <a:pt x="4224381" y="5285196"/>
                  <a:pt x="4224381" y="5285196"/>
                </a:cubicBezTo>
                <a:cubicBezTo>
                  <a:pt x="4214612" y="5285196"/>
                  <a:pt x="4224381" y="5294965"/>
                  <a:pt x="4224381" y="5304734"/>
                </a:cubicBezTo>
                <a:cubicBezTo>
                  <a:pt x="4234150" y="5304734"/>
                  <a:pt x="4243918" y="5314504"/>
                  <a:pt x="4243918" y="5324273"/>
                </a:cubicBezTo>
                <a:cubicBezTo>
                  <a:pt x="4243918" y="5324273"/>
                  <a:pt x="4243918" y="5334042"/>
                  <a:pt x="4253687" y="5343812"/>
                </a:cubicBezTo>
                <a:cubicBezTo>
                  <a:pt x="4253687" y="5343812"/>
                  <a:pt x="4263455" y="5363350"/>
                  <a:pt x="4273224" y="5373119"/>
                </a:cubicBezTo>
                <a:cubicBezTo>
                  <a:pt x="4312298" y="5421966"/>
                  <a:pt x="4312298" y="5431735"/>
                  <a:pt x="4312298" y="5441505"/>
                </a:cubicBezTo>
                <a:cubicBezTo>
                  <a:pt x="4312298" y="5451274"/>
                  <a:pt x="4312298" y="5451274"/>
                  <a:pt x="4302530" y="5441505"/>
                </a:cubicBezTo>
                <a:cubicBezTo>
                  <a:pt x="4302530" y="5441505"/>
                  <a:pt x="4292761" y="5421966"/>
                  <a:pt x="4292761" y="5412197"/>
                </a:cubicBezTo>
                <a:cubicBezTo>
                  <a:pt x="4292761" y="5412197"/>
                  <a:pt x="4282993" y="5392658"/>
                  <a:pt x="4273224" y="5382889"/>
                </a:cubicBezTo>
                <a:cubicBezTo>
                  <a:pt x="4263455" y="5373119"/>
                  <a:pt x="4253687" y="5363350"/>
                  <a:pt x="4253687" y="5353581"/>
                </a:cubicBezTo>
                <a:cubicBezTo>
                  <a:pt x="4253687" y="5343812"/>
                  <a:pt x="4243918" y="5343812"/>
                  <a:pt x="4243918" y="5353581"/>
                </a:cubicBezTo>
                <a:cubicBezTo>
                  <a:pt x="4243918" y="5363350"/>
                  <a:pt x="4243918" y="5363350"/>
                  <a:pt x="4234150" y="5363350"/>
                </a:cubicBezTo>
                <a:cubicBezTo>
                  <a:pt x="4224381" y="5353581"/>
                  <a:pt x="4214612" y="5353581"/>
                  <a:pt x="4214612" y="5363350"/>
                </a:cubicBezTo>
                <a:cubicBezTo>
                  <a:pt x="4204844" y="5343812"/>
                  <a:pt x="4185306" y="5324273"/>
                  <a:pt x="4185306" y="5324273"/>
                </a:cubicBezTo>
                <a:cubicBezTo>
                  <a:pt x="4185306" y="5314504"/>
                  <a:pt x="4195075" y="5324273"/>
                  <a:pt x="4195075" y="5324273"/>
                </a:cubicBezTo>
                <a:cubicBezTo>
                  <a:pt x="4204844" y="5334042"/>
                  <a:pt x="4204844" y="5324273"/>
                  <a:pt x="4204844" y="5314504"/>
                </a:cubicBezTo>
                <a:cubicBezTo>
                  <a:pt x="4195075" y="5304734"/>
                  <a:pt x="4185306" y="5285196"/>
                  <a:pt x="4185306" y="5285196"/>
                </a:cubicBezTo>
                <a:cubicBezTo>
                  <a:pt x="4175538" y="5285196"/>
                  <a:pt x="4185306" y="5304734"/>
                  <a:pt x="4185306" y="5304734"/>
                </a:cubicBezTo>
                <a:cubicBezTo>
                  <a:pt x="4185306" y="5304734"/>
                  <a:pt x="4185306" y="5304734"/>
                  <a:pt x="4185306" y="5314504"/>
                </a:cubicBezTo>
                <a:cubicBezTo>
                  <a:pt x="4175538" y="5304734"/>
                  <a:pt x="4175538" y="5304734"/>
                  <a:pt x="4175538" y="5304734"/>
                </a:cubicBezTo>
                <a:cubicBezTo>
                  <a:pt x="4175538" y="5294965"/>
                  <a:pt x="4156001" y="5275426"/>
                  <a:pt x="4146232" y="5255888"/>
                </a:cubicBezTo>
                <a:cubicBezTo>
                  <a:pt x="4136463" y="5255888"/>
                  <a:pt x="4126695" y="5246118"/>
                  <a:pt x="4126695" y="5246118"/>
                </a:cubicBezTo>
                <a:cubicBezTo>
                  <a:pt x="4126695" y="5236349"/>
                  <a:pt x="4116926" y="5226580"/>
                  <a:pt x="4116926" y="5226580"/>
                </a:cubicBezTo>
                <a:cubicBezTo>
                  <a:pt x="4077852" y="5187503"/>
                  <a:pt x="4058314" y="5167964"/>
                  <a:pt x="4058314" y="5167964"/>
                </a:cubicBezTo>
                <a:cubicBezTo>
                  <a:pt x="4058314" y="5158195"/>
                  <a:pt x="4058314" y="5158195"/>
                  <a:pt x="4058314" y="5158195"/>
                </a:cubicBezTo>
                <a:cubicBezTo>
                  <a:pt x="4048546" y="5158195"/>
                  <a:pt x="4058314" y="5177733"/>
                  <a:pt x="4068083" y="5187503"/>
                </a:cubicBezTo>
                <a:cubicBezTo>
                  <a:pt x="4058314" y="5187503"/>
                  <a:pt x="4058314" y="5187503"/>
                  <a:pt x="4058314" y="5177733"/>
                </a:cubicBezTo>
                <a:cubicBezTo>
                  <a:pt x="4048546" y="5167964"/>
                  <a:pt x="4019240" y="5128887"/>
                  <a:pt x="4009471" y="5128887"/>
                </a:cubicBezTo>
                <a:cubicBezTo>
                  <a:pt x="4009471" y="5128887"/>
                  <a:pt x="4009471" y="5119117"/>
                  <a:pt x="4009471" y="5119117"/>
                </a:cubicBezTo>
                <a:cubicBezTo>
                  <a:pt x="4009471" y="5119117"/>
                  <a:pt x="3980166" y="5099579"/>
                  <a:pt x="3980166" y="5089810"/>
                </a:cubicBezTo>
                <a:cubicBezTo>
                  <a:pt x="3970397" y="5080040"/>
                  <a:pt x="4019240" y="5119117"/>
                  <a:pt x="4019240" y="5119117"/>
                </a:cubicBezTo>
                <a:cubicBezTo>
                  <a:pt x="4019240" y="5109348"/>
                  <a:pt x="4019240" y="5109348"/>
                  <a:pt x="4019240" y="5109348"/>
                </a:cubicBezTo>
                <a:cubicBezTo>
                  <a:pt x="4009471" y="5099579"/>
                  <a:pt x="4009471" y="5099579"/>
                  <a:pt x="3999703" y="5089810"/>
                </a:cubicBezTo>
                <a:cubicBezTo>
                  <a:pt x="3999703" y="5089810"/>
                  <a:pt x="3989934" y="5080040"/>
                  <a:pt x="3999703" y="5080040"/>
                </a:cubicBezTo>
                <a:cubicBezTo>
                  <a:pt x="3999703" y="5080040"/>
                  <a:pt x="4009471" y="5089810"/>
                  <a:pt x="4019240" y="5099579"/>
                </a:cubicBezTo>
                <a:cubicBezTo>
                  <a:pt x="4029009" y="5109348"/>
                  <a:pt x="4029009" y="5109348"/>
                  <a:pt x="4058314" y="5138656"/>
                </a:cubicBezTo>
                <a:cubicBezTo>
                  <a:pt x="4077852" y="5167964"/>
                  <a:pt x="4077852" y="5177733"/>
                  <a:pt x="4087620" y="5167964"/>
                </a:cubicBezTo>
                <a:cubicBezTo>
                  <a:pt x="4087620" y="5167964"/>
                  <a:pt x="4097389" y="5177733"/>
                  <a:pt x="4136463" y="5216811"/>
                </a:cubicBezTo>
                <a:cubicBezTo>
                  <a:pt x="4165769" y="5255888"/>
                  <a:pt x="4175538" y="5255888"/>
                  <a:pt x="4175538" y="5255888"/>
                </a:cubicBezTo>
                <a:cubicBezTo>
                  <a:pt x="4185306" y="5255888"/>
                  <a:pt x="4185306" y="5246118"/>
                  <a:pt x="4175538" y="5236349"/>
                </a:cubicBezTo>
                <a:cubicBezTo>
                  <a:pt x="4175538" y="5236349"/>
                  <a:pt x="4165769" y="5226580"/>
                  <a:pt x="4165769" y="5226580"/>
                </a:cubicBezTo>
                <a:cubicBezTo>
                  <a:pt x="4165769" y="5226580"/>
                  <a:pt x="4165769" y="5226580"/>
                  <a:pt x="4165769" y="5216811"/>
                </a:cubicBezTo>
                <a:cubicBezTo>
                  <a:pt x="4156001" y="5216811"/>
                  <a:pt x="4156001" y="5216811"/>
                  <a:pt x="4156001" y="5216811"/>
                </a:cubicBezTo>
                <a:cubicBezTo>
                  <a:pt x="4156001" y="5207041"/>
                  <a:pt x="4156001" y="5207041"/>
                  <a:pt x="4146232" y="5197272"/>
                </a:cubicBezTo>
                <a:cubicBezTo>
                  <a:pt x="4136463" y="5187503"/>
                  <a:pt x="4126695" y="5167964"/>
                  <a:pt x="4126695" y="5167964"/>
                </a:cubicBezTo>
                <a:cubicBezTo>
                  <a:pt x="4136463" y="5158195"/>
                  <a:pt x="4126695" y="5158195"/>
                  <a:pt x="4126695" y="5148425"/>
                </a:cubicBezTo>
                <a:cubicBezTo>
                  <a:pt x="4116926" y="5138656"/>
                  <a:pt x="4116926" y="5138656"/>
                  <a:pt x="4116926" y="5138656"/>
                </a:cubicBezTo>
                <a:cubicBezTo>
                  <a:pt x="4107157" y="5138656"/>
                  <a:pt x="4107157" y="5138656"/>
                  <a:pt x="4107157" y="5138656"/>
                </a:cubicBezTo>
                <a:cubicBezTo>
                  <a:pt x="4107157" y="5138656"/>
                  <a:pt x="4097389" y="5119117"/>
                  <a:pt x="4087620" y="5109348"/>
                </a:cubicBezTo>
                <a:cubicBezTo>
                  <a:pt x="4077852" y="5099579"/>
                  <a:pt x="4068083" y="5080040"/>
                  <a:pt x="4058314" y="5070271"/>
                </a:cubicBezTo>
                <a:cubicBezTo>
                  <a:pt x="4048546" y="5060502"/>
                  <a:pt x="4029009" y="5040963"/>
                  <a:pt x="4029009" y="5031194"/>
                </a:cubicBezTo>
                <a:cubicBezTo>
                  <a:pt x="4019240" y="5031194"/>
                  <a:pt x="4019240" y="5021424"/>
                  <a:pt x="4019240" y="5021424"/>
                </a:cubicBezTo>
                <a:cubicBezTo>
                  <a:pt x="4019240" y="5011655"/>
                  <a:pt x="4009471" y="4992116"/>
                  <a:pt x="3989934" y="4972578"/>
                </a:cubicBezTo>
                <a:cubicBezTo>
                  <a:pt x="3980166" y="4962809"/>
                  <a:pt x="3970397" y="4953039"/>
                  <a:pt x="3960628" y="4933501"/>
                </a:cubicBezTo>
                <a:cubicBezTo>
                  <a:pt x="3950860" y="4923731"/>
                  <a:pt x="3941091" y="4913962"/>
                  <a:pt x="3941091" y="4913962"/>
                </a:cubicBezTo>
                <a:cubicBezTo>
                  <a:pt x="3931322" y="4913962"/>
                  <a:pt x="3921554" y="4904193"/>
                  <a:pt x="3911785" y="4884654"/>
                </a:cubicBezTo>
                <a:cubicBezTo>
                  <a:pt x="3882479" y="4855346"/>
                  <a:pt x="3872711" y="4835808"/>
                  <a:pt x="3862942" y="4826038"/>
                </a:cubicBezTo>
                <a:cubicBezTo>
                  <a:pt x="3853174" y="4826038"/>
                  <a:pt x="3833636" y="4796730"/>
                  <a:pt x="3814099" y="4777192"/>
                </a:cubicBezTo>
                <a:cubicBezTo>
                  <a:pt x="3794562" y="4747884"/>
                  <a:pt x="3765256" y="4718576"/>
                  <a:pt x="3765256" y="4708807"/>
                </a:cubicBezTo>
                <a:cubicBezTo>
                  <a:pt x="3755487" y="4699037"/>
                  <a:pt x="3735950" y="4679499"/>
                  <a:pt x="3735950" y="4669729"/>
                </a:cubicBezTo>
                <a:cubicBezTo>
                  <a:pt x="3726182" y="4659960"/>
                  <a:pt x="3716413" y="4650191"/>
                  <a:pt x="3706644" y="4650191"/>
                </a:cubicBezTo>
                <a:cubicBezTo>
                  <a:pt x="3706644" y="4640421"/>
                  <a:pt x="3696876" y="4630652"/>
                  <a:pt x="3696876" y="4630652"/>
                </a:cubicBezTo>
                <a:cubicBezTo>
                  <a:pt x="3687107" y="4611113"/>
                  <a:pt x="3648033" y="4562267"/>
                  <a:pt x="3579652" y="4503651"/>
                </a:cubicBezTo>
                <a:cubicBezTo>
                  <a:pt x="3550347" y="4474343"/>
                  <a:pt x="3521041" y="4435266"/>
                  <a:pt x="3511272" y="4425497"/>
                </a:cubicBezTo>
                <a:cubicBezTo>
                  <a:pt x="3472198" y="4386419"/>
                  <a:pt x="3433123" y="4347342"/>
                  <a:pt x="3433123" y="4347342"/>
                </a:cubicBezTo>
                <a:cubicBezTo>
                  <a:pt x="3433123" y="4347342"/>
                  <a:pt x="3423355" y="4357111"/>
                  <a:pt x="3433123" y="4357111"/>
                </a:cubicBezTo>
                <a:cubicBezTo>
                  <a:pt x="3433123" y="4357111"/>
                  <a:pt x="3433123" y="4366881"/>
                  <a:pt x="3433123" y="4366881"/>
                </a:cubicBezTo>
                <a:cubicBezTo>
                  <a:pt x="3433123" y="4366881"/>
                  <a:pt x="3442892" y="4376650"/>
                  <a:pt x="3452661" y="4386419"/>
                </a:cubicBezTo>
                <a:cubicBezTo>
                  <a:pt x="3462429" y="4405958"/>
                  <a:pt x="3481966" y="4425497"/>
                  <a:pt x="3491735" y="4435266"/>
                </a:cubicBezTo>
                <a:cubicBezTo>
                  <a:pt x="3511272" y="4454805"/>
                  <a:pt x="3521041" y="4474343"/>
                  <a:pt x="3530809" y="4484112"/>
                </a:cubicBezTo>
                <a:cubicBezTo>
                  <a:pt x="3540578" y="4493882"/>
                  <a:pt x="3550347" y="4503651"/>
                  <a:pt x="3550347" y="4513420"/>
                </a:cubicBezTo>
                <a:cubicBezTo>
                  <a:pt x="3560115" y="4513420"/>
                  <a:pt x="3569884" y="4523190"/>
                  <a:pt x="3579652" y="4532959"/>
                </a:cubicBezTo>
                <a:cubicBezTo>
                  <a:pt x="3589421" y="4552498"/>
                  <a:pt x="3599190" y="4572036"/>
                  <a:pt x="3599190" y="4572036"/>
                </a:cubicBezTo>
                <a:cubicBezTo>
                  <a:pt x="3589421" y="4572036"/>
                  <a:pt x="3472198" y="4454805"/>
                  <a:pt x="3452661" y="4425497"/>
                </a:cubicBezTo>
                <a:cubicBezTo>
                  <a:pt x="3442892" y="4415727"/>
                  <a:pt x="3413586" y="4386419"/>
                  <a:pt x="3394049" y="4357111"/>
                </a:cubicBezTo>
                <a:cubicBezTo>
                  <a:pt x="3345206" y="4318034"/>
                  <a:pt x="3315900" y="4278957"/>
                  <a:pt x="3276826" y="4230110"/>
                </a:cubicBezTo>
                <a:cubicBezTo>
                  <a:pt x="3267057" y="4220341"/>
                  <a:pt x="3237751" y="4191033"/>
                  <a:pt x="3188908" y="4132417"/>
                </a:cubicBezTo>
                <a:cubicBezTo>
                  <a:pt x="3169371" y="4112879"/>
                  <a:pt x="3149834" y="4093340"/>
                  <a:pt x="3149834" y="4083571"/>
                </a:cubicBezTo>
                <a:cubicBezTo>
                  <a:pt x="3140065" y="4073801"/>
                  <a:pt x="3120528" y="4064032"/>
                  <a:pt x="3120528" y="4064032"/>
                </a:cubicBezTo>
                <a:cubicBezTo>
                  <a:pt x="3110759" y="4064032"/>
                  <a:pt x="3120528" y="4073801"/>
                  <a:pt x="3140065" y="4093340"/>
                </a:cubicBezTo>
                <a:cubicBezTo>
                  <a:pt x="3149834" y="4103109"/>
                  <a:pt x="3159602" y="4112879"/>
                  <a:pt x="3159602" y="4122648"/>
                </a:cubicBezTo>
                <a:cubicBezTo>
                  <a:pt x="3159602" y="4122648"/>
                  <a:pt x="3159602" y="4122648"/>
                  <a:pt x="3149834" y="4112879"/>
                </a:cubicBezTo>
                <a:cubicBezTo>
                  <a:pt x="3149834" y="4112879"/>
                  <a:pt x="3110759" y="4083571"/>
                  <a:pt x="3100991" y="4073801"/>
                </a:cubicBezTo>
                <a:cubicBezTo>
                  <a:pt x="3100991" y="4064032"/>
                  <a:pt x="3100991" y="4064032"/>
                  <a:pt x="3091222" y="4064032"/>
                </a:cubicBezTo>
                <a:cubicBezTo>
                  <a:pt x="3091222" y="4064032"/>
                  <a:pt x="3081453" y="4054263"/>
                  <a:pt x="3071685" y="4044494"/>
                </a:cubicBezTo>
                <a:cubicBezTo>
                  <a:pt x="3052147" y="4015186"/>
                  <a:pt x="3022842" y="3985878"/>
                  <a:pt x="3013073" y="3985878"/>
                </a:cubicBezTo>
                <a:cubicBezTo>
                  <a:pt x="3013073" y="3995647"/>
                  <a:pt x="3003304" y="3976108"/>
                  <a:pt x="2944693" y="3917493"/>
                </a:cubicBezTo>
                <a:cubicBezTo>
                  <a:pt x="2876312" y="3849107"/>
                  <a:pt x="2817701" y="3790492"/>
                  <a:pt x="2778626" y="3761184"/>
                </a:cubicBezTo>
                <a:cubicBezTo>
                  <a:pt x="2768858" y="3751414"/>
                  <a:pt x="2759089" y="3741645"/>
                  <a:pt x="2759089" y="3731876"/>
                </a:cubicBezTo>
                <a:cubicBezTo>
                  <a:pt x="2749320" y="3731876"/>
                  <a:pt x="2739552" y="3712337"/>
                  <a:pt x="2729783" y="3702568"/>
                </a:cubicBezTo>
                <a:cubicBezTo>
                  <a:pt x="2720015" y="3702568"/>
                  <a:pt x="2710246" y="3692798"/>
                  <a:pt x="2710246" y="3683029"/>
                </a:cubicBezTo>
                <a:cubicBezTo>
                  <a:pt x="2700477" y="3683029"/>
                  <a:pt x="2700477" y="3673260"/>
                  <a:pt x="2700477" y="3673260"/>
                </a:cubicBezTo>
                <a:cubicBezTo>
                  <a:pt x="2690709" y="3673260"/>
                  <a:pt x="2680940" y="3673260"/>
                  <a:pt x="2671172" y="3653721"/>
                </a:cubicBezTo>
                <a:cubicBezTo>
                  <a:pt x="2661403" y="3634183"/>
                  <a:pt x="2651634" y="3624413"/>
                  <a:pt x="2641866" y="3624413"/>
                </a:cubicBezTo>
                <a:cubicBezTo>
                  <a:pt x="2641866" y="3634183"/>
                  <a:pt x="2593023" y="3595105"/>
                  <a:pt x="2593023" y="3585336"/>
                </a:cubicBezTo>
                <a:cubicBezTo>
                  <a:pt x="2593023" y="3585336"/>
                  <a:pt x="2583254" y="3575567"/>
                  <a:pt x="2563717" y="3546259"/>
                </a:cubicBezTo>
                <a:cubicBezTo>
                  <a:pt x="2495337" y="3487643"/>
                  <a:pt x="2475799" y="3468104"/>
                  <a:pt x="2475799" y="3458335"/>
                </a:cubicBezTo>
                <a:cubicBezTo>
                  <a:pt x="2466031" y="3458335"/>
                  <a:pt x="2466031" y="3448566"/>
                  <a:pt x="2466031" y="3448566"/>
                </a:cubicBezTo>
                <a:cubicBezTo>
                  <a:pt x="2456262" y="3448566"/>
                  <a:pt x="2456262" y="3438796"/>
                  <a:pt x="2446494" y="3438796"/>
                </a:cubicBezTo>
                <a:cubicBezTo>
                  <a:pt x="2446494" y="3438796"/>
                  <a:pt x="2446494" y="3438796"/>
                  <a:pt x="2446494" y="3429027"/>
                </a:cubicBezTo>
                <a:cubicBezTo>
                  <a:pt x="2446494" y="3429027"/>
                  <a:pt x="2436725" y="3419258"/>
                  <a:pt x="2426956" y="3419258"/>
                </a:cubicBezTo>
                <a:cubicBezTo>
                  <a:pt x="2417188" y="3409489"/>
                  <a:pt x="2407419" y="3399719"/>
                  <a:pt x="2407419" y="3389950"/>
                </a:cubicBezTo>
                <a:cubicBezTo>
                  <a:pt x="2397650" y="3389950"/>
                  <a:pt x="2387882" y="3380181"/>
                  <a:pt x="2378113" y="3370411"/>
                </a:cubicBezTo>
                <a:cubicBezTo>
                  <a:pt x="2348807" y="3341103"/>
                  <a:pt x="2319502" y="3321565"/>
                  <a:pt x="2319502" y="3321565"/>
                </a:cubicBezTo>
                <a:cubicBezTo>
                  <a:pt x="2319502" y="3321565"/>
                  <a:pt x="2309733" y="3311795"/>
                  <a:pt x="2299964" y="3302026"/>
                </a:cubicBezTo>
                <a:cubicBezTo>
                  <a:pt x="2260890" y="3272718"/>
                  <a:pt x="2221815" y="3233641"/>
                  <a:pt x="2212047" y="3223872"/>
                </a:cubicBezTo>
                <a:cubicBezTo>
                  <a:pt x="2202278" y="3223872"/>
                  <a:pt x="2182741" y="3214102"/>
                  <a:pt x="2182741" y="3204333"/>
                </a:cubicBezTo>
                <a:cubicBezTo>
                  <a:pt x="2163204" y="3194564"/>
                  <a:pt x="2133898" y="3165256"/>
                  <a:pt x="2104592" y="3145717"/>
                </a:cubicBezTo>
                <a:cubicBezTo>
                  <a:pt x="2104592" y="3145717"/>
                  <a:pt x="2085055" y="3126179"/>
                  <a:pt x="2065518" y="3116409"/>
                </a:cubicBezTo>
                <a:cubicBezTo>
                  <a:pt x="2055749" y="3106640"/>
                  <a:pt x="2036212" y="3096871"/>
                  <a:pt x="2026443" y="3087101"/>
                </a:cubicBezTo>
                <a:cubicBezTo>
                  <a:pt x="2016675" y="3077332"/>
                  <a:pt x="1997137" y="3067563"/>
                  <a:pt x="1987369" y="3057793"/>
                </a:cubicBezTo>
                <a:cubicBezTo>
                  <a:pt x="1977600" y="3048024"/>
                  <a:pt x="1958063" y="3038255"/>
                  <a:pt x="1958063" y="3028486"/>
                </a:cubicBezTo>
                <a:cubicBezTo>
                  <a:pt x="1938526" y="3018716"/>
                  <a:pt x="1928757" y="3018716"/>
                  <a:pt x="1918988" y="3008947"/>
                </a:cubicBezTo>
                <a:cubicBezTo>
                  <a:pt x="1909220" y="2999178"/>
                  <a:pt x="1909220" y="2999178"/>
                  <a:pt x="1899451" y="2999178"/>
                </a:cubicBezTo>
                <a:cubicBezTo>
                  <a:pt x="1899451" y="2999178"/>
                  <a:pt x="1899451" y="2989408"/>
                  <a:pt x="1889683" y="2989408"/>
                </a:cubicBezTo>
                <a:cubicBezTo>
                  <a:pt x="1879914" y="2979639"/>
                  <a:pt x="1870145" y="2979639"/>
                  <a:pt x="1870145" y="2979639"/>
                </a:cubicBezTo>
                <a:cubicBezTo>
                  <a:pt x="1870145" y="2979639"/>
                  <a:pt x="1840840" y="2969870"/>
                  <a:pt x="1840840" y="2960100"/>
                </a:cubicBezTo>
                <a:cubicBezTo>
                  <a:pt x="1831071" y="2960100"/>
                  <a:pt x="1821302" y="2950331"/>
                  <a:pt x="1821302" y="2950331"/>
                </a:cubicBezTo>
                <a:cubicBezTo>
                  <a:pt x="1811534" y="2950331"/>
                  <a:pt x="1811534" y="2950331"/>
                  <a:pt x="1801765" y="2940562"/>
                </a:cubicBezTo>
                <a:cubicBezTo>
                  <a:pt x="1801765" y="2940562"/>
                  <a:pt x="1772459" y="2921023"/>
                  <a:pt x="1752922" y="2911254"/>
                </a:cubicBezTo>
                <a:cubicBezTo>
                  <a:pt x="1743154" y="2901485"/>
                  <a:pt x="1733385" y="2901485"/>
                  <a:pt x="1723616" y="2891715"/>
                </a:cubicBezTo>
                <a:cubicBezTo>
                  <a:pt x="1713848" y="2881946"/>
                  <a:pt x="1704079" y="2881946"/>
                  <a:pt x="1694310" y="2872177"/>
                </a:cubicBezTo>
                <a:cubicBezTo>
                  <a:pt x="1694310" y="2862407"/>
                  <a:pt x="1684542" y="2862407"/>
                  <a:pt x="1684542" y="2862407"/>
                </a:cubicBezTo>
                <a:cubicBezTo>
                  <a:pt x="1684542" y="2862407"/>
                  <a:pt x="1674773" y="2862407"/>
                  <a:pt x="1665005" y="2852638"/>
                </a:cubicBezTo>
                <a:cubicBezTo>
                  <a:pt x="1665005" y="2842869"/>
                  <a:pt x="1655236" y="2842869"/>
                  <a:pt x="1655236" y="2842869"/>
                </a:cubicBezTo>
                <a:cubicBezTo>
                  <a:pt x="1655236" y="2842869"/>
                  <a:pt x="1645467" y="2833099"/>
                  <a:pt x="1645467" y="2833099"/>
                </a:cubicBezTo>
                <a:cubicBezTo>
                  <a:pt x="1645467" y="2823330"/>
                  <a:pt x="1635699" y="2823330"/>
                  <a:pt x="1635699" y="2833099"/>
                </a:cubicBezTo>
                <a:cubicBezTo>
                  <a:pt x="1625930" y="2833099"/>
                  <a:pt x="1625930" y="2833099"/>
                  <a:pt x="1625930" y="2823330"/>
                </a:cubicBezTo>
                <a:cubicBezTo>
                  <a:pt x="1616162" y="2823330"/>
                  <a:pt x="1616162" y="2823330"/>
                  <a:pt x="1616162" y="2823330"/>
                </a:cubicBezTo>
                <a:cubicBezTo>
                  <a:pt x="1616162" y="2823330"/>
                  <a:pt x="1606393" y="2823330"/>
                  <a:pt x="1596624" y="2813561"/>
                </a:cubicBezTo>
                <a:cubicBezTo>
                  <a:pt x="1586856" y="2803791"/>
                  <a:pt x="1577087" y="2803791"/>
                  <a:pt x="1586856" y="2803791"/>
                </a:cubicBezTo>
                <a:cubicBezTo>
                  <a:pt x="1586856" y="2794022"/>
                  <a:pt x="1586856" y="2794022"/>
                  <a:pt x="1577087" y="2794022"/>
                </a:cubicBezTo>
                <a:cubicBezTo>
                  <a:pt x="1577087" y="2794022"/>
                  <a:pt x="1567319" y="2794022"/>
                  <a:pt x="1567319" y="2794022"/>
                </a:cubicBezTo>
                <a:cubicBezTo>
                  <a:pt x="1567319" y="2794022"/>
                  <a:pt x="1557550" y="2794022"/>
                  <a:pt x="1557550" y="2794022"/>
                </a:cubicBezTo>
                <a:cubicBezTo>
                  <a:pt x="1557550" y="2794022"/>
                  <a:pt x="1547781" y="2794022"/>
                  <a:pt x="1547781" y="2784253"/>
                </a:cubicBezTo>
                <a:cubicBezTo>
                  <a:pt x="1518475" y="2774484"/>
                  <a:pt x="1498938" y="2754945"/>
                  <a:pt x="1489170" y="2745176"/>
                </a:cubicBezTo>
                <a:cubicBezTo>
                  <a:pt x="1479401" y="2735406"/>
                  <a:pt x="1469632" y="2735406"/>
                  <a:pt x="1459864" y="2735406"/>
                </a:cubicBezTo>
                <a:cubicBezTo>
                  <a:pt x="1459864" y="2735406"/>
                  <a:pt x="1450095" y="2725637"/>
                  <a:pt x="1440327" y="2725637"/>
                </a:cubicBezTo>
                <a:cubicBezTo>
                  <a:pt x="1430558" y="2715868"/>
                  <a:pt x="1420789" y="2715868"/>
                  <a:pt x="1411021" y="2706099"/>
                </a:cubicBezTo>
                <a:cubicBezTo>
                  <a:pt x="1411021" y="2706099"/>
                  <a:pt x="1411021" y="2706099"/>
                  <a:pt x="1401252" y="2706099"/>
                </a:cubicBezTo>
                <a:cubicBezTo>
                  <a:pt x="1401252" y="2706099"/>
                  <a:pt x="1391483" y="2706099"/>
                  <a:pt x="1391483" y="2706099"/>
                </a:cubicBezTo>
                <a:cubicBezTo>
                  <a:pt x="1381715" y="2706099"/>
                  <a:pt x="1371946" y="2696329"/>
                  <a:pt x="1391483" y="2696329"/>
                </a:cubicBezTo>
                <a:cubicBezTo>
                  <a:pt x="1371946" y="2686560"/>
                  <a:pt x="1362178" y="2676790"/>
                  <a:pt x="1352409" y="2676790"/>
                </a:cubicBezTo>
                <a:cubicBezTo>
                  <a:pt x="1352409" y="2676790"/>
                  <a:pt x="1342640" y="2676790"/>
                  <a:pt x="1332872" y="2667021"/>
                </a:cubicBezTo>
                <a:cubicBezTo>
                  <a:pt x="1332872" y="2667021"/>
                  <a:pt x="1323103" y="2657252"/>
                  <a:pt x="1313335" y="2657252"/>
                </a:cubicBezTo>
                <a:cubicBezTo>
                  <a:pt x="1303566" y="2657252"/>
                  <a:pt x="1303566" y="2657252"/>
                  <a:pt x="1303566" y="2657252"/>
                </a:cubicBezTo>
                <a:cubicBezTo>
                  <a:pt x="1293797" y="2647483"/>
                  <a:pt x="1293797" y="2647483"/>
                  <a:pt x="1293797" y="2647483"/>
                </a:cubicBezTo>
                <a:cubicBezTo>
                  <a:pt x="1293797" y="2647483"/>
                  <a:pt x="1284029" y="2647483"/>
                  <a:pt x="1284029" y="2647483"/>
                </a:cubicBezTo>
                <a:cubicBezTo>
                  <a:pt x="1284029" y="2647483"/>
                  <a:pt x="1264492" y="2637713"/>
                  <a:pt x="1254723" y="2637713"/>
                </a:cubicBezTo>
                <a:cubicBezTo>
                  <a:pt x="1244954" y="2637713"/>
                  <a:pt x="1225417" y="2627944"/>
                  <a:pt x="1225417" y="2627944"/>
                </a:cubicBezTo>
                <a:cubicBezTo>
                  <a:pt x="1225417" y="2627944"/>
                  <a:pt x="1225417" y="2627944"/>
                  <a:pt x="1235186" y="2627944"/>
                </a:cubicBezTo>
                <a:cubicBezTo>
                  <a:pt x="1235186" y="2627944"/>
                  <a:pt x="1244954" y="2627944"/>
                  <a:pt x="1244954" y="2627944"/>
                </a:cubicBezTo>
                <a:cubicBezTo>
                  <a:pt x="1244954" y="2627944"/>
                  <a:pt x="1235186" y="2627944"/>
                  <a:pt x="1235186" y="2618175"/>
                </a:cubicBezTo>
                <a:cubicBezTo>
                  <a:pt x="1225417" y="2608406"/>
                  <a:pt x="1225417" y="2608406"/>
                  <a:pt x="1215648" y="2608406"/>
                </a:cubicBezTo>
                <a:cubicBezTo>
                  <a:pt x="1205880" y="2608406"/>
                  <a:pt x="1205880" y="2618175"/>
                  <a:pt x="1205880" y="2618175"/>
                </a:cubicBezTo>
                <a:cubicBezTo>
                  <a:pt x="1215648" y="2618175"/>
                  <a:pt x="1215648" y="2627944"/>
                  <a:pt x="1225417" y="2627944"/>
                </a:cubicBezTo>
                <a:cubicBezTo>
                  <a:pt x="1235186" y="2637713"/>
                  <a:pt x="1244954" y="2647483"/>
                  <a:pt x="1303566" y="2676790"/>
                </a:cubicBezTo>
                <a:cubicBezTo>
                  <a:pt x="1313335" y="2686560"/>
                  <a:pt x="1332872" y="2696329"/>
                  <a:pt x="1342640" y="2706099"/>
                </a:cubicBezTo>
                <a:cubicBezTo>
                  <a:pt x="1352409" y="2706099"/>
                  <a:pt x="1362178" y="2715868"/>
                  <a:pt x="1362178" y="2715868"/>
                </a:cubicBezTo>
                <a:cubicBezTo>
                  <a:pt x="1381715" y="2725637"/>
                  <a:pt x="1391483" y="2735406"/>
                  <a:pt x="1391483" y="2735406"/>
                </a:cubicBezTo>
                <a:cubicBezTo>
                  <a:pt x="1381715" y="2745176"/>
                  <a:pt x="1352409" y="2725637"/>
                  <a:pt x="1352409" y="2715868"/>
                </a:cubicBezTo>
                <a:cubicBezTo>
                  <a:pt x="1342640" y="2715868"/>
                  <a:pt x="1332872" y="2706099"/>
                  <a:pt x="1332872" y="2706099"/>
                </a:cubicBezTo>
                <a:cubicBezTo>
                  <a:pt x="1332872" y="2706099"/>
                  <a:pt x="1323103" y="2706099"/>
                  <a:pt x="1323103" y="2696329"/>
                </a:cubicBezTo>
                <a:cubicBezTo>
                  <a:pt x="1313335" y="2696329"/>
                  <a:pt x="1303566" y="2686560"/>
                  <a:pt x="1303566" y="2686560"/>
                </a:cubicBezTo>
                <a:cubicBezTo>
                  <a:pt x="1293797" y="2686560"/>
                  <a:pt x="1274260" y="2676790"/>
                  <a:pt x="1264492" y="2667021"/>
                </a:cubicBezTo>
                <a:cubicBezTo>
                  <a:pt x="1244954" y="2657252"/>
                  <a:pt x="1235186" y="2647483"/>
                  <a:pt x="1235186" y="2647483"/>
                </a:cubicBezTo>
                <a:cubicBezTo>
                  <a:pt x="1225417" y="2647483"/>
                  <a:pt x="1215648" y="2637713"/>
                  <a:pt x="1205880" y="2627944"/>
                </a:cubicBezTo>
                <a:cubicBezTo>
                  <a:pt x="1196111" y="2618175"/>
                  <a:pt x="1186343" y="2618175"/>
                  <a:pt x="1186343" y="2608406"/>
                </a:cubicBezTo>
                <a:cubicBezTo>
                  <a:pt x="1176574" y="2608406"/>
                  <a:pt x="1176574" y="2608406"/>
                  <a:pt x="1176574" y="2608406"/>
                </a:cubicBezTo>
                <a:cubicBezTo>
                  <a:pt x="1176574" y="2608406"/>
                  <a:pt x="1166805" y="2608406"/>
                  <a:pt x="1166805" y="2598636"/>
                </a:cubicBezTo>
                <a:cubicBezTo>
                  <a:pt x="1157037" y="2598636"/>
                  <a:pt x="1147268" y="2588867"/>
                  <a:pt x="1137500" y="2588867"/>
                </a:cubicBezTo>
                <a:cubicBezTo>
                  <a:pt x="1137500" y="2579097"/>
                  <a:pt x="1108194" y="2569328"/>
                  <a:pt x="1098425" y="2569328"/>
                </a:cubicBezTo>
                <a:cubicBezTo>
                  <a:pt x="1098425" y="2569328"/>
                  <a:pt x="1088657" y="2559559"/>
                  <a:pt x="1078888" y="2559559"/>
                </a:cubicBezTo>
                <a:cubicBezTo>
                  <a:pt x="1049582" y="2549789"/>
                  <a:pt x="1039813" y="2540020"/>
                  <a:pt x="1059351" y="2540020"/>
                </a:cubicBezTo>
                <a:cubicBezTo>
                  <a:pt x="1069119" y="2540020"/>
                  <a:pt x="1098425" y="2549789"/>
                  <a:pt x="1108194" y="2559559"/>
                </a:cubicBezTo>
                <a:cubicBezTo>
                  <a:pt x="1117962" y="2569328"/>
                  <a:pt x="1157037" y="2588867"/>
                  <a:pt x="1157037" y="2588867"/>
                </a:cubicBezTo>
                <a:cubicBezTo>
                  <a:pt x="1166805" y="2579097"/>
                  <a:pt x="1166805" y="2569328"/>
                  <a:pt x="1157037" y="2559559"/>
                </a:cubicBezTo>
                <a:cubicBezTo>
                  <a:pt x="1157037" y="2559559"/>
                  <a:pt x="1147268" y="2549789"/>
                  <a:pt x="1137500" y="2540020"/>
                </a:cubicBezTo>
                <a:cubicBezTo>
                  <a:pt x="1127731" y="2540020"/>
                  <a:pt x="1117962" y="2530251"/>
                  <a:pt x="1117962" y="2530251"/>
                </a:cubicBezTo>
                <a:cubicBezTo>
                  <a:pt x="1108194" y="2530251"/>
                  <a:pt x="1108194" y="2530251"/>
                  <a:pt x="1108194" y="2530251"/>
                </a:cubicBezTo>
                <a:cubicBezTo>
                  <a:pt x="1098425" y="2530251"/>
                  <a:pt x="1098425" y="2520482"/>
                  <a:pt x="1098425" y="2520482"/>
                </a:cubicBezTo>
                <a:cubicBezTo>
                  <a:pt x="1088657" y="2520482"/>
                  <a:pt x="1059351" y="2520482"/>
                  <a:pt x="1039813" y="2520482"/>
                </a:cubicBezTo>
                <a:cubicBezTo>
                  <a:pt x="1000739" y="2510712"/>
                  <a:pt x="990970" y="2510712"/>
                  <a:pt x="961665" y="2510712"/>
                </a:cubicBezTo>
                <a:cubicBezTo>
                  <a:pt x="951896" y="2500943"/>
                  <a:pt x="932359" y="2500943"/>
                  <a:pt x="922590" y="2500943"/>
                </a:cubicBezTo>
                <a:cubicBezTo>
                  <a:pt x="912821" y="2500943"/>
                  <a:pt x="903053" y="2500943"/>
                  <a:pt x="903053" y="2491174"/>
                </a:cubicBezTo>
                <a:lnTo>
                  <a:pt x="893284" y="2491174"/>
                </a:lnTo>
                <a:cubicBezTo>
                  <a:pt x="893284" y="2481404"/>
                  <a:pt x="893284" y="2481404"/>
                  <a:pt x="893284" y="2481404"/>
                </a:cubicBezTo>
                <a:cubicBezTo>
                  <a:pt x="893284" y="2481404"/>
                  <a:pt x="903053" y="2481404"/>
                  <a:pt x="903053" y="2481404"/>
                </a:cubicBezTo>
                <a:cubicBezTo>
                  <a:pt x="903053" y="2481404"/>
                  <a:pt x="912821" y="2491174"/>
                  <a:pt x="922590" y="2491174"/>
                </a:cubicBezTo>
                <a:cubicBezTo>
                  <a:pt x="932359" y="2491174"/>
                  <a:pt x="951896" y="2491174"/>
                  <a:pt x="961665" y="2491174"/>
                </a:cubicBezTo>
                <a:cubicBezTo>
                  <a:pt x="971433" y="2491174"/>
                  <a:pt x="990970" y="2491174"/>
                  <a:pt x="1000739" y="2491174"/>
                </a:cubicBezTo>
                <a:cubicBezTo>
                  <a:pt x="1010508" y="2491174"/>
                  <a:pt x="1020276" y="2491174"/>
                  <a:pt x="1020276" y="2491174"/>
                </a:cubicBezTo>
                <a:cubicBezTo>
                  <a:pt x="1030045" y="2491174"/>
                  <a:pt x="1030045" y="2491174"/>
                  <a:pt x="1039813" y="2500943"/>
                </a:cubicBezTo>
                <a:cubicBezTo>
                  <a:pt x="1039813" y="2500943"/>
                  <a:pt x="1059351" y="2500943"/>
                  <a:pt x="1078888" y="2500943"/>
                </a:cubicBezTo>
                <a:cubicBezTo>
                  <a:pt x="1069119" y="2500943"/>
                  <a:pt x="1059351" y="2491174"/>
                  <a:pt x="1059351" y="2491174"/>
                </a:cubicBezTo>
                <a:cubicBezTo>
                  <a:pt x="1039813" y="2481404"/>
                  <a:pt x="1039813" y="2481404"/>
                  <a:pt x="1039813" y="2471635"/>
                </a:cubicBezTo>
                <a:cubicBezTo>
                  <a:pt x="1039813" y="2471635"/>
                  <a:pt x="1049582" y="2471635"/>
                  <a:pt x="1059351" y="2481404"/>
                </a:cubicBezTo>
                <a:cubicBezTo>
                  <a:pt x="1069119" y="2491174"/>
                  <a:pt x="1078888" y="2491174"/>
                  <a:pt x="1088657" y="2491174"/>
                </a:cubicBezTo>
                <a:cubicBezTo>
                  <a:pt x="1088657" y="2491174"/>
                  <a:pt x="1098425" y="2500943"/>
                  <a:pt x="1108194" y="2500943"/>
                </a:cubicBezTo>
                <a:cubicBezTo>
                  <a:pt x="1127731" y="2500943"/>
                  <a:pt x="1137500" y="2510712"/>
                  <a:pt x="1147268" y="2510712"/>
                </a:cubicBezTo>
                <a:cubicBezTo>
                  <a:pt x="1147268" y="2510712"/>
                  <a:pt x="1147268" y="2510712"/>
                  <a:pt x="1157037" y="2510712"/>
                </a:cubicBezTo>
                <a:cubicBezTo>
                  <a:pt x="1157037" y="2510712"/>
                  <a:pt x="1166805" y="2510712"/>
                  <a:pt x="1176574" y="2510712"/>
                </a:cubicBezTo>
                <a:cubicBezTo>
                  <a:pt x="1176574" y="2510712"/>
                  <a:pt x="1166805" y="2500943"/>
                  <a:pt x="1157037" y="2500943"/>
                </a:cubicBezTo>
                <a:cubicBezTo>
                  <a:pt x="1147268" y="2491174"/>
                  <a:pt x="1137500" y="2491174"/>
                  <a:pt x="1137500" y="2481404"/>
                </a:cubicBezTo>
                <a:cubicBezTo>
                  <a:pt x="1127731" y="2471635"/>
                  <a:pt x="1117962" y="2471635"/>
                  <a:pt x="1108194" y="2471635"/>
                </a:cubicBezTo>
                <a:cubicBezTo>
                  <a:pt x="1098425" y="2461866"/>
                  <a:pt x="1088657" y="2461866"/>
                  <a:pt x="1088657" y="2461866"/>
                </a:cubicBezTo>
                <a:cubicBezTo>
                  <a:pt x="1049582" y="2461866"/>
                  <a:pt x="1049582" y="2461866"/>
                  <a:pt x="1010508" y="2452096"/>
                </a:cubicBezTo>
                <a:cubicBezTo>
                  <a:pt x="1000739" y="2452096"/>
                  <a:pt x="981202" y="2452096"/>
                  <a:pt x="971433" y="2452096"/>
                </a:cubicBezTo>
                <a:cubicBezTo>
                  <a:pt x="961665" y="2452096"/>
                  <a:pt x="951896" y="2452096"/>
                  <a:pt x="942127" y="2452096"/>
                </a:cubicBezTo>
                <a:cubicBezTo>
                  <a:pt x="932359" y="2452096"/>
                  <a:pt x="922590" y="2442327"/>
                  <a:pt x="922590" y="2442327"/>
                </a:cubicBezTo>
                <a:cubicBezTo>
                  <a:pt x="893284" y="2442327"/>
                  <a:pt x="873747" y="2442327"/>
                  <a:pt x="863978" y="2442327"/>
                </a:cubicBezTo>
                <a:cubicBezTo>
                  <a:pt x="854210" y="2442327"/>
                  <a:pt x="844441" y="2442327"/>
                  <a:pt x="844441" y="2442327"/>
                </a:cubicBezTo>
                <a:cubicBezTo>
                  <a:pt x="834673" y="2442327"/>
                  <a:pt x="815135" y="2442327"/>
                  <a:pt x="815135" y="2432558"/>
                </a:cubicBezTo>
                <a:cubicBezTo>
                  <a:pt x="805367" y="2432558"/>
                  <a:pt x="785829" y="2432558"/>
                  <a:pt x="785829" y="2432558"/>
                </a:cubicBezTo>
                <a:cubicBezTo>
                  <a:pt x="785829" y="2432558"/>
                  <a:pt x="776061" y="2432558"/>
                  <a:pt x="766292" y="2432558"/>
                </a:cubicBezTo>
                <a:cubicBezTo>
                  <a:pt x="766292" y="2432558"/>
                  <a:pt x="756524" y="2432558"/>
                  <a:pt x="756524" y="2422788"/>
                </a:cubicBezTo>
                <a:cubicBezTo>
                  <a:pt x="756524" y="2422788"/>
                  <a:pt x="746755" y="2422788"/>
                  <a:pt x="746755" y="2422788"/>
                </a:cubicBezTo>
                <a:cubicBezTo>
                  <a:pt x="746755" y="2422788"/>
                  <a:pt x="736987" y="2422788"/>
                  <a:pt x="736987" y="2422788"/>
                </a:cubicBezTo>
                <a:cubicBezTo>
                  <a:pt x="736987" y="2422788"/>
                  <a:pt x="736987" y="2422788"/>
                  <a:pt x="727218" y="2422788"/>
                </a:cubicBezTo>
                <a:cubicBezTo>
                  <a:pt x="727218" y="2422788"/>
                  <a:pt x="717449" y="2422788"/>
                  <a:pt x="717449" y="2422788"/>
                </a:cubicBezTo>
                <a:cubicBezTo>
                  <a:pt x="717449" y="2422788"/>
                  <a:pt x="707681" y="2422788"/>
                  <a:pt x="697912" y="2413019"/>
                </a:cubicBezTo>
                <a:lnTo>
                  <a:pt x="718060" y="2413019"/>
                </a:lnTo>
                <a:cubicBezTo>
                  <a:pt x="729049" y="2413019"/>
                  <a:pt x="741871" y="2413019"/>
                  <a:pt x="756524" y="2413019"/>
                </a:cubicBezTo>
                <a:cubicBezTo>
                  <a:pt x="766292" y="2413019"/>
                  <a:pt x="785829" y="2422788"/>
                  <a:pt x="795598" y="2422788"/>
                </a:cubicBezTo>
                <a:cubicBezTo>
                  <a:pt x="805367" y="2422788"/>
                  <a:pt x="824904" y="2422788"/>
                  <a:pt x="834673" y="2422788"/>
                </a:cubicBezTo>
                <a:cubicBezTo>
                  <a:pt x="844441" y="2422788"/>
                  <a:pt x="863978" y="2422788"/>
                  <a:pt x="863978" y="2422788"/>
                </a:cubicBezTo>
                <a:cubicBezTo>
                  <a:pt x="863978" y="2422788"/>
                  <a:pt x="873747" y="2422788"/>
                  <a:pt x="873747" y="2422788"/>
                </a:cubicBezTo>
                <a:cubicBezTo>
                  <a:pt x="883516" y="2422788"/>
                  <a:pt x="893284" y="2432558"/>
                  <a:pt x="912821" y="2432558"/>
                </a:cubicBezTo>
                <a:cubicBezTo>
                  <a:pt x="922590" y="2432558"/>
                  <a:pt x="942127" y="2432558"/>
                  <a:pt x="961665" y="2432558"/>
                </a:cubicBezTo>
                <a:cubicBezTo>
                  <a:pt x="971433" y="2432558"/>
                  <a:pt x="990970" y="2432558"/>
                  <a:pt x="990970" y="2432558"/>
                </a:cubicBezTo>
                <a:cubicBezTo>
                  <a:pt x="1000739" y="2432558"/>
                  <a:pt x="1049582" y="2432558"/>
                  <a:pt x="1059351" y="2442327"/>
                </a:cubicBezTo>
                <a:cubicBezTo>
                  <a:pt x="1059351" y="2442327"/>
                  <a:pt x="1059351" y="2442327"/>
                  <a:pt x="1069119" y="2442327"/>
                </a:cubicBezTo>
                <a:cubicBezTo>
                  <a:pt x="1069119" y="2442327"/>
                  <a:pt x="1069119" y="2432558"/>
                  <a:pt x="1069119" y="2432558"/>
                </a:cubicBezTo>
                <a:cubicBezTo>
                  <a:pt x="1078888" y="2432558"/>
                  <a:pt x="1078888" y="2442327"/>
                  <a:pt x="1078888" y="2442327"/>
                </a:cubicBezTo>
                <a:cubicBezTo>
                  <a:pt x="1078888" y="2442327"/>
                  <a:pt x="1078888" y="2442327"/>
                  <a:pt x="1088657" y="2442327"/>
                </a:cubicBezTo>
                <a:cubicBezTo>
                  <a:pt x="1098425" y="2442327"/>
                  <a:pt x="1117962" y="2442327"/>
                  <a:pt x="1117962" y="2442327"/>
                </a:cubicBezTo>
                <a:cubicBezTo>
                  <a:pt x="1117962" y="2442327"/>
                  <a:pt x="1137500" y="2452096"/>
                  <a:pt x="1147268" y="2452096"/>
                </a:cubicBezTo>
                <a:cubicBezTo>
                  <a:pt x="1147268" y="2442327"/>
                  <a:pt x="1147268" y="2442327"/>
                  <a:pt x="1147268" y="2442327"/>
                </a:cubicBezTo>
                <a:cubicBezTo>
                  <a:pt x="1157037" y="2442327"/>
                  <a:pt x="1157037" y="2442327"/>
                  <a:pt x="1147268" y="2432558"/>
                </a:cubicBezTo>
                <a:cubicBezTo>
                  <a:pt x="1137500" y="2432558"/>
                  <a:pt x="1127731" y="2422788"/>
                  <a:pt x="1137500" y="2413019"/>
                </a:cubicBezTo>
                <a:cubicBezTo>
                  <a:pt x="1127731" y="2413019"/>
                  <a:pt x="1117962" y="2413019"/>
                  <a:pt x="1117962" y="2413019"/>
                </a:cubicBezTo>
                <a:cubicBezTo>
                  <a:pt x="1108194" y="2413019"/>
                  <a:pt x="1098425" y="2413019"/>
                  <a:pt x="1088657" y="2413019"/>
                </a:cubicBezTo>
                <a:cubicBezTo>
                  <a:pt x="1069119" y="2403250"/>
                  <a:pt x="1069119" y="2403250"/>
                  <a:pt x="1069119" y="2403250"/>
                </a:cubicBezTo>
                <a:cubicBezTo>
                  <a:pt x="1069119" y="2393481"/>
                  <a:pt x="1069119" y="2393481"/>
                  <a:pt x="1069119" y="2393481"/>
                </a:cubicBezTo>
                <a:cubicBezTo>
                  <a:pt x="1069119" y="2393481"/>
                  <a:pt x="1069119" y="2393481"/>
                  <a:pt x="1078888" y="2393481"/>
                </a:cubicBezTo>
                <a:cubicBezTo>
                  <a:pt x="1078888" y="2393481"/>
                  <a:pt x="1078888" y="2393481"/>
                  <a:pt x="1078888" y="2403250"/>
                </a:cubicBezTo>
                <a:cubicBezTo>
                  <a:pt x="1078888" y="2403250"/>
                  <a:pt x="1078888" y="2403250"/>
                  <a:pt x="1098425" y="2403250"/>
                </a:cubicBezTo>
                <a:cubicBezTo>
                  <a:pt x="1103309" y="2403250"/>
                  <a:pt x="1105752" y="2403250"/>
                  <a:pt x="1108194" y="2403250"/>
                </a:cubicBezTo>
                <a:cubicBezTo>
                  <a:pt x="1108194" y="2403250"/>
                  <a:pt x="1108194" y="2393481"/>
                  <a:pt x="1098425" y="2393481"/>
                </a:cubicBezTo>
                <a:cubicBezTo>
                  <a:pt x="1098425" y="2393481"/>
                  <a:pt x="1088657" y="2393481"/>
                  <a:pt x="1078888" y="2383711"/>
                </a:cubicBezTo>
                <a:cubicBezTo>
                  <a:pt x="1069119" y="2383711"/>
                  <a:pt x="1069119" y="2383711"/>
                  <a:pt x="1069119" y="2383711"/>
                </a:cubicBezTo>
                <a:cubicBezTo>
                  <a:pt x="1059351" y="2383711"/>
                  <a:pt x="1049582" y="2383711"/>
                  <a:pt x="1049582" y="2383711"/>
                </a:cubicBezTo>
                <a:cubicBezTo>
                  <a:pt x="1039813" y="2383711"/>
                  <a:pt x="1039813" y="2383711"/>
                  <a:pt x="1039813" y="2383711"/>
                </a:cubicBezTo>
                <a:cubicBezTo>
                  <a:pt x="1039813" y="2383711"/>
                  <a:pt x="1020276" y="2383711"/>
                  <a:pt x="1010508" y="2383711"/>
                </a:cubicBezTo>
                <a:cubicBezTo>
                  <a:pt x="990970" y="2373942"/>
                  <a:pt x="971433" y="2373942"/>
                  <a:pt x="942127" y="2373942"/>
                </a:cubicBezTo>
                <a:cubicBezTo>
                  <a:pt x="903053" y="2373942"/>
                  <a:pt x="903053" y="2373942"/>
                  <a:pt x="912821" y="2364173"/>
                </a:cubicBezTo>
                <a:cubicBezTo>
                  <a:pt x="903053" y="2364173"/>
                  <a:pt x="903053" y="2364173"/>
                  <a:pt x="893284" y="2364173"/>
                </a:cubicBezTo>
                <a:cubicBezTo>
                  <a:pt x="893284" y="2364173"/>
                  <a:pt x="893284" y="2364173"/>
                  <a:pt x="883516" y="2364173"/>
                </a:cubicBezTo>
                <a:cubicBezTo>
                  <a:pt x="883516" y="2364173"/>
                  <a:pt x="873747" y="2354403"/>
                  <a:pt x="873747" y="2354403"/>
                </a:cubicBezTo>
                <a:cubicBezTo>
                  <a:pt x="912821" y="2354403"/>
                  <a:pt x="932359" y="2354403"/>
                  <a:pt x="942127" y="2354403"/>
                </a:cubicBezTo>
                <a:cubicBezTo>
                  <a:pt x="942127" y="2354403"/>
                  <a:pt x="951896" y="2354403"/>
                  <a:pt x="951896" y="2354403"/>
                </a:cubicBezTo>
                <a:cubicBezTo>
                  <a:pt x="971433" y="2354403"/>
                  <a:pt x="988528" y="2354403"/>
                  <a:pt x="1000739" y="2354403"/>
                </a:cubicBezTo>
                <a:lnTo>
                  <a:pt x="1010508" y="2354403"/>
                </a:lnTo>
                <a:cubicBezTo>
                  <a:pt x="1000739" y="2344634"/>
                  <a:pt x="990970" y="2344634"/>
                  <a:pt x="990970" y="2344634"/>
                </a:cubicBezTo>
                <a:cubicBezTo>
                  <a:pt x="1000739" y="2344634"/>
                  <a:pt x="1000739" y="2344634"/>
                  <a:pt x="1000739" y="2344634"/>
                </a:cubicBezTo>
                <a:cubicBezTo>
                  <a:pt x="990970" y="2344634"/>
                  <a:pt x="990970" y="2334865"/>
                  <a:pt x="981202" y="2334865"/>
                </a:cubicBezTo>
                <a:cubicBezTo>
                  <a:pt x="981202" y="2325095"/>
                  <a:pt x="971433" y="2325095"/>
                  <a:pt x="971433" y="2325095"/>
                </a:cubicBezTo>
                <a:cubicBezTo>
                  <a:pt x="961665" y="2315326"/>
                  <a:pt x="961665" y="2315326"/>
                  <a:pt x="951896" y="2315326"/>
                </a:cubicBezTo>
                <a:lnTo>
                  <a:pt x="961665" y="2315326"/>
                </a:lnTo>
                <a:cubicBezTo>
                  <a:pt x="961665" y="2315326"/>
                  <a:pt x="961665" y="2315326"/>
                  <a:pt x="971433" y="2315326"/>
                </a:cubicBezTo>
                <a:cubicBezTo>
                  <a:pt x="971433" y="2315326"/>
                  <a:pt x="971433" y="2315326"/>
                  <a:pt x="981202" y="2315326"/>
                </a:cubicBezTo>
                <a:cubicBezTo>
                  <a:pt x="981202" y="2315326"/>
                  <a:pt x="981202" y="2315326"/>
                  <a:pt x="990970" y="2315326"/>
                </a:cubicBezTo>
                <a:cubicBezTo>
                  <a:pt x="1000739" y="2315326"/>
                  <a:pt x="1030045" y="2315326"/>
                  <a:pt x="1030045" y="2315326"/>
                </a:cubicBezTo>
                <a:cubicBezTo>
                  <a:pt x="1039813" y="2315326"/>
                  <a:pt x="1039813" y="2315326"/>
                  <a:pt x="1039813" y="2315326"/>
                </a:cubicBezTo>
                <a:cubicBezTo>
                  <a:pt x="1039813" y="2315326"/>
                  <a:pt x="1039813" y="2315326"/>
                  <a:pt x="1049582" y="2315326"/>
                </a:cubicBezTo>
                <a:cubicBezTo>
                  <a:pt x="1049582" y="2325095"/>
                  <a:pt x="1059351" y="2325095"/>
                  <a:pt x="1069119" y="2325095"/>
                </a:cubicBezTo>
                <a:cubicBezTo>
                  <a:pt x="1069119" y="2325095"/>
                  <a:pt x="1059351" y="2325095"/>
                  <a:pt x="1059351" y="2325095"/>
                </a:cubicBezTo>
                <a:cubicBezTo>
                  <a:pt x="1049582" y="2325095"/>
                  <a:pt x="1010508" y="2325095"/>
                  <a:pt x="1000739" y="2325095"/>
                </a:cubicBezTo>
                <a:cubicBezTo>
                  <a:pt x="1000739" y="2325095"/>
                  <a:pt x="990970" y="2325095"/>
                  <a:pt x="990970" y="2325095"/>
                </a:cubicBezTo>
                <a:cubicBezTo>
                  <a:pt x="990970" y="2315326"/>
                  <a:pt x="981202" y="2315326"/>
                  <a:pt x="981202" y="2325095"/>
                </a:cubicBezTo>
                <a:cubicBezTo>
                  <a:pt x="981202" y="2325095"/>
                  <a:pt x="990970" y="2325095"/>
                  <a:pt x="990970" y="2325095"/>
                </a:cubicBezTo>
                <a:cubicBezTo>
                  <a:pt x="1010508" y="2334865"/>
                  <a:pt x="1039813" y="2354403"/>
                  <a:pt x="1049582" y="2364173"/>
                </a:cubicBezTo>
                <a:cubicBezTo>
                  <a:pt x="1059351" y="2364173"/>
                  <a:pt x="1059351" y="2364173"/>
                  <a:pt x="1059351" y="2354403"/>
                </a:cubicBezTo>
                <a:cubicBezTo>
                  <a:pt x="1059351" y="2354403"/>
                  <a:pt x="1069119" y="2354403"/>
                  <a:pt x="1078888" y="2354403"/>
                </a:cubicBezTo>
                <a:cubicBezTo>
                  <a:pt x="1078888" y="2364173"/>
                  <a:pt x="1088657" y="2364173"/>
                  <a:pt x="1098425" y="2364173"/>
                </a:cubicBezTo>
                <a:cubicBezTo>
                  <a:pt x="1098425" y="2364173"/>
                  <a:pt x="1108194" y="2364173"/>
                  <a:pt x="1117962" y="2364173"/>
                </a:cubicBezTo>
                <a:cubicBezTo>
                  <a:pt x="1108194" y="2354403"/>
                  <a:pt x="1108194" y="2354403"/>
                  <a:pt x="1108194" y="2344634"/>
                </a:cubicBezTo>
                <a:cubicBezTo>
                  <a:pt x="1108194" y="2325095"/>
                  <a:pt x="1108194" y="2325095"/>
                  <a:pt x="1137500" y="2344634"/>
                </a:cubicBezTo>
                <a:cubicBezTo>
                  <a:pt x="1137500" y="2344634"/>
                  <a:pt x="1137500" y="2354403"/>
                  <a:pt x="1147268" y="2354403"/>
                </a:cubicBezTo>
                <a:cubicBezTo>
                  <a:pt x="1157037" y="2354403"/>
                  <a:pt x="1157037" y="2354403"/>
                  <a:pt x="1166805" y="2354403"/>
                </a:cubicBezTo>
                <a:cubicBezTo>
                  <a:pt x="1166805" y="2354403"/>
                  <a:pt x="1176574" y="2354403"/>
                  <a:pt x="1176574" y="2354403"/>
                </a:cubicBezTo>
                <a:cubicBezTo>
                  <a:pt x="1186343" y="2364173"/>
                  <a:pt x="1205880" y="2364173"/>
                  <a:pt x="1205880" y="2364173"/>
                </a:cubicBezTo>
                <a:cubicBezTo>
                  <a:pt x="1205880" y="2364173"/>
                  <a:pt x="1215648" y="2364173"/>
                  <a:pt x="1215648" y="2364173"/>
                </a:cubicBezTo>
                <a:cubicBezTo>
                  <a:pt x="1225417" y="2364173"/>
                  <a:pt x="1235186" y="2364173"/>
                  <a:pt x="1244954" y="2364173"/>
                </a:cubicBezTo>
                <a:cubicBezTo>
                  <a:pt x="1254723" y="2364173"/>
                  <a:pt x="1254723" y="2364173"/>
                  <a:pt x="1244954" y="2354403"/>
                </a:cubicBezTo>
                <a:cubicBezTo>
                  <a:pt x="1244954" y="2354403"/>
                  <a:pt x="1244954" y="2344634"/>
                  <a:pt x="1235186" y="2344634"/>
                </a:cubicBezTo>
                <a:cubicBezTo>
                  <a:pt x="1225417" y="2344634"/>
                  <a:pt x="1215648" y="2344634"/>
                  <a:pt x="1215648" y="2334865"/>
                </a:cubicBezTo>
                <a:cubicBezTo>
                  <a:pt x="1205880" y="2334865"/>
                  <a:pt x="1196111" y="2334865"/>
                  <a:pt x="1186343" y="2334865"/>
                </a:cubicBezTo>
                <a:cubicBezTo>
                  <a:pt x="1176574" y="2334865"/>
                  <a:pt x="1166805" y="2334865"/>
                  <a:pt x="1166805" y="2334865"/>
                </a:cubicBezTo>
                <a:cubicBezTo>
                  <a:pt x="1166805" y="2334865"/>
                  <a:pt x="1157037" y="2334865"/>
                  <a:pt x="1147268" y="2334865"/>
                </a:cubicBezTo>
                <a:cubicBezTo>
                  <a:pt x="1127731" y="2334865"/>
                  <a:pt x="1098425" y="2325095"/>
                  <a:pt x="1098425" y="2325095"/>
                </a:cubicBezTo>
                <a:cubicBezTo>
                  <a:pt x="1108194" y="2325095"/>
                  <a:pt x="1108194" y="2325095"/>
                  <a:pt x="1108194" y="2325095"/>
                </a:cubicBezTo>
                <a:cubicBezTo>
                  <a:pt x="1108194" y="2325095"/>
                  <a:pt x="1108194" y="2315326"/>
                  <a:pt x="1098425" y="2315326"/>
                </a:cubicBezTo>
                <a:cubicBezTo>
                  <a:pt x="1098425" y="2315326"/>
                  <a:pt x="1088657" y="2315326"/>
                  <a:pt x="1088657" y="2315326"/>
                </a:cubicBezTo>
                <a:cubicBezTo>
                  <a:pt x="1088657" y="2315326"/>
                  <a:pt x="1078888" y="2315326"/>
                  <a:pt x="1078888" y="2315326"/>
                </a:cubicBezTo>
                <a:cubicBezTo>
                  <a:pt x="1078888" y="2315326"/>
                  <a:pt x="1088657" y="2325095"/>
                  <a:pt x="1088657" y="2325095"/>
                </a:cubicBezTo>
                <a:cubicBezTo>
                  <a:pt x="1088657" y="2325095"/>
                  <a:pt x="1069119" y="2325095"/>
                  <a:pt x="1059351" y="2315326"/>
                </a:cubicBezTo>
                <a:cubicBezTo>
                  <a:pt x="1049582" y="2305557"/>
                  <a:pt x="1039813" y="2305557"/>
                  <a:pt x="1039813" y="2305557"/>
                </a:cubicBezTo>
                <a:cubicBezTo>
                  <a:pt x="1030045" y="2305557"/>
                  <a:pt x="1010508" y="2305557"/>
                  <a:pt x="1000739" y="2305557"/>
                </a:cubicBezTo>
                <a:cubicBezTo>
                  <a:pt x="990970" y="2295788"/>
                  <a:pt x="981202" y="2295788"/>
                  <a:pt x="971433" y="2295788"/>
                </a:cubicBezTo>
                <a:cubicBezTo>
                  <a:pt x="971433" y="2295788"/>
                  <a:pt x="961665" y="2295788"/>
                  <a:pt x="951896" y="2295788"/>
                </a:cubicBezTo>
                <a:cubicBezTo>
                  <a:pt x="951896" y="2295788"/>
                  <a:pt x="932359" y="2295788"/>
                  <a:pt x="922590" y="2295788"/>
                </a:cubicBezTo>
                <a:cubicBezTo>
                  <a:pt x="893284" y="2286018"/>
                  <a:pt x="854210" y="2286018"/>
                  <a:pt x="854210" y="2286018"/>
                </a:cubicBezTo>
                <a:cubicBezTo>
                  <a:pt x="854210" y="2286018"/>
                  <a:pt x="844441" y="2286018"/>
                  <a:pt x="834673" y="2286018"/>
                </a:cubicBezTo>
                <a:cubicBezTo>
                  <a:pt x="824904" y="2286018"/>
                  <a:pt x="805367" y="2276249"/>
                  <a:pt x="805367" y="2276249"/>
                </a:cubicBezTo>
                <a:cubicBezTo>
                  <a:pt x="795598" y="2276249"/>
                  <a:pt x="785829" y="2276249"/>
                  <a:pt x="785829" y="2276249"/>
                </a:cubicBezTo>
                <a:cubicBezTo>
                  <a:pt x="766292" y="2276249"/>
                  <a:pt x="756524" y="2276249"/>
                  <a:pt x="746755" y="2276249"/>
                </a:cubicBezTo>
                <a:cubicBezTo>
                  <a:pt x="746755" y="2276249"/>
                  <a:pt x="746755" y="2276249"/>
                  <a:pt x="736987" y="2276249"/>
                </a:cubicBezTo>
                <a:cubicBezTo>
                  <a:pt x="736987" y="2276249"/>
                  <a:pt x="727218" y="2276249"/>
                  <a:pt x="727218" y="2276249"/>
                </a:cubicBezTo>
                <a:cubicBezTo>
                  <a:pt x="727218" y="2276249"/>
                  <a:pt x="717449" y="2276249"/>
                  <a:pt x="717449" y="2276249"/>
                </a:cubicBezTo>
                <a:cubicBezTo>
                  <a:pt x="707681" y="2276249"/>
                  <a:pt x="697912" y="2276249"/>
                  <a:pt x="678375" y="2266480"/>
                </a:cubicBezTo>
                <a:cubicBezTo>
                  <a:pt x="658838" y="2266480"/>
                  <a:pt x="649069" y="2266480"/>
                  <a:pt x="639300" y="2266480"/>
                </a:cubicBezTo>
                <a:cubicBezTo>
                  <a:pt x="639300" y="2266480"/>
                  <a:pt x="600226" y="2266480"/>
                  <a:pt x="570920" y="2266480"/>
                </a:cubicBezTo>
                <a:cubicBezTo>
                  <a:pt x="561152" y="2256710"/>
                  <a:pt x="551383" y="2256710"/>
                  <a:pt x="551383" y="2256710"/>
                </a:cubicBezTo>
                <a:cubicBezTo>
                  <a:pt x="541614" y="2256710"/>
                  <a:pt x="531846" y="2256710"/>
                  <a:pt x="531846" y="2256710"/>
                </a:cubicBezTo>
                <a:cubicBezTo>
                  <a:pt x="522077" y="2266480"/>
                  <a:pt x="483003" y="2256710"/>
                  <a:pt x="473234" y="2256710"/>
                </a:cubicBezTo>
                <a:cubicBezTo>
                  <a:pt x="463465" y="2256710"/>
                  <a:pt x="443928" y="2246941"/>
                  <a:pt x="443928" y="2256710"/>
                </a:cubicBezTo>
                <a:cubicBezTo>
                  <a:pt x="439044" y="2256710"/>
                  <a:pt x="439044" y="2256710"/>
                  <a:pt x="440265" y="2256710"/>
                </a:cubicBezTo>
                <a:lnTo>
                  <a:pt x="434160" y="2256710"/>
                </a:lnTo>
                <a:cubicBezTo>
                  <a:pt x="424391" y="2256710"/>
                  <a:pt x="424391" y="2256710"/>
                  <a:pt x="424391" y="2256710"/>
                </a:cubicBezTo>
                <a:cubicBezTo>
                  <a:pt x="424391" y="2256710"/>
                  <a:pt x="424391" y="2246941"/>
                  <a:pt x="414622" y="2246941"/>
                </a:cubicBezTo>
                <a:cubicBezTo>
                  <a:pt x="414622" y="2246941"/>
                  <a:pt x="453697" y="2246941"/>
                  <a:pt x="463465" y="2246941"/>
                </a:cubicBezTo>
                <a:cubicBezTo>
                  <a:pt x="463465" y="2246941"/>
                  <a:pt x="492771" y="2246941"/>
                  <a:pt x="502540" y="2246941"/>
                </a:cubicBezTo>
                <a:cubicBezTo>
                  <a:pt x="502540" y="2246941"/>
                  <a:pt x="512308" y="2246941"/>
                  <a:pt x="512308" y="2246941"/>
                </a:cubicBezTo>
                <a:cubicBezTo>
                  <a:pt x="512308" y="2246941"/>
                  <a:pt x="522077" y="2246941"/>
                  <a:pt x="522077" y="2246941"/>
                </a:cubicBezTo>
                <a:cubicBezTo>
                  <a:pt x="531846" y="2246941"/>
                  <a:pt x="541614" y="2246941"/>
                  <a:pt x="541614" y="2246941"/>
                </a:cubicBezTo>
                <a:cubicBezTo>
                  <a:pt x="551383" y="2246941"/>
                  <a:pt x="561152" y="2246941"/>
                  <a:pt x="561152" y="2237172"/>
                </a:cubicBezTo>
                <a:cubicBezTo>
                  <a:pt x="551383" y="2237172"/>
                  <a:pt x="541614" y="2237172"/>
                  <a:pt x="541614" y="2237172"/>
                </a:cubicBezTo>
                <a:cubicBezTo>
                  <a:pt x="531846" y="2237172"/>
                  <a:pt x="522077" y="2227402"/>
                  <a:pt x="512308" y="2227402"/>
                </a:cubicBezTo>
                <a:cubicBezTo>
                  <a:pt x="512308" y="2227402"/>
                  <a:pt x="502540" y="2227402"/>
                  <a:pt x="492771" y="2227402"/>
                </a:cubicBezTo>
                <a:cubicBezTo>
                  <a:pt x="483003" y="2227402"/>
                  <a:pt x="453697" y="2227402"/>
                  <a:pt x="443928" y="2227402"/>
                </a:cubicBezTo>
                <a:cubicBezTo>
                  <a:pt x="434160" y="2227402"/>
                  <a:pt x="414622" y="2227402"/>
                  <a:pt x="404854" y="2227402"/>
                </a:cubicBezTo>
                <a:cubicBezTo>
                  <a:pt x="365779" y="2227402"/>
                  <a:pt x="336473" y="2227402"/>
                  <a:pt x="326705" y="2227402"/>
                </a:cubicBezTo>
                <a:cubicBezTo>
                  <a:pt x="326705" y="2227402"/>
                  <a:pt x="326705" y="2227402"/>
                  <a:pt x="316936" y="2227402"/>
                </a:cubicBezTo>
                <a:cubicBezTo>
                  <a:pt x="307168" y="2227402"/>
                  <a:pt x="307168" y="2227402"/>
                  <a:pt x="307168" y="2227402"/>
                </a:cubicBezTo>
                <a:cubicBezTo>
                  <a:pt x="297399" y="2227402"/>
                  <a:pt x="297399" y="2227402"/>
                  <a:pt x="297399" y="2227402"/>
                </a:cubicBezTo>
                <a:cubicBezTo>
                  <a:pt x="287630" y="2227402"/>
                  <a:pt x="297399" y="2217633"/>
                  <a:pt x="316936" y="2217633"/>
                </a:cubicBezTo>
                <a:cubicBezTo>
                  <a:pt x="316936" y="2217633"/>
                  <a:pt x="326705" y="2217633"/>
                  <a:pt x="336473" y="2217633"/>
                </a:cubicBezTo>
                <a:cubicBezTo>
                  <a:pt x="356011" y="2217633"/>
                  <a:pt x="365779" y="2217633"/>
                  <a:pt x="385317" y="2217633"/>
                </a:cubicBezTo>
                <a:cubicBezTo>
                  <a:pt x="404854" y="2227402"/>
                  <a:pt x="414622" y="2227402"/>
                  <a:pt x="414622" y="2217633"/>
                </a:cubicBezTo>
                <a:cubicBezTo>
                  <a:pt x="424391" y="2217633"/>
                  <a:pt x="434160" y="2217633"/>
                  <a:pt x="434160" y="2217633"/>
                </a:cubicBezTo>
                <a:cubicBezTo>
                  <a:pt x="443928" y="2217633"/>
                  <a:pt x="453697" y="2217633"/>
                  <a:pt x="453697" y="2217633"/>
                </a:cubicBezTo>
                <a:cubicBezTo>
                  <a:pt x="463465" y="2217633"/>
                  <a:pt x="463465" y="2217633"/>
                  <a:pt x="463465" y="2217633"/>
                </a:cubicBezTo>
                <a:cubicBezTo>
                  <a:pt x="463465" y="2207864"/>
                  <a:pt x="463465" y="2207864"/>
                  <a:pt x="473234" y="2207864"/>
                </a:cubicBezTo>
                <a:cubicBezTo>
                  <a:pt x="483003" y="2217633"/>
                  <a:pt x="551383" y="2217633"/>
                  <a:pt x="551383" y="2217633"/>
                </a:cubicBezTo>
                <a:cubicBezTo>
                  <a:pt x="561152" y="2217633"/>
                  <a:pt x="561152" y="2217633"/>
                  <a:pt x="561152" y="2217633"/>
                </a:cubicBezTo>
                <a:cubicBezTo>
                  <a:pt x="570920" y="2217633"/>
                  <a:pt x="570920" y="2217633"/>
                  <a:pt x="570920" y="2217633"/>
                </a:cubicBezTo>
                <a:cubicBezTo>
                  <a:pt x="570920" y="2207864"/>
                  <a:pt x="580689" y="2207864"/>
                  <a:pt x="580689" y="2207864"/>
                </a:cubicBezTo>
                <a:cubicBezTo>
                  <a:pt x="590457" y="2207864"/>
                  <a:pt x="590457" y="2207864"/>
                  <a:pt x="590457" y="2207864"/>
                </a:cubicBezTo>
                <a:cubicBezTo>
                  <a:pt x="590457" y="2207864"/>
                  <a:pt x="561152" y="2198095"/>
                  <a:pt x="551383" y="2198095"/>
                </a:cubicBezTo>
                <a:cubicBezTo>
                  <a:pt x="551383" y="2198095"/>
                  <a:pt x="561152" y="2198095"/>
                  <a:pt x="561152" y="2198095"/>
                </a:cubicBezTo>
                <a:cubicBezTo>
                  <a:pt x="561152" y="2198095"/>
                  <a:pt x="570920" y="2198095"/>
                  <a:pt x="580689" y="2198095"/>
                </a:cubicBezTo>
                <a:cubicBezTo>
                  <a:pt x="590457" y="2198095"/>
                  <a:pt x="600226" y="2198095"/>
                  <a:pt x="600226" y="2198095"/>
                </a:cubicBezTo>
                <a:cubicBezTo>
                  <a:pt x="600226" y="2198095"/>
                  <a:pt x="609995" y="2198095"/>
                  <a:pt x="609995" y="2198095"/>
                </a:cubicBezTo>
                <a:cubicBezTo>
                  <a:pt x="619763" y="2198095"/>
                  <a:pt x="629532" y="2198095"/>
                  <a:pt x="629532" y="2198095"/>
                </a:cubicBezTo>
                <a:cubicBezTo>
                  <a:pt x="639300" y="2188325"/>
                  <a:pt x="649069" y="2198095"/>
                  <a:pt x="658838" y="2198095"/>
                </a:cubicBezTo>
                <a:cubicBezTo>
                  <a:pt x="668606" y="2198095"/>
                  <a:pt x="678375" y="2198095"/>
                  <a:pt x="678375" y="2188325"/>
                </a:cubicBezTo>
                <a:cubicBezTo>
                  <a:pt x="678375" y="2188325"/>
                  <a:pt x="688143" y="2188325"/>
                  <a:pt x="727218" y="2198095"/>
                </a:cubicBezTo>
                <a:cubicBezTo>
                  <a:pt x="736987" y="2198095"/>
                  <a:pt x="756524" y="2198095"/>
                  <a:pt x="766292" y="2198095"/>
                </a:cubicBezTo>
                <a:cubicBezTo>
                  <a:pt x="776061" y="2198095"/>
                  <a:pt x="776061" y="2198095"/>
                  <a:pt x="776061" y="2198095"/>
                </a:cubicBezTo>
                <a:cubicBezTo>
                  <a:pt x="776061" y="2188325"/>
                  <a:pt x="776061" y="2188325"/>
                  <a:pt x="776061" y="2188325"/>
                </a:cubicBezTo>
                <a:cubicBezTo>
                  <a:pt x="776061" y="2188325"/>
                  <a:pt x="785829" y="2188325"/>
                  <a:pt x="785829" y="2198095"/>
                </a:cubicBezTo>
                <a:cubicBezTo>
                  <a:pt x="795598" y="2198095"/>
                  <a:pt x="805367" y="2198095"/>
                  <a:pt x="815135" y="2198095"/>
                </a:cubicBezTo>
                <a:cubicBezTo>
                  <a:pt x="815135" y="2198095"/>
                  <a:pt x="815135" y="2198095"/>
                  <a:pt x="824904" y="2198095"/>
                </a:cubicBezTo>
                <a:cubicBezTo>
                  <a:pt x="824904" y="2198095"/>
                  <a:pt x="824904" y="2198095"/>
                  <a:pt x="834673" y="2198095"/>
                </a:cubicBezTo>
                <a:cubicBezTo>
                  <a:pt x="834673" y="2198095"/>
                  <a:pt x="844441" y="2198095"/>
                  <a:pt x="854210" y="2198095"/>
                </a:cubicBezTo>
                <a:cubicBezTo>
                  <a:pt x="854210" y="2198095"/>
                  <a:pt x="863978" y="2198095"/>
                  <a:pt x="863978" y="2198095"/>
                </a:cubicBezTo>
                <a:cubicBezTo>
                  <a:pt x="863978" y="2198095"/>
                  <a:pt x="883516" y="2198095"/>
                  <a:pt x="903053" y="2198095"/>
                </a:cubicBezTo>
                <a:cubicBezTo>
                  <a:pt x="961665" y="2207864"/>
                  <a:pt x="961665" y="2207864"/>
                  <a:pt x="961665" y="2207864"/>
                </a:cubicBezTo>
                <a:cubicBezTo>
                  <a:pt x="961665" y="2198095"/>
                  <a:pt x="971433" y="2198095"/>
                  <a:pt x="981202" y="2198095"/>
                </a:cubicBezTo>
                <a:cubicBezTo>
                  <a:pt x="981202" y="2198095"/>
                  <a:pt x="981202" y="2198095"/>
                  <a:pt x="990970" y="2198095"/>
                </a:cubicBezTo>
                <a:cubicBezTo>
                  <a:pt x="990970" y="2198095"/>
                  <a:pt x="1000739" y="2198095"/>
                  <a:pt x="1010508" y="2207864"/>
                </a:cubicBezTo>
                <a:cubicBezTo>
                  <a:pt x="1020276" y="2207864"/>
                  <a:pt x="1020276" y="2207864"/>
                  <a:pt x="1030045" y="2207864"/>
                </a:cubicBezTo>
                <a:cubicBezTo>
                  <a:pt x="1030045" y="2198095"/>
                  <a:pt x="1020276" y="2198095"/>
                  <a:pt x="1020276" y="2198095"/>
                </a:cubicBezTo>
                <a:cubicBezTo>
                  <a:pt x="1010508" y="2198095"/>
                  <a:pt x="1010508" y="2198095"/>
                  <a:pt x="1000739" y="2188325"/>
                </a:cubicBezTo>
                <a:cubicBezTo>
                  <a:pt x="990970" y="2188325"/>
                  <a:pt x="981202" y="2188325"/>
                  <a:pt x="971433" y="2188325"/>
                </a:cubicBezTo>
                <a:cubicBezTo>
                  <a:pt x="961665" y="2188325"/>
                  <a:pt x="951896" y="2188325"/>
                  <a:pt x="951896" y="2188325"/>
                </a:cubicBezTo>
                <a:cubicBezTo>
                  <a:pt x="951896" y="2188325"/>
                  <a:pt x="942127" y="2188325"/>
                  <a:pt x="942127" y="2188325"/>
                </a:cubicBezTo>
                <a:cubicBezTo>
                  <a:pt x="932359" y="2188325"/>
                  <a:pt x="932359" y="2188325"/>
                  <a:pt x="932359" y="2178556"/>
                </a:cubicBezTo>
                <a:cubicBezTo>
                  <a:pt x="932359" y="2178556"/>
                  <a:pt x="932359" y="2178556"/>
                  <a:pt x="922590" y="2178556"/>
                </a:cubicBezTo>
                <a:cubicBezTo>
                  <a:pt x="932359" y="2188325"/>
                  <a:pt x="932359" y="2188325"/>
                  <a:pt x="922590" y="2188325"/>
                </a:cubicBezTo>
                <a:cubicBezTo>
                  <a:pt x="912821" y="2188325"/>
                  <a:pt x="903053" y="2188325"/>
                  <a:pt x="903053" y="2178556"/>
                </a:cubicBezTo>
                <a:cubicBezTo>
                  <a:pt x="893284" y="2178556"/>
                  <a:pt x="883516" y="2178556"/>
                  <a:pt x="883516" y="2178556"/>
                </a:cubicBezTo>
                <a:cubicBezTo>
                  <a:pt x="863978" y="2178556"/>
                  <a:pt x="854210" y="2178556"/>
                  <a:pt x="854210" y="2178556"/>
                </a:cubicBezTo>
                <a:cubicBezTo>
                  <a:pt x="863978" y="2178556"/>
                  <a:pt x="863978" y="2168786"/>
                  <a:pt x="854210" y="2168786"/>
                </a:cubicBezTo>
                <a:cubicBezTo>
                  <a:pt x="844441" y="2168786"/>
                  <a:pt x="834673" y="2168786"/>
                  <a:pt x="824904" y="2168786"/>
                </a:cubicBezTo>
                <a:cubicBezTo>
                  <a:pt x="824904" y="2168786"/>
                  <a:pt x="805367" y="2168786"/>
                  <a:pt x="795598" y="2168786"/>
                </a:cubicBezTo>
                <a:cubicBezTo>
                  <a:pt x="785829" y="2168786"/>
                  <a:pt x="766292" y="2168786"/>
                  <a:pt x="766292" y="2168786"/>
                </a:cubicBezTo>
                <a:lnTo>
                  <a:pt x="756524" y="2168786"/>
                </a:lnTo>
                <a:lnTo>
                  <a:pt x="754082" y="2168786"/>
                </a:lnTo>
                <a:lnTo>
                  <a:pt x="751639" y="2168786"/>
                </a:lnTo>
                <a:cubicBezTo>
                  <a:pt x="749197" y="2168786"/>
                  <a:pt x="746755" y="2168786"/>
                  <a:pt x="746755" y="2168786"/>
                </a:cubicBezTo>
                <a:cubicBezTo>
                  <a:pt x="736987" y="2168786"/>
                  <a:pt x="736987" y="2168786"/>
                  <a:pt x="736987" y="2168786"/>
                </a:cubicBezTo>
                <a:cubicBezTo>
                  <a:pt x="736987" y="2168786"/>
                  <a:pt x="727218" y="2168786"/>
                  <a:pt x="717449" y="2159017"/>
                </a:cubicBezTo>
                <a:cubicBezTo>
                  <a:pt x="717449" y="2159017"/>
                  <a:pt x="756524" y="2159017"/>
                  <a:pt x="756524" y="2159017"/>
                </a:cubicBezTo>
                <a:cubicBezTo>
                  <a:pt x="756524" y="2159017"/>
                  <a:pt x="766292" y="2159017"/>
                  <a:pt x="776061" y="2159017"/>
                </a:cubicBezTo>
                <a:cubicBezTo>
                  <a:pt x="795598" y="2159017"/>
                  <a:pt x="844441" y="2168786"/>
                  <a:pt x="893284" y="2168786"/>
                </a:cubicBezTo>
                <a:cubicBezTo>
                  <a:pt x="903053" y="2168786"/>
                  <a:pt x="912821" y="2168786"/>
                  <a:pt x="922590" y="2168786"/>
                </a:cubicBezTo>
                <a:cubicBezTo>
                  <a:pt x="922590" y="2168786"/>
                  <a:pt x="932359" y="2168786"/>
                  <a:pt x="951896" y="2168786"/>
                </a:cubicBezTo>
                <a:cubicBezTo>
                  <a:pt x="971433" y="2178556"/>
                  <a:pt x="971433" y="2168786"/>
                  <a:pt x="971433" y="2168786"/>
                </a:cubicBezTo>
                <a:cubicBezTo>
                  <a:pt x="971433" y="2168786"/>
                  <a:pt x="951896" y="2168786"/>
                  <a:pt x="922590" y="2159017"/>
                </a:cubicBezTo>
                <a:cubicBezTo>
                  <a:pt x="925032" y="2159017"/>
                  <a:pt x="927474" y="2159017"/>
                  <a:pt x="932359" y="2159017"/>
                </a:cubicBezTo>
                <a:cubicBezTo>
                  <a:pt x="932359" y="2159017"/>
                  <a:pt x="942127" y="2159017"/>
                  <a:pt x="951896" y="2159017"/>
                </a:cubicBezTo>
                <a:cubicBezTo>
                  <a:pt x="951896" y="2159017"/>
                  <a:pt x="932359" y="2149248"/>
                  <a:pt x="912821" y="2149248"/>
                </a:cubicBezTo>
                <a:cubicBezTo>
                  <a:pt x="903053" y="2149248"/>
                  <a:pt x="893284" y="2149248"/>
                  <a:pt x="883516" y="2149248"/>
                </a:cubicBezTo>
                <a:cubicBezTo>
                  <a:pt x="873747" y="2149248"/>
                  <a:pt x="863978" y="2149248"/>
                  <a:pt x="863978" y="2149248"/>
                </a:cubicBezTo>
                <a:cubicBezTo>
                  <a:pt x="863978" y="2159017"/>
                  <a:pt x="863978" y="2159017"/>
                  <a:pt x="854210" y="2159017"/>
                </a:cubicBezTo>
                <a:cubicBezTo>
                  <a:pt x="854210" y="2149248"/>
                  <a:pt x="854210" y="2149248"/>
                  <a:pt x="844441" y="2149248"/>
                </a:cubicBezTo>
                <a:cubicBezTo>
                  <a:pt x="834673" y="2149248"/>
                  <a:pt x="834673" y="2149248"/>
                  <a:pt x="824904" y="2149248"/>
                </a:cubicBezTo>
                <a:cubicBezTo>
                  <a:pt x="815135" y="2149248"/>
                  <a:pt x="805367" y="2149248"/>
                  <a:pt x="805367" y="2149248"/>
                </a:cubicBezTo>
                <a:cubicBezTo>
                  <a:pt x="795598" y="2149248"/>
                  <a:pt x="795598" y="2149248"/>
                  <a:pt x="795598" y="2149248"/>
                </a:cubicBezTo>
                <a:cubicBezTo>
                  <a:pt x="785829" y="2149248"/>
                  <a:pt x="785829" y="2149248"/>
                  <a:pt x="776061" y="2149248"/>
                </a:cubicBezTo>
                <a:cubicBezTo>
                  <a:pt x="766292" y="2149248"/>
                  <a:pt x="766292" y="2139479"/>
                  <a:pt x="756524" y="2139479"/>
                </a:cubicBezTo>
                <a:cubicBezTo>
                  <a:pt x="756524" y="2139479"/>
                  <a:pt x="756524" y="2139479"/>
                  <a:pt x="766292" y="2139479"/>
                </a:cubicBezTo>
                <a:cubicBezTo>
                  <a:pt x="776061" y="2139479"/>
                  <a:pt x="785829" y="2139479"/>
                  <a:pt x="785829" y="2139479"/>
                </a:cubicBezTo>
                <a:cubicBezTo>
                  <a:pt x="785829" y="2139479"/>
                  <a:pt x="785829" y="2139479"/>
                  <a:pt x="795598" y="2139479"/>
                </a:cubicBezTo>
                <a:cubicBezTo>
                  <a:pt x="795598" y="2139479"/>
                  <a:pt x="815135" y="2139479"/>
                  <a:pt x="824904" y="2139479"/>
                </a:cubicBezTo>
                <a:cubicBezTo>
                  <a:pt x="834673" y="2139479"/>
                  <a:pt x="844441" y="2139479"/>
                  <a:pt x="854210" y="2139479"/>
                </a:cubicBezTo>
                <a:cubicBezTo>
                  <a:pt x="854210" y="2139479"/>
                  <a:pt x="863978" y="2139479"/>
                  <a:pt x="863978" y="2139479"/>
                </a:cubicBezTo>
                <a:cubicBezTo>
                  <a:pt x="863978" y="2139479"/>
                  <a:pt x="873747" y="2139479"/>
                  <a:pt x="873747" y="2139479"/>
                </a:cubicBezTo>
                <a:cubicBezTo>
                  <a:pt x="873747" y="2139479"/>
                  <a:pt x="893284" y="2139479"/>
                  <a:pt x="903053" y="2139479"/>
                </a:cubicBezTo>
                <a:cubicBezTo>
                  <a:pt x="912821" y="2139479"/>
                  <a:pt x="922590" y="2139479"/>
                  <a:pt x="922590" y="2139479"/>
                </a:cubicBezTo>
                <a:cubicBezTo>
                  <a:pt x="932359" y="2139479"/>
                  <a:pt x="932359" y="2139479"/>
                  <a:pt x="932359" y="2139479"/>
                </a:cubicBezTo>
                <a:cubicBezTo>
                  <a:pt x="942127" y="2139479"/>
                  <a:pt x="942127" y="2139479"/>
                  <a:pt x="942127" y="2139479"/>
                </a:cubicBezTo>
                <a:cubicBezTo>
                  <a:pt x="942127" y="2139479"/>
                  <a:pt x="971433" y="2139479"/>
                  <a:pt x="981202" y="2139479"/>
                </a:cubicBezTo>
                <a:cubicBezTo>
                  <a:pt x="990970" y="2139479"/>
                  <a:pt x="990970" y="2139479"/>
                  <a:pt x="990970" y="2139479"/>
                </a:cubicBezTo>
                <a:cubicBezTo>
                  <a:pt x="1000739" y="2139479"/>
                  <a:pt x="1000739" y="2139479"/>
                  <a:pt x="1010508" y="2139479"/>
                </a:cubicBezTo>
                <a:cubicBezTo>
                  <a:pt x="1020276" y="2149248"/>
                  <a:pt x="1030045" y="2149248"/>
                  <a:pt x="1049582" y="2149248"/>
                </a:cubicBezTo>
                <a:cubicBezTo>
                  <a:pt x="1059351" y="2149248"/>
                  <a:pt x="1069119" y="2149248"/>
                  <a:pt x="1078888" y="2149248"/>
                </a:cubicBezTo>
                <a:cubicBezTo>
                  <a:pt x="1078888" y="2149248"/>
                  <a:pt x="1088657" y="2149248"/>
                  <a:pt x="1098425" y="2149248"/>
                </a:cubicBezTo>
                <a:cubicBezTo>
                  <a:pt x="1108194" y="2149248"/>
                  <a:pt x="1117962" y="2149248"/>
                  <a:pt x="1117962" y="2149248"/>
                </a:cubicBezTo>
                <a:cubicBezTo>
                  <a:pt x="1117962" y="2159017"/>
                  <a:pt x="1127731" y="2159017"/>
                  <a:pt x="1127731" y="2159017"/>
                </a:cubicBezTo>
                <a:cubicBezTo>
                  <a:pt x="1127731" y="2149248"/>
                  <a:pt x="1127731" y="2149248"/>
                  <a:pt x="1137500" y="2149248"/>
                </a:cubicBezTo>
                <a:cubicBezTo>
                  <a:pt x="1137500" y="2159017"/>
                  <a:pt x="1147268" y="2159017"/>
                  <a:pt x="1147268" y="2159017"/>
                </a:cubicBezTo>
                <a:cubicBezTo>
                  <a:pt x="1157037" y="2159017"/>
                  <a:pt x="1166805" y="2159017"/>
                  <a:pt x="1176574" y="2159017"/>
                </a:cubicBezTo>
                <a:cubicBezTo>
                  <a:pt x="1166805" y="2149248"/>
                  <a:pt x="1147268" y="2139479"/>
                  <a:pt x="1137500" y="2139479"/>
                </a:cubicBezTo>
                <a:cubicBezTo>
                  <a:pt x="1127731" y="2129709"/>
                  <a:pt x="1117962" y="2119940"/>
                  <a:pt x="1117962" y="2119940"/>
                </a:cubicBezTo>
                <a:cubicBezTo>
                  <a:pt x="1088657" y="2119940"/>
                  <a:pt x="1069119" y="2110170"/>
                  <a:pt x="1069119" y="2110170"/>
                </a:cubicBezTo>
                <a:cubicBezTo>
                  <a:pt x="1059351" y="2100401"/>
                  <a:pt x="1059351" y="2100401"/>
                  <a:pt x="1059351" y="2110170"/>
                </a:cubicBezTo>
                <a:cubicBezTo>
                  <a:pt x="1049582" y="2110170"/>
                  <a:pt x="1049582" y="2110170"/>
                  <a:pt x="1039813" y="2110170"/>
                </a:cubicBezTo>
                <a:cubicBezTo>
                  <a:pt x="1039813" y="2100401"/>
                  <a:pt x="1039813" y="2100401"/>
                  <a:pt x="1030045" y="2110170"/>
                </a:cubicBezTo>
                <a:cubicBezTo>
                  <a:pt x="1030045" y="2100401"/>
                  <a:pt x="1020276" y="2100401"/>
                  <a:pt x="1020276" y="2110170"/>
                </a:cubicBezTo>
                <a:cubicBezTo>
                  <a:pt x="1020276" y="2110170"/>
                  <a:pt x="1010508" y="2110170"/>
                  <a:pt x="1010508" y="2100401"/>
                </a:cubicBezTo>
                <a:cubicBezTo>
                  <a:pt x="1010508" y="2100401"/>
                  <a:pt x="1020276" y="2100401"/>
                  <a:pt x="1030045" y="2100401"/>
                </a:cubicBezTo>
                <a:cubicBezTo>
                  <a:pt x="1039813" y="2100401"/>
                  <a:pt x="1049582" y="2100401"/>
                  <a:pt x="1049582" y="2100401"/>
                </a:cubicBezTo>
                <a:cubicBezTo>
                  <a:pt x="1059351" y="2090632"/>
                  <a:pt x="1059351" y="2090632"/>
                  <a:pt x="1059351" y="2100401"/>
                </a:cubicBezTo>
                <a:cubicBezTo>
                  <a:pt x="1069119" y="2100401"/>
                  <a:pt x="1088657" y="2100401"/>
                  <a:pt x="1088657" y="2100401"/>
                </a:cubicBezTo>
                <a:cubicBezTo>
                  <a:pt x="1088657" y="2100401"/>
                  <a:pt x="1078888" y="2090632"/>
                  <a:pt x="1078888" y="2090632"/>
                </a:cubicBezTo>
                <a:cubicBezTo>
                  <a:pt x="1078888" y="2090632"/>
                  <a:pt x="1078888" y="2090632"/>
                  <a:pt x="1088657" y="2090632"/>
                </a:cubicBezTo>
                <a:cubicBezTo>
                  <a:pt x="1088657" y="2090632"/>
                  <a:pt x="1098425" y="2100401"/>
                  <a:pt x="1098425" y="2100401"/>
                </a:cubicBezTo>
                <a:cubicBezTo>
                  <a:pt x="1108194" y="2100401"/>
                  <a:pt x="1108194" y="2100401"/>
                  <a:pt x="1108194" y="2100401"/>
                </a:cubicBezTo>
                <a:cubicBezTo>
                  <a:pt x="1117962" y="2100401"/>
                  <a:pt x="1137500" y="2100401"/>
                  <a:pt x="1147268" y="2100401"/>
                </a:cubicBezTo>
                <a:cubicBezTo>
                  <a:pt x="1147268" y="2100401"/>
                  <a:pt x="1137500" y="2090632"/>
                  <a:pt x="1127731" y="2100401"/>
                </a:cubicBezTo>
                <a:cubicBezTo>
                  <a:pt x="1117962" y="2100401"/>
                  <a:pt x="1117962" y="2090632"/>
                  <a:pt x="1108194" y="2090632"/>
                </a:cubicBezTo>
                <a:cubicBezTo>
                  <a:pt x="1108194" y="2090632"/>
                  <a:pt x="1108194" y="2090632"/>
                  <a:pt x="1137500" y="2090632"/>
                </a:cubicBezTo>
                <a:cubicBezTo>
                  <a:pt x="1127731" y="2090632"/>
                  <a:pt x="1127731" y="2080862"/>
                  <a:pt x="1117962" y="2080862"/>
                </a:cubicBezTo>
                <a:cubicBezTo>
                  <a:pt x="1117962" y="2080862"/>
                  <a:pt x="1108194" y="2071093"/>
                  <a:pt x="1098425" y="2071093"/>
                </a:cubicBezTo>
                <a:cubicBezTo>
                  <a:pt x="1088657" y="2061324"/>
                  <a:pt x="1088657" y="2061324"/>
                  <a:pt x="1088657" y="2051554"/>
                </a:cubicBezTo>
                <a:cubicBezTo>
                  <a:pt x="1088657" y="2051554"/>
                  <a:pt x="1088657" y="2051554"/>
                  <a:pt x="1069119" y="2061324"/>
                </a:cubicBezTo>
                <a:cubicBezTo>
                  <a:pt x="1069119" y="2061324"/>
                  <a:pt x="1069119" y="2041785"/>
                  <a:pt x="1059351" y="2041785"/>
                </a:cubicBezTo>
                <a:cubicBezTo>
                  <a:pt x="1059351" y="2041785"/>
                  <a:pt x="1059351" y="2041785"/>
                  <a:pt x="1049582" y="2041785"/>
                </a:cubicBezTo>
                <a:cubicBezTo>
                  <a:pt x="1049582" y="2041785"/>
                  <a:pt x="1049582" y="2032016"/>
                  <a:pt x="1039813" y="2032016"/>
                </a:cubicBezTo>
                <a:cubicBezTo>
                  <a:pt x="1030045" y="2032016"/>
                  <a:pt x="1010508" y="2022247"/>
                  <a:pt x="990970" y="2022247"/>
                </a:cubicBezTo>
                <a:cubicBezTo>
                  <a:pt x="971433" y="2022247"/>
                  <a:pt x="961665" y="2022247"/>
                  <a:pt x="951896" y="2022247"/>
                </a:cubicBezTo>
                <a:cubicBezTo>
                  <a:pt x="942127" y="2022247"/>
                  <a:pt x="903053" y="2012477"/>
                  <a:pt x="873747" y="2012477"/>
                </a:cubicBezTo>
                <a:cubicBezTo>
                  <a:pt x="854210" y="2012477"/>
                  <a:pt x="844441" y="2012477"/>
                  <a:pt x="844441" y="2002708"/>
                </a:cubicBezTo>
                <a:cubicBezTo>
                  <a:pt x="854210" y="2002708"/>
                  <a:pt x="883516" y="2002708"/>
                  <a:pt x="912821" y="2012477"/>
                </a:cubicBezTo>
                <a:cubicBezTo>
                  <a:pt x="922590" y="2012477"/>
                  <a:pt x="942127" y="2012477"/>
                  <a:pt x="951896" y="2012477"/>
                </a:cubicBezTo>
                <a:cubicBezTo>
                  <a:pt x="971433" y="2012477"/>
                  <a:pt x="1000739" y="2022247"/>
                  <a:pt x="1020276" y="2022247"/>
                </a:cubicBezTo>
                <a:cubicBezTo>
                  <a:pt x="1020276" y="2012477"/>
                  <a:pt x="1010508" y="2012477"/>
                  <a:pt x="1010508" y="2012477"/>
                </a:cubicBezTo>
                <a:cubicBezTo>
                  <a:pt x="1000739" y="2012477"/>
                  <a:pt x="990970" y="2012477"/>
                  <a:pt x="990970" y="2012477"/>
                </a:cubicBezTo>
                <a:cubicBezTo>
                  <a:pt x="971433" y="2002708"/>
                  <a:pt x="932359" y="2002708"/>
                  <a:pt x="893284" y="2002708"/>
                </a:cubicBezTo>
                <a:lnTo>
                  <a:pt x="896947" y="2002708"/>
                </a:lnTo>
                <a:cubicBezTo>
                  <a:pt x="900611" y="2002708"/>
                  <a:pt x="903053" y="2002708"/>
                  <a:pt x="903053" y="2002708"/>
                </a:cubicBezTo>
                <a:cubicBezTo>
                  <a:pt x="903053" y="2002708"/>
                  <a:pt x="922590" y="2002708"/>
                  <a:pt x="951896" y="2002708"/>
                </a:cubicBezTo>
                <a:cubicBezTo>
                  <a:pt x="971433" y="2002708"/>
                  <a:pt x="990970" y="2002708"/>
                  <a:pt x="990970" y="2002708"/>
                </a:cubicBezTo>
                <a:cubicBezTo>
                  <a:pt x="990970" y="2002708"/>
                  <a:pt x="990970" y="2002708"/>
                  <a:pt x="1000739" y="2002708"/>
                </a:cubicBezTo>
                <a:cubicBezTo>
                  <a:pt x="981202" y="1992939"/>
                  <a:pt x="971433" y="1983169"/>
                  <a:pt x="951896" y="1973400"/>
                </a:cubicBezTo>
                <a:cubicBezTo>
                  <a:pt x="942127" y="1973400"/>
                  <a:pt x="932359" y="1973400"/>
                  <a:pt x="932359" y="1973400"/>
                </a:cubicBezTo>
                <a:cubicBezTo>
                  <a:pt x="922590" y="1973400"/>
                  <a:pt x="912821" y="1973400"/>
                  <a:pt x="903053" y="1973400"/>
                </a:cubicBezTo>
                <a:cubicBezTo>
                  <a:pt x="903053" y="1973400"/>
                  <a:pt x="883516" y="1963631"/>
                  <a:pt x="873747" y="1963631"/>
                </a:cubicBezTo>
                <a:cubicBezTo>
                  <a:pt x="863978" y="1963631"/>
                  <a:pt x="854210" y="1963631"/>
                  <a:pt x="844441" y="1963631"/>
                </a:cubicBezTo>
                <a:cubicBezTo>
                  <a:pt x="834673" y="1953861"/>
                  <a:pt x="834673" y="1953861"/>
                  <a:pt x="844441" y="1953861"/>
                </a:cubicBezTo>
                <a:cubicBezTo>
                  <a:pt x="854210" y="1953861"/>
                  <a:pt x="834673" y="1944092"/>
                  <a:pt x="805367" y="1944092"/>
                </a:cubicBezTo>
                <a:cubicBezTo>
                  <a:pt x="815135" y="1944092"/>
                  <a:pt x="815135" y="1934323"/>
                  <a:pt x="805367" y="1934323"/>
                </a:cubicBezTo>
                <a:cubicBezTo>
                  <a:pt x="805367" y="1934323"/>
                  <a:pt x="795598" y="1934323"/>
                  <a:pt x="785829" y="1934323"/>
                </a:cubicBezTo>
                <a:cubicBezTo>
                  <a:pt x="785829" y="1934323"/>
                  <a:pt x="776061" y="1934323"/>
                  <a:pt x="766292" y="1934323"/>
                </a:cubicBezTo>
                <a:cubicBezTo>
                  <a:pt x="766292" y="1924554"/>
                  <a:pt x="766292" y="1924554"/>
                  <a:pt x="756524" y="1934323"/>
                </a:cubicBezTo>
                <a:cubicBezTo>
                  <a:pt x="766292" y="1934323"/>
                  <a:pt x="776061" y="1934323"/>
                  <a:pt x="785829" y="1944092"/>
                </a:cubicBezTo>
                <a:cubicBezTo>
                  <a:pt x="785829" y="1944092"/>
                  <a:pt x="785829" y="1944092"/>
                  <a:pt x="776061" y="1944092"/>
                </a:cubicBezTo>
                <a:cubicBezTo>
                  <a:pt x="776061" y="1944092"/>
                  <a:pt x="776061" y="1944092"/>
                  <a:pt x="766292" y="1944092"/>
                </a:cubicBezTo>
                <a:cubicBezTo>
                  <a:pt x="766292" y="1944092"/>
                  <a:pt x="756524" y="1944092"/>
                  <a:pt x="756524" y="1944092"/>
                </a:cubicBezTo>
                <a:cubicBezTo>
                  <a:pt x="746755" y="1944092"/>
                  <a:pt x="736987" y="1934323"/>
                  <a:pt x="746755" y="1934323"/>
                </a:cubicBezTo>
                <a:cubicBezTo>
                  <a:pt x="746755" y="1924554"/>
                  <a:pt x="736987" y="1924554"/>
                  <a:pt x="727218" y="1924554"/>
                </a:cubicBezTo>
                <a:cubicBezTo>
                  <a:pt x="717449" y="1924554"/>
                  <a:pt x="707681" y="1924554"/>
                  <a:pt x="697912" y="1924554"/>
                </a:cubicBezTo>
                <a:cubicBezTo>
                  <a:pt x="688143" y="1924554"/>
                  <a:pt x="678375" y="1914784"/>
                  <a:pt x="678375" y="1924554"/>
                </a:cubicBezTo>
                <a:cubicBezTo>
                  <a:pt x="668606" y="1924554"/>
                  <a:pt x="658838" y="1914784"/>
                  <a:pt x="649069" y="1914784"/>
                </a:cubicBezTo>
                <a:cubicBezTo>
                  <a:pt x="639300" y="1914784"/>
                  <a:pt x="629532" y="1914784"/>
                  <a:pt x="629532" y="1914784"/>
                </a:cubicBezTo>
                <a:cubicBezTo>
                  <a:pt x="619763" y="1914784"/>
                  <a:pt x="609995" y="1914784"/>
                  <a:pt x="590457" y="1905015"/>
                </a:cubicBezTo>
                <a:cubicBezTo>
                  <a:pt x="580689" y="1905015"/>
                  <a:pt x="570920" y="1905015"/>
                  <a:pt x="570920" y="1905015"/>
                </a:cubicBezTo>
                <a:cubicBezTo>
                  <a:pt x="570920" y="1905015"/>
                  <a:pt x="561152" y="1905015"/>
                  <a:pt x="561152" y="1905015"/>
                </a:cubicBezTo>
                <a:cubicBezTo>
                  <a:pt x="551383" y="1914784"/>
                  <a:pt x="541614" y="1914784"/>
                  <a:pt x="531846" y="1905015"/>
                </a:cubicBezTo>
                <a:lnTo>
                  <a:pt x="522077" y="1905015"/>
                </a:lnTo>
                <a:cubicBezTo>
                  <a:pt x="522077" y="1895246"/>
                  <a:pt x="551383" y="1895246"/>
                  <a:pt x="600226" y="1905015"/>
                </a:cubicBezTo>
                <a:cubicBezTo>
                  <a:pt x="609995" y="1905015"/>
                  <a:pt x="619763" y="1905015"/>
                  <a:pt x="629532" y="1905015"/>
                </a:cubicBezTo>
                <a:cubicBezTo>
                  <a:pt x="629532" y="1905015"/>
                  <a:pt x="639300" y="1905015"/>
                  <a:pt x="639300" y="1905015"/>
                </a:cubicBezTo>
                <a:cubicBezTo>
                  <a:pt x="649069" y="1905015"/>
                  <a:pt x="658838" y="1905015"/>
                  <a:pt x="668606" y="1905015"/>
                </a:cubicBezTo>
                <a:cubicBezTo>
                  <a:pt x="678375" y="1905015"/>
                  <a:pt x="678375" y="1905015"/>
                  <a:pt x="688143" y="1905015"/>
                </a:cubicBezTo>
                <a:cubicBezTo>
                  <a:pt x="697912" y="1914784"/>
                  <a:pt x="746755" y="1914784"/>
                  <a:pt x="746755" y="1914784"/>
                </a:cubicBezTo>
                <a:cubicBezTo>
                  <a:pt x="746755" y="1914784"/>
                  <a:pt x="756524" y="1914784"/>
                  <a:pt x="756524" y="1914784"/>
                </a:cubicBezTo>
                <a:cubicBezTo>
                  <a:pt x="756524" y="1914784"/>
                  <a:pt x="766292" y="1914784"/>
                  <a:pt x="766292" y="1914784"/>
                </a:cubicBezTo>
                <a:cubicBezTo>
                  <a:pt x="776061" y="1914784"/>
                  <a:pt x="785829" y="1914784"/>
                  <a:pt x="785829" y="1914784"/>
                </a:cubicBezTo>
                <a:cubicBezTo>
                  <a:pt x="795598" y="1914784"/>
                  <a:pt x="795598" y="1914784"/>
                  <a:pt x="805367" y="1914784"/>
                </a:cubicBezTo>
                <a:cubicBezTo>
                  <a:pt x="815135" y="1914784"/>
                  <a:pt x="824904" y="1914784"/>
                  <a:pt x="844441" y="1924554"/>
                </a:cubicBezTo>
                <a:cubicBezTo>
                  <a:pt x="844441" y="1924554"/>
                  <a:pt x="854210" y="1924554"/>
                  <a:pt x="854210" y="1924554"/>
                </a:cubicBezTo>
                <a:cubicBezTo>
                  <a:pt x="844441" y="1914784"/>
                  <a:pt x="834673" y="1905015"/>
                  <a:pt x="844441" y="1905015"/>
                </a:cubicBezTo>
                <a:cubicBezTo>
                  <a:pt x="844441" y="1905015"/>
                  <a:pt x="863978" y="1905015"/>
                  <a:pt x="873747" y="1914784"/>
                </a:cubicBezTo>
                <a:cubicBezTo>
                  <a:pt x="883516" y="1914784"/>
                  <a:pt x="893284" y="1924554"/>
                  <a:pt x="893284" y="1924554"/>
                </a:cubicBezTo>
                <a:cubicBezTo>
                  <a:pt x="893284" y="1924554"/>
                  <a:pt x="903053" y="1924554"/>
                  <a:pt x="912821" y="1924554"/>
                </a:cubicBezTo>
                <a:cubicBezTo>
                  <a:pt x="922590" y="1924554"/>
                  <a:pt x="922590" y="1924554"/>
                  <a:pt x="922590" y="1924554"/>
                </a:cubicBezTo>
                <a:cubicBezTo>
                  <a:pt x="932359" y="1924554"/>
                  <a:pt x="932359" y="1924554"/>
                  <a:pt x="942127" y="1924554"/>
                </a:cubicBezTo>
                <a:cubicBezTo>
                  <a:pt x="942127" y="1924554"/>
                  <a:pt x="951896" y="1924554"/>
                  <a:pt x="971433" y="1924554"/>
                </a:cubicBezTo>
                <a:cubicBezTo>
                  <a:pt x="981202" y="1924554"/>
                  <a:pt x="990970" y="1924554"/>
                  <a:pt x="990970" y="1924554"/>
                </a:cubicBezTo>
                <a:cubicBezTo>
                  <a:pt x="1000739" y="1924554"/>
                  <a:pt x="1010508" y="1924554"/>
                  <a:pt x="1020276" y="1924554"/>
                </a:cubicBezTo>
                <a:cubicBezTo>
                  <a:pt x="1030045" y="1934323"/>
                  <a:pt x="1030045" y="1934323"/>
                  <a:pt x="1039813" y="1934323"/>
                </a:cubicBezTo>
                <a:cubicBezTo>
                  <a:pt x="1030045" y="1924554"/>
                  <a:pt x="1020276" y="1914784"/>
                  <a:pt x="1010508" y="1914784"/>
                </a:cubicBezTo>
                <a:cubicBezTo>
                  <a:pt x="1010508" y="1905015"/>
                  <a:pt x="1010508" y="1905015"/>
                  <a:pt x="1000739" y="1905015"/>
                </a:cubicBezTo>
                <a:cubicBezTo>
                  <a:pt x="990970" y="1895246"/>
                  <a:pt x="990970" y="1895246"/>
                  <a:pt x="1000739" y="1895246"/>
                </a:cubicBezTo>
                <a:cubicBezTo>
                  <a:pt x="990970" y="1895246"/>
                  <a:pt x="990970" y="1895246"/>
                  <a:pt x="990970" y="1895246"/>
                </a:cubicBezTo>
                <a:cubicBezTo>
                  <a:pt x="990970" y="1895246"/>
                  <a:pt x="981202" y="1895246"/>
                  <a:pt x="971433" y="1895246"/>
                </a:cubicBezTo>
                <a:cubicBezTo>
                  <a:pt x="951896" y="1895246"/>
                  <a:pt x="912821" y="1885476"/>
                  <a:pt x="883516" y="1885476"/>
                </a:cubicBezTo>
                <a:cubicBezTo>
                  <a:pt x="873747" y="1885476"/>
                  <a:pt x="854210" y="1885476"/>
                  <a:pt x="844441" y="1885476"/>
                </a:cubicBezTo>
                <a:cubicBezTo>
                  <a:pt x="844441" y="1875707"/>
                  <a:pt x="824904" y="1875707"/>
                  <a:pt x="815135" y="1875707"/>
                </a:cubicBezTo>
                <a:cubicBezTo>
                  <a:pt x="805367" y="1875707"/>
                  <a:pt x="795598" y="1875707"/>
                  <a:pt x="795598" y="1875707"/>
                </a:cubicBezTo>
                <a:cubicBezTo>
                  <a:pt x="795598" y="1885476"/>
                  <a:pt x="795598" y="1885476"/>
                  <a:pt x="795598" y="1885476"/>
                </a:cubicBezTo>
                <a:cubicBezTo>
                  <a:pt x="785829" y="1875707"/>
                  <a:pt x="785829" y="1875707"/>
                  <a:pt x="785829" y="1875707"/>
                </a:cubicBezTo>
                <a:cubicBezTo>
                  <a:pt x="776061" y="1875707"/>
                  <a:pt x="776061" y="1875707"/>
                  <a:pt x="776061" y="1875707"/>
                </a:cubicBezTo>
                <a:cubicBezTo>
                  <a:pt x="766292" y="1875707"/>
                  <a:pt x="756524" y="1875707"/>
                  <a:pt x="756524" y="1875707"/>
                </a:cubicBezTo>
                <a:cubicBezTo>
                  <a:pt x="746755" y="1875707"/>
                  <a:pt x="746755" y="1875707"/>
                  <a:pt x="736987" y="1875707"/>
                </a:cubicBezTo>
                <a:cubicBezTo>
                  <a:pt x="736987" y="1875707"/>
                  <a:pt x="727218" y="1875707"/>
                  <a:pt x="717449" y="1865938"/>
                </a:cubicBezTo>
                <a:cubicBezTo>
                  <a:pt x="717449" y="1865938"/>
                  <a:pt x="697912" y="1865938"/>
                  <a:pt x="668606" y="1865938"/>
                </a:cubicBezTo>
                <a:cubicBezTo>
                  <a:pt x="649069" y="1865938"/>
                  <a:pt x="619763" y="1865938"/>
                  <a:pt x="609995" y="1865938"/>
                </a:cubicBezTo>
                <a:cubicBezTo>
                  <a:pt x="600226" y="1856168"/>
                  <a:pt x="590457" y="1856168"/>
                  <a:pt x="590457" y="1856168"/>
                </a:cubicBezTo>
                <a:cubicBezTo>
                  <a:pt x="580689" y="1856168"/>
                  <a:pt x="580689" y="1856168"/>
                  <a:pt x="570920" y="1856168"/>
                </a:cubicBezTo>
                <a:cubicBezTo>
                  <a:pt x="570920" y="1856168"/>
                  <a:pt x="561152" y="1856168"/>
                  <a:pt x="561152" y="1856168"/>
                </a:cubicBezTo>
                <a:cubicBezTo>
                  <a:pt x="561152" y="1856168"/>
                  <a:pt x="512308" y="1856168"/>
                  <a:pt x="463465" y="1856168"/>
                </a:cubicBezTo>
                <a:cubicBezTo>
                  <a:pt x="443928" y="1856168"/>
                  <a:pt x="424391" y="1846399"/>
                  <a:pt x="424391" y="1846399"/>
                </a:cubicBezTo>
                <a:lnTo>
                  <a:pt x="434160" y="1846399"/>
                </a:lnTo>
                <a:cubicBezTo>
                  <a:pt x="473234" y="1846399"/>
                  <a:pt x="512308" y="1846399"/>
                  <a:pt x="541614" y="1846399"/>
                </a:cubicBezTo>
                <a:cubicBezTo>
                  <a:pt x="590457" y="1846399"/>
                  <a:pt x="678375" y="1856168"/>
                  <a:pt x="688143" y="1856168"/>
                </a:cubicBezTo>
                <a:cubicBezTo>
                  <a:pt x="688143" y="1856168"/>
                  <a:pt x="693028" y="1856168"/>
                  <a:pt x="696691" y="1856168"/>
                </a:cubicBezTo>
                <a:lnTo>
                  <a:pt x="697912" y="1856168"/>
                </a:lnTo>
                <a:cubicBezTo>
                  <a:pt x="697912" y="1846399"/>
                  <a:pt x="688143" y="1846399"/>
                  <a:pt x="688143" y="1846399"/>
                </a:cubicBezTo>
                <a:cubicBezTo>
                  <a:pt x="678375" y="1846399"/>
                  <a:pt x="678375" y="1846399"/>
                  <a:pt x="668606" y="1846399"/>
                </a:cubicBezTo>
                <a:cubicBezTo>
                  <a:pt x="649069" y="1836630"/>
                  <a:pt x="639300" y="1836630"/>
                  <a:pt x="629532" y="1836630"/>
                </a:cubicBezTo>
                <a:cubicBezTo>
                  <a:pt x="629532" y="1836630"/>
                  <a:pt x="619763" y="1836630"/>
                  <a:pt x="609995" y="1836630"/>
                </a:cubicBezTo>
                <a:cubicBezTo>
                  <a:pt x="570920" y="1836630"/>
                  <a:pt x="561152" y="1826861"/>
                  <a:pt x="551383" y="1826861"/>
                </a:cubicBezTo>
                <a:cubicBezTo>
                  <a:pt x="531846" y="1836630"/>
                  <a:pt x="492771" y="1826861"/>
                  <a:pt x="463465" y="1826861"/>
                </a:cubicBezTo>
                <a:cubicBezTo>
                  <a:pt x="463465" y="1826861"/>
                  <a:pt x="453697" y="1826861"/>
                  <a:pt x="443928" y="1826861"/>
                </a:cubicBezTo>
                <a:cubicBezTo>
                  <a:pt x="434160" y="1826861"/>
                  <a:pt x="424391" y="1826861"/>
                  <a:pt x="414622" y="1817091"/>
                </a:cubicBezTo>
                <a:cubicBezTo>
                  <a:pt x="414622" y="1817091"/>
                  <a:pt x="385317" y="1817091"/>
                  <a:pt x="287630" y="1807322"/>
                </a:cubicBezTo>
                <a:lnTo>
                  <a:pt x="258325" y="1807322"/>
                </a:lnTo>
                <a:cubicBezTo>
                  <a:pt x="287630" y="1807322"/>
                  <a:pt x="307168" y="1807322"/>
                  <a:pt x="307168" y="1797552"/>
                </a:cubicBezTo>
                <a:cubicBezTo>
                  <a:pt x="346242" y="1797552"/>
                  <a:pt x="395085" y="1797552"/>
                  <a:pt x="404854" y="1797552"/>
                </a:cubicBezTo>
                <a:cubicBezTo>
                  <a:pt x="414622" y="1797552"/>
                  <a:pt x="424391" y="1797552"/>
                  <a:pt x="434160" y="1807322"/>
                </a:cubicBezTo>
                <a:cubicBezTo>
                  <a:pt x="443928" y="1807322"/>
                  <a:pt x="483003" y="1807322"/>
                  <a:pt x="512308" y="1807322"/>
                </a:cubicBezTo>
                <a:cubicBezTo>
                  <a:pt x="522077" y="1807322"/>
                  <a:pt x="541614" y="1807322"/>
                  <a:pt x="551383" y="1807322"/>
                </a:cubicBezTo>
                <a:cubicBezTo>
                  <a:pt x="570920" y="1817091"/>
                  <a:pt x="590457" y="1817091"/>
                  <a:pt x="590457" y="1817091"/>
                </a:cubicBezTo>
                <a:cubicBezTo>
                  <a:pt x="590457" y="1817091"/>
                  <a:pt x="600226" y="1817091"/>
                  <a:pt x="600226" y="1817091"/>
                </a:cubicBezTo>
                <a:cubicBezTo>
                  <a:pt x="609995" y="1817091"/>
                  <a:pt x="609995" y="1817091"/>
                  <a:pt x="619763" y="1817091"/>
                </a:cubicBezTo>
                <a:cubicBezTo>
                  <a:pt x="619763" y="1817091"/>
                  <a:pt x="619763" y="1817091"/>
                  <a:pt x="629532" y="1817091"/>
                </a:cubicBezTo>
                <a:cubicBezTo>
                  <a:pt x="629532" y="1817091"/>
                  <a:pt x="639300" y="1817091"/>
                  <a:pt x="639300" y="1817091"/>
                </a:cubicBezTo>
                <a:cubicBezTo>
                  <a:pt x="649069" y="1817091"/>
                  <a:pt x="658838" y="1817091"/>
                  <a:pt x="658838" y="1817091"/>
                </a:cubicBezTo>
                <a:cubicBezTo>
                  <a:pt x="668606" y="1817091"/>
                  <a:pt x="678375" y="1817091"/>
                  <a:pt x="688143" y="1817091"/>
                </a:cubicBezTo>
                <a:cubicBezTo>
                  <a:pt x="697912" y="1817091"/>
                  <a:pt x="707681" y="1817091"/>
                  <a:pt x="707681" y="1817091"/>
                </a:cubicBezTo>
                <a:cubicBezTo>
                  <a:pt x="717449" y="1817091"/>
                  <a:pt x="727218" y="1817091"/>
                  <a:pt x="727218" y="1817091"/>
                </a:cubicBezTo>
                <a:cubicBezTo>
                  <a:pt x="746755" y="1817091"/>
                  <a:pt x="756524" y="1817091"/>
                  <a:pt x="766292" y="1817091"/>
                </a:cubicBezTo>
                <a:cubicBezTo>
                  <a:pt x="785829" y="1826861"/>
                  <a:pt x="795598" y="1826861"/>
                  <a:pt x="805367" y="1826861"/>
                </a:cubicBezTo>
                <a:cubicBezTo>
                  <a:pt x="805367" y="1826861"/>
                  <a:pt x="815135" y="1826861"/>
                  <a:pt x="844441" y="1826861"/>
                </a:cubicBezTo>
                <a:cubicBezTo>
                  <a:pt x="873747" y="1826861"/>
                  <a:pt x="883516" y="1836630"/>
                  <a:pt x="893284" y="1836630"/>
                </a:cubicBezTo>
                <a:cubicBezTo>
                  <a:pt x="912821" y="1836630"/>
                  <a:pt x="922590" y="1826861"/>
                  <a:pt x="922590" y="1826861"/>
                </a:cubicBezTo>
                <a:cubicBezTo>
                  <a:pt x="922590" y="1826861"/>
                  <a:pt x="922590" y="1826861"/>
                  <a:pt x="922590" y="1817091"/>
                </a:cubicBezTo>
                <a:cubicBezTo>
                  <a:pt x="912821" y="1817091"/>
                  <a:pt x="903053" y="1817091"/>
                  <a:pt x="893284" y="1817091"/>
                </a:cubicBezTo>
                <a:cubicBezTo>
                  <a:pt x="893284" y="1817091"/>
                  <a:pt x="883516" y="1817091"/>
                  <a:pt x="883516" y="1817091"/>
                </a:cubicBezTo>
                <a:cubicBezTo>
                  <a:pt x="873747" y="1817091"/>
                  <a:pt x="873747" y="1817091"/>
                  <a:pt x="873747" y="1817091"/>
                </a:cubicBezTo>
                <a:cubicBezTo>
                  <a:pt x="873747" y="1817091"/>
                  <a:pt x="873747" y="1817091"/>
                  <a:pt x="863978" y="1817091"/>
                </a:cubicBezTo>
                <a:cubicBezTo>
                  <a:pt x="863978" y="1817091"/>
                  <a:pt x="854210" y="1817091"/>
                  <a:pt x="854210" y="1817091"/>
                </a:cubicBezTo>
                <a:cubicBezTo>
                  <a:pt x="844441" y="1817091"/>
                  <a:pt x="834673" y="1817091"/>
                  <a:pt x="834673" y="1817091"/>
                </a:cubicBezTo>
                <a:cubicBezTo>
                  <a:pt x="815135" y="1817091"/>
                  <a:pt x="785829" y="1807322"/>
                  <a:pt x="766292" y="1807322"/>
                </a:cubicBezTo>
                <a:cubicBezTo>
                  <a:pt x="766292" y="1807322"/>
                  <a:pt x="776061" y="1807322"/>
                  <a:pt x="785829" y="1807322"/>
                </a:cubicBezTo>
                <a:cubicBezTo>
                  <a:pt x="785829" y="1807322"/>
                  <a:pt x="785829" y="1807322"/>
                  <a:pt x="776061" y="1797552"/>
                </a:cubicBezTo>
                <a:cubicBezTo>
                  <a:pt x="766292" y="1797552"/>
                  <a:pt x="756524" y="1797552"/>
                  <a:pt x="746755" y="1797552"/>
                </a:cubicBezTo>
                <a:cubicBezTo>
                  <a:pt x="746755" y="1797552"/>
                  <a:pt x="727218" y="1797552"/>
                  <a:pt x="727218" y="1787783"/>
                </a:cubicBezTo>
                <a:cubicBezTo>
                  <a:pt x="717449" y="1787783"/>
                  <a:pt x="697912" y="1787783"/>
                  <a:pt x="668606" y="1787783"/>
                </a:cubicBezTo>
                <a:cubicBezTo>
                  <a:pt x="658838" y="1787783"/>
                  <a:pt x="639300" y="1778014"/>
                  <a:pt x="629532" y="1778014"/>
                </a:cubicBezTo>
                <a:cubicBezTo>
                  <a:pt x="619763" y="1778014"/>
                  <a:pt x="609995" y="1778014"/>
                  <a:pt x="609995" y="1778014"/>
                </a:cubicBezTo>
                <a:cubicBezTo>
                  <a:pt x="609995" y="1778014"/>
                  <a:pt x="600226" y="1778014"/>
                  <a:pt x="600226" y="1778014"/>
                </a:cubicBezTo>
                <a:cubicBezTo>
                  <a:pt x="590457" y="1778014"/>
                  <a:pt x="580689" y="1778014"/>
                  <a:pt x="561152" y="1778014"/>
                </a:cubicBezTo>
                <a:cubicBezTo>
                  <a:pt x="561152" y="1778014"/>
                  <a:pt x="551383" y="1778014"/>
                  <a:pt x="541614" y="1778014"/>
                </a:cubicBezTo>
                <a:cubicBezTo>
                  <a:pt x="531846" y="1778014"/>
                  <a:pt x="522077" y="1768245"/>
                  <a:pt x="512308" y="1768245"/>
                </a:cubicBezTo>
                <a:cubicBezTo>
                  <a:pt x="502540" y="1768245"/>
                  <a:pt x="483003" y="1768245"/>
                  <a:pt x="483003" y="1768245"/>
                </a:cubicBezTo>
                <a:cubicBezTo>
                  <a:pt x="483003" y="1768245"/>
                  <a:pt x="473234" y="1768245"/>
                  <a:pt x="463465" y="1768245"/>
                </a:cubicBezTo>
                <a:cubicBezTo>
                  <a:pt x="443928" y="1768245"/>
                  <a:pt x="404854" y="1758475"/>
                  <a:pt x="404854" y="1758475"/>
                </a:cubicBezTo>
                <a:cubicBezTo>
                  <a:pt x="395085" y="1758475"/>
                  <a:pt x="395085" y="1758475"/>
                  <a:pt x="385317" y="1758475"/>
                </a:cubicBezTo>
                <a:cubicBezTo>
                  <a:pt x="375548" y="1758475"/>
                  <a:pt x="365779" y="1758475"/>
                  <a:pt x="356011" y="1758475"/>
                </a:cubicBezTo>
                <a:cubicBezTo>
                  <a:pt x="346242" y="1758475"/>
                  <a:pt x="336473" y="1758475"/>
                  <a:pt x="336473" y="1758475"/>
                </a:cubicBezTo>
                <a:cubicBezTo>
                  <a:pt x="316936" y="1748706"/>
                  <a:pt x="307168" y="1748706"/>
                  <a:pt x="297399" y="1748706"/>
                </a:cubicBezTo>
                <a:cubicBezTo>
                  <a:pt x="297399" y="1748706"/>
                  <a:pt x="287630" y="1748706"/>
                  <a:pt x="277862" y="1748706"/>
                </a:cubicBezTo>
                <a:cubicBezTo>
                  <a:pt x="268093" y="1748706"/>
                  <a:pt x="258325" y="1748706"/>
                  <a:pt x="258325" y="1748706"/>
                </a:cubicBezTo>
                <a:cubicBezTo>
                  <a:pt x="258325" y="1748706"/>
                  <a:pt x="248556" y="1748706"/>
                  <a:pt x="229019" y="1748706"/>
                </a:cubicBezTo>
                <a:cubicBezTo>
                  <a:pt x="219250" y="1748706"/>
                  <a:pt x="209482" y="1748706"/>
                  <a:pt x="199713" y="1738937"/>
                </a:cubicBezTo>
                <a:cubicBezTo>
                  <a:pt x="189944" y="1738937"/>
                  <a:pt x="180176" y="1738937"/>
                  <a:pt x="170407" y="1738937"/>
                </a:cubicBezTo>
                <a:cubicBezTo>
                  <a:pt x="170407" y="1738937"/>
                  <a:pt x="160638" y="1738937"/>
                  <a:pt x="160638" y="1738937"/>
                </a:cubicBezTo>
                <a:cubicBezTo>
                  <a:pt x="150870" y="1738937"/>
                  <a:pt x="150870" y="1738937"/>
                  <a:pt x="141101" y="1738937"/>
                </a:cubicBezTo>
                <a:cubicBezTo>
                  <a:pt x="141101" y="1738937"/>
                  <a:pt x="141101" y="1738937"/>
                  <a:pt x="131332" y="1738937"/>
                </a:cubicBezTo>
                <a:cubicBezTo>
                  <a:pt x="121564" y="1738937"/>
                  <a:pt x="111795" y="1738937"/>
                  <a:pt x="111795" y="1738937"/>
                </a:cubicBezTo>
                <a:cubicBezTo>
                  <a:pt x="102027" y="1738937"/>
                  <a:pt x="102027" y="1738937"/>
                  <a:pt x="92258" y="1738937"/>
                </a:cubicBezTo>
                <a:cubicBezTo>
                  <a:pt x="92258" y="1738937"/>
                  <a:pt x="82489" y="1729168"/>
                  <a:pt x="82489" y="1729168"/>
                </a:cubicBezTo>
                <a:lnTo>
                  <a:pt x="92258" y="1729168"/>
                </a:lnTo>
                <a:cubicBezTo>
                  <a:pt x="92258" y="1729168"/>
                  <a:pt x="102027" y="1729168"/>
                  <a:pt x="102027" y="1729168"/>
                </a:cubicBezTo>
                <a:cubicBezTo>
                  <a:pt x="102027" y="1729168"/>
                  <a:pt x="102027" y="1729168"/>
                  <a:pt x="111795" y="1729168"/>
                </a:cubicBezTo>
                <a:cubicBezTo>
                  <a:pt x="111795" y="1729168"/>
                  <a:pt x="121564" y="1729168"/>
                  <a:pt x="131332" y="1729168"/>
                </a:cubicBezTo>
                <a:cubicBezTo>
                  <a:pt x="131332" y="1729168"/>
                  <a:pt x="141101" y="1729168"/>
                  <a:pt x="141101" y="1729168"/>
                </a:cubicBezTo>
                <a:cubicBezTo>
                  <a:pt x="150870" y="1729168"/>
                  <a:pt x="150870" y="1729168"/>
                  <a:pt x="160638" y="1729168"/>
                </a:cubicBezTo>
                <a:cubicBezTo>
                  <a:pt x="160638" y="1729168"/>
                  <a:pt x="170407" y="1729168"/>
                  <a:pt x="180176" y="1729168"/>
                </a:cubicBezTo>
                <a:cubicBezTo>
                  <a:pt x="209482" y="1729168"/>
                  <a:pt x="277862" y="1729168"/>
                  <a:pt x="297399" y="1738937"/>
                </a:cubicBezTo>
                <a:cubicBezTo>
                  <a:pt x="297399" y="1738937"/>
                  <a:pt x="316936" y="1738937"/>
                  <a:pt x="326705" y="1738937"/>
                </a:cubicBezTo>
                <a:cubicBezTo>
                  <a:pt x="326705" y="1738937"/>
                  <a:pt x="346242" y="1738937"/>
                  <a:pt x="346242" y="1738937"/>
                </a:cubicBezTo>
                <a:cubicBezTo>
                  <a:pt x="424391" y="1748706"/>
                  <a:pt x="424391" y="1748706"/>
                  <a:pt x="434160" y="1738937"/>
                </a:cubicBezTo>
                <a:cubicBezTo>
                  <a:pt x="434160" y="1738937"/>
                  <a:pt x="443928" y="1738937"/>
                  <a:pt x="463465" y="1748706"/>
                </a:cubicBezTo>
                <a:cubicBezTo>
                  <a:pt x="492771" y="1748706"/>
                  <a:pt x="502540" y="1748706"/>
                  <a:pt x="502540" y="1738937"/>
                </a:cubicBezTo>
                <a:lnTo>
                  <a:pt x="473234" y="1738937"/>
                </a:lnTo>
                <a:cubicBezTo>
                  <a:pt x="463465" y="1738937"/>
                  <a:pt x="443928" y="1738937"/>
                  <a:pt x="424391" y="1729168"/>
                </a:cubicBezTo>
                <a:lnTo>
                  <a:pt x="447439" y="1729168"/>
                </a:lnTo>
                <a:cubicBezTo>
                  <a:pt x="476287" y="1729168"/>
                  <a:pt x="492771" y="1729168"/>
                  <a:pt x="492771" y="1729168"/>
                </a:cubicBezTo>
                <a:cubicBezTo>
                  <a:pt x="502540" y="1729168"/>
                  <a:pt x="512308" y="1729168"/>
                  <a:pt x="522077" y="1729168"/>
                </a:cubicBezTo>
                <a:cubicBezTo>
                  <a:pt x="531846" y="1738937"/>
                  <a:pt x="541614" y="1738937"/>
                  <a:pt x="561152" y="1738937"/>
                </a:cubicBezTo>
                <a:cubicBezTo>
                  <a:pt x="590457" y="1738937"/>
                  <a:pt x="678375" y="1748706"/>
                  <a:pt x="678375" y="1748706"/>
                </a:cubicBezTo>
                <a:cubicBezTo>
                  <a:pt x="678375" y="1748706"/>
                  <a:pt x="688143" y="1748706"/>
                  <a:pt x="688143" y="1748706"/>
                </a:cubicBezTo>
                <a:cubicBezTo>
                  <a:pt x="697912" y="1748706"/>
                  <a:pt x="697912" y="1748706"/>
                  <a:pt x="697912" y="1748706"/>
                </a:cubicBezTo>
                <a:cubicBezTo>
                  <a:pt x="707681" y="1748706"/>
                  <a:pt x="707681" y="1748706"/>
                  <a:pt x="707681" y="1748706"/>
                </a:cubicBezTo>
                <a:cubicBezTo>
                  <a:pt x="717449" y="1748706"/>
                  <a:pt x="746755" y="1748706"/>
                  <a:pt x="746755" y="1748706"/>
                </a:cubicBezTo>
                <a:cubicBezTo>
                  <a:pt x="756524" y="1758475"/>
                  <a:pt x="756524" y="1758475"/>
                  <a:pt x="756524" y="1758475"/>
                </a:cubicBezTo>
                <a:cubicBezTo>
                  <a:pt x="766292" y="1748706"/>
                  <a:pt x="766292" y="1758475"/>
                  <a:pt x="766292" y="1758475"/>
                </a:cubicBezTo>
                <a:cubicBezTo>
                  <a:pt x="776061" y="1758475"/>
                  <a:pt x="776061" y="1758475"/>
                  <a:pt x="776061" y="1758475"/>
                </a:cubicBezTo>
                <a:cubicBezTo>
                  <a:pt x="766292" y="1748706"/>
                  <a:pt x="756524" y="1748706"/>
                  <a:pt x="756524" y="1738937"/>
                </a:cubicBezTo>
                <a:cubicBezTo>
                  <a:pt x="746755" y="1738937"/>
                  <a:pt x="736987" y="1738937"/>
                  <a:pt x="736987" y="1738937"/>
                </a:cubicBezTo>
                <a:cubicBezTo>
                  <a:pt x="736987" y="1738937"/>
                  <a:pt x="727218" y="1719398"/>
                  <a:pt x="717449" y="1719398"/>
                </a:cubicBezTo>
                <a:cubicBezTo>
                  <a:pt x="707681" y="1719398"/>
                  <a:pt x="688143" y="1719398"/>
                  <a:pt x="678375" y="1709629"/>
                </a:cubicBezTo>
                <a:cubicBezTo>
                  <a:pt x="668606" y="1709629"/>
                  <a:pt x="668606" y="1709629"/>
                  <a:pt x="658838" y="1709629"/>
                </a:cubicBezTo>
                <a:cubicBezTo>
                  <a:pt x="649069" y="1709629"/>
                  <a:pt x="649069" y="1709629"/>
                  <a:pt x="649069" y="1709629"/>
                </a:cubicBezTo>
                <a:cubicBezTo>
                  <a:pt x="649069" y="1699859"/>
                  <a:pt x="639300" y="1699859"/>
                  <a:pt x="609995" y="1699859"/>
                </a:cubicBezTo>
                <a:cubicBezTo>
                  <a:pt x="590457" y="1690090"/>
                  <a:pt x="580689" y="1690090"/>
                  <a:pt x="570920" y="1690090"/>
                </a:cubicBezTo>
                <a:cubicBezTo>
                  <a:pt x="561152" y="1690090"/>
                  <a:pt x="473234" y="1680321"/>
                  <a:pt x="453697" y="1680321"/>
                </a:cubicBezTo>
                <a:cubicBezTo>
                  <a:pt x="453697" y="1680321"/>
                  <a:pt x="443928" y="1680321"/>
                  <a:pt x="443928" y="1680321"/>
                </a:cubicBezTo>
                <a:cubicBezTo>
                  <a:pt x="443928" y="1680321"/>
                  <a:pt x="434160" y="1680321"/>
                  <a:pt x="434160" y="1680321"/>
                </a:cubicBezTo>
                <a:cubicBezTo>
                  <a:pt x="424391" y="1680321"/>
                  <a:pt x="414622" y="1680321"/>
                  <a:pt x="395085" y="1680321"/>
                </a:cubicBezTo>
                <a:cubicBezTo>
                  <a:pt x="385317" y="1680321"/>
                  <a:pt x="375548" y="1680321"/>
                  <a:pt x="365779" y="1680321"/>
                </a:cubicBezTo>
                <a:cubicBezTo>
                  <a:pt x="356011" y="1670551"/>
                  <a:pt x="346242" y="1670551"/>
                  <a:pt x="336473" y="1670551"/>
                </a:cubicBezTo>
                <a:cubicBezTo>
                  <a:pt x="326705" y="1670551"/>
                  <a:pt x="316936" y="1670551"/>
                  <a:pt x="316936" y="1670551"/>
                </a:cubicBezTo>
                <a:cubicBezTo>
                  <a:pt x="316936" y="1670551"/>
                  <a:pt x="307168" y="1670551"/>
                  <a:pt x="287630" y="1670551"/>
                </a:cubicBezTo>
                <a:cubicBezTo>
                  <a:pt x="277862" y="1670551"/>
                  <a:pt x="268093" y="1670551"/>
                  <a:pt x="268093" y="1670551"/>
                </a:cubicBezTo>
                <a:cubicBezTo>
                  <a:pt x="258325" y="1670551"/>
                  <a:pt x="248556" y="1670551"/>
                  <a:pt x="229019" y="1670551"/>
                </a:cubicBezTo>
                <a:cubicBezTo>
                  <a:pt x="199713" y="1670551"/>
                  <a:pt x="150870" y="1660782"/>
                  <a:pt x="141101" y="1660782"/>
                </a:cubicBezTo>
                <a:cubicBezTo>
                  <a:pt x="131332" y="1660782"/>
                  <a:pt x="131332" y="1660782"/>
                  <a:pt x="121564" y="1660782"/>
                </a:cubicBezTo>
                <a:cubicBezTo>
                  <a:pt x="121564" y="1660782"/>
                  <a:pt x="121564" y="1660782"/>
                  <a:pt x="111795" y="1660782"/>
                </a:cubicBezTo>
                <a:cubicBezTo>
                  <a:pt x="102027" y="1660782"/>
                  <a:pt x="92258" y="1660782"/>
                  <a:pt x="92258" y="1660782"/>
                </a:cubicBezTo>
                <a:cubicBezTo>
                  <a:pt x="92258" y="1670551"/>
                  <a:pt x="82489" y="1670551"/>
                  <a:pt x="82489" y="1660782"/>
                </a:cubicBezTo>
                <a:cubicBezTo>
                  <a:pt x="72721" y="1660782"/>
                  <a:pt x="72721" y="1660782"/>
                  <a:pt x="72721" y="1660782"/>
                </a:cubicBezTo>
                <a:cubicBezTo>
                  <a:pt x="43415" y="1660782"/>
                  <a:pt x="43415" y="1660782"/>
                  <a:pt x="33646" y="1660782"/>
                </a:cubicBezTo>
                <a:cubicBezTo>
                  <a:pt x="23878" y="1651013"/>
                  <a:pt x="33646" y="1651013"/>
                  <a:pt x="43415" y="1651013"/>
                </a:cubicBezTo>
                <a:cubicBezTo>
                  <a:pt x="53184" y="1651013"/>
                  <a:pt x="53184" y="1651013"/>
                  <a:pt x="62952" y="1651013"/>
                </a:cubicBezTo>
                <a:cubicBezTo>
                  <a:pt x="72721" y="1651013"/>
                  <a:pt x="82489" y="1651013"/>
                  <a:pt x="82489" y="1651013"/>
                </a:cubicBezTo>
                <a:cubicBezTo>
                  <a:pt x="92258" y="1651013"/>
                  <a:pt x="102027" y="1651013"/>
                  <a:pt x="111795" y="1651013"/>
                </a:cubicBezTo>
                <a:cubicBezTo>
                  <a:pt x="121564" y="1651013"/>
                  <a:pt x="141101" y="1651013"/>
                  <a:pt x="141101" y="1651013"/>
                </a:cubicBezTo>
                <a:cubicBezTo>
                  <a:pt x="141101" y="1651013"/>
                  <a:pt x="150870" y="1651013"/>
                  <a:pt x="150870" y="1651013"/>
                </a:cubicBezTo>
                <a:cubicBezTo>
                  <a:pt x="160638" y="1651013"/>
                  <a:pt x="160638" y="1651013"/>
                  <a:pt x="160638" y="1651013"/>
                </a:cubicBezTo>
                <a:cubicBezTo>
                  <a:pt x="170407" y="1651013"/>
                  <a:pt x="170407" y="1651013"/>
                  <a:pt x="170407" y="1651013"/>
                </a:cubicBezTo>
                <a:cubicBezTo>
                  <a:pt x="180176" y="1651013"/>
                  <a:pt x="180176" y="1651013"/>
                  <a:pt x="180176" y="1651013"/>
                </a:cubicBezTo>
                <a:cubicBezTo>
                  <a:pt x="189944" y="1651013"/>
                  <a:pt x="209482" y="1651013"/>
                  <a:pt x="229019" y="1660782"/>
                </a:cubicBezTo>
                <a:cubicBezTo>
                  <a:pt x="248556" y="1660782"/>
                  <a:pt x="268093" y="1660782"/>
                  <a:pt x="268093" y="1660782"/>
                </a:cubicBezTo>
                <a:cubicBezTo>
                  <a:pt x="277862" y="1660782"/>
                  <a:pt x="287630" y="1660782"/>
                  <a:pt x="297399" y="1660782"/>
                </a:cubicBezTo>
                <a:cubicBezTo>
                  <a:pt x="307168" y="1660782"/>
                  <a:pt x="316936" y="1660782"/>
                  <a:pt x="326705" y="1660782"/>
                </a:cubicBezTo>
                <a:cubicBezTo>
                  <a:pt x="346242" y="1660782"/>
                  <a:pt x="375548" y="1660782"/>
                  <a:pt x="404854" y="1670551"/>
                </a:cubicBezTo>
                <a:cubicBezTo>
                  <a:pt x="414622" y="1670551"/>
                  <a:pt x="424391" y="1670551"/>
                  <a:pt x="434160" y="1670551"/>
                </a:cubicBezTo>
                <a:cubicBezTo>
                  <a:pt x="434160" y="1670551"/>
                  <a:pt x="443928" y="1670551"/>
                  <a:pt x="443928" y="1670551"/>
                </a:cubicBezTo>
                <a:cubicBezTo>
                  <a:pt x="453697" y="1670551"/>
                  <a:pt x="463465" y="1670551"/>
                  <a:pt x="463465" y="1670551"/>
                </a:cubicBezTo>
                <a:cubicBezTo>
                  <a:pt x="473234" y="1670551"/>
                  <a:pt x="483003" y="1670551"/>
                  <a:pt x="492771" y="1670551"/>
                </a:cubicBezTo>
                <a:cubicBezTo>
                  <a:pt x="492771" y="1670551"/>
                  <a:pt x="502540" y="1670551"/>
                  <a:pt x="502540" y="1670551"/>
                </a:cubicBezTo>
                <a:cubicBezTo>
                  <a:pt x="512308" y="1670551"/>
                  <a:pt x="522077" y="1670551"/>
                  <a:pt x="531846" y="1680321"/>
                </a:cubicBezTo>
                <a:cubicBezTo>
                  <a:pt x="541614" y="1680321"/>
                  <a:pt x="551383" y="1680321"/>
                  <a:pt x="561152" y="1680321"/>
                </a:cubicBezTo>
                <a:cubicBezTo>
                  <a:pt x="570920" y="1680321"/>
                  <a:pt x="590457" y="1680321"/>
                  <a:pt x="619763" y="1680321"/>
                </a:cubicBezTo>
                <a:cubicBezTo>
                  <a:pt x="629532" y="1680321"/>
                  <a:pt x="639300" y="1680321"/>
                  <a:pt x="649069" y="1680321"/>
                </a:cubicBezTo>
                <a:cubicBezTo>
                  <a:pt x="649069" y="1680321"/>
                  <a:pt x="639300" y="1670551"/>
                  <a:pt x="639300" y="1670551"/>
                </a:cubicBezTo>
                <a:cubicBezTo>
                  <a:pt x="629532" y="1670551"/>
                  <a:pt x="629532" y="1670551"/>
                  <a:pt x="629532" y="1660782"/>
                </a:cubicBezTo>
                <a:cubicBezTo>
                  <a:pt x="629532" y="1660782"/>
                  <a:pt x="658838" y="1670551"/>
                  <a:pt x="688143" y="1690090"/>
                </a:cubicBezTo>
                <a:cubicBezTo>
                  <a:pt x="717449" y="1690090"/>
                  <a:pt x="766292" y="1690090"/>
                  <a:pt x="766292" y="1690090"/>
                </a:cubicBezTo>
                <a:cubicBezTo>
                  <a:pt x="766292" y="1690090"/>
                  <a:pt x="776061" y="1690090"/>
                  <a:pt x="776061" y="1690090"/>
                </a:cubicBezTo>
                <a:cubicBezTo>
                  <a:pt x="795598" y="1690090"/>
                  <a:pt x="805367" y="1690090"/>
                  <a:pt x="815135" y="1699859"/>
                </a:cubicBezTo>
                <a:cubicBezTo>
                  <a:pt x="815135" y="1699859"/>
                  <a:pt x="824904" y="1699859"/>
                  <a:pt x="824904" y="1699859"/>
                </a:cubicBezTo>
                <a:cubicBezTo>
                  <a:pt x="834673" y="1699859"/>
                  <a:pt x="863978" y="1699859"/>
                  <a:pt x="893284" y="1699859"/>
                </a:cubicBezTo>
                <a:cubicBezTo>
                  <a:pt x="893284" y="1699859"/>
                  <a:pt x="903053" y="1699859"/>
                  <a:pt x="903053" y="1699859"/>
                </a:cubicBezTo>
                <a:cubicBezTo>
                  <a:pt x="903053" y="1699859"/>
                  <a:pt x="922590" y="1699859"/>
                  <a:pt x="932359" y="1709629"/>
                </a:cubicBezTo>
                <a:cubicBezTo>
                  <a:pt x="932359" y="1699859"/>
                  <a:pt x="922590" y="1699859"/>
                  <a:pt x="922590" y="1699859"/>
                </a:cubicBezTo>
                <a:cubicBezTo>
                  <a:pt x="912821" y="1699859"/>
                  <a:pt x="903053" y="1690090"/>
                  <a:pt x="893284" y="1680321"/>
                </a:cubicBezTo>
                <a:cubicBezTo>
                  <a:pt x="883516" y="1670551"/>
                  <a:pt x="854210" y="1660782"/>
                  <a:pt x="854210" y="1660782"/>
                </a:cubicBezTo>
                <a:cubicBezTo>
                  <a:pt x="844441" y="1651013"/>
                  <a:pt x="824904" y="1641244"/>
                  <a:pt x="815135" y="1641244"/>
                </a:cubicBezTo>
                <a:cubicBezTo>
                  <a:pt x="815135" y="1651013"/>
                  <a:pt x="815135" y="1651013"/>
                  <a:pt x="805367" y="1641244"/>
                </a:cubicBezTo>
                <a:cubicBezTo>
                  <a:pt x="805367" y="1641244"/>
                  <a:pt x="795598" y="1641244"/>
                  <a:pt x="795598" y="1641244"/>
                </a:cubicBezTo>
                <a:cubicBezTo>
                  <a:pt x="785829" y="1631475"/>
                  <a:pt x="785829" y="1631475"/>
                  <a:pt x="785829" y="1631475"/>
                </a:cubicBezTo>
                <a:cubicBezTo>
                  <a:pt x="776061" y="1631475"/>
                  <a:pt x="776061" y="1631475"/>
                  <a:pt x="766292" y="1631475"/>
                </a:cubicBezTo>
                <a:cubicBezTo>
                  <a:pt x="756524" y="1631475"/>
                  <a:pt x="746755" y="1621705"/>
                  <a:pt x="746755" y="1611936"/>
                </a:cubicBezTo>
                <a:cubicBezTo>
                  <a:pt x="746755" y="1611936"/>
                  <a:pt x="746755" y="1602166"/>
                  <a:pt x="746755" y="1602166"/>
                </a:cubicBezTo>
                <a:cubicBezTo>
                  <a:pt x="746755" y="1592397"/>
                  <a:pt x="736987" y="1582628"/>
                  <a:pt x="727218" y="1582628"/>
                </a:cubicBezTo>
                <a:cubicBezTo>
                  <a:pt x="717449" y="1582628"/>
                  <a:pt x="717449" y="1582628"/>
                  <a:pt x="717449" y="1572858"/>
                </a:cubicBezTo>
                <a:cubicBezTo>
                  <a:pt x="717449" y="1553320"/>
                  <a:pt x="717449" y="1553320"/>
                  <a:pt x="727218" y="1572858"/>
                </a:cubicBezTo>
                <a:cubicBezTo>
                  <a:pt x="736987" y="1572858"/>
                  <a:pt x="736987" y="1582628"/>
                  <a:pt x="746755" y="1582628"/>
                </a:cubicBezTo>
                <a:cubicBezTo>
                  <a:pt x="746755" y="1582628"/>
                  <a:pt x="756524" y="1582628"/>
                  <a:pt x="756524" y="1582628"/>
                </a:cubicBezTo>
                <a:cubicBezTo>
                  <a:pt x="756524" y="1582628"/>
                  <a:pt x="766292" y="1592397"/>
                  <a:pt x="766292" y="1592397"/>
                </a:cubicBezTo>
                <a:cubicBezTo>
                  <a:pt x="776061" y="1592397"/>
                  <a:pt x="776061" y="1592397"/>
                  <a:pt x="785829" y="1602166"/>
                </a:cubicBezTo>
                <a:cubicBezTo>
                  <a:pt x="785829" y="1602166"/>
                  <a:pt x="795598" y="1611936"/>
                  <a:pt x="805367" y="1611936"/>
                </a:cubicBezTo>
                <a:cubicBezTo>
                  <a:pt x="815135" y="1611936"/>
                  <a:pt x="824904" y="1621705"/>
                  <a:pt x="824904" y="1621705"/>
                </a:cubicBezTo>
                <a:cubicBezTo>
                  <a:pt x="824904" y="1631475"/>
                  <a:pt x="834673" y="1631475"/>
                  <a:pt x="863978" y="1641244"/>
                </a:cubicBezTo>
                <a:cubicBezTo>
                  <a:pt x="873747" y="1641244"/>
                  <a:pt x="873747" y="1641244"/>
                  <a:pt x="883516" y="1651013"/>
                </a:cubicBezTo>
                <a:cubicBezTo>
                  <a:pt x="883516" y="1651013"/>
                  <a:pt x="883516" y="1651013"/>
                  <a:pt x="893284" y="1660782"/>
                </a:cubicBezTo>
                <a:cubicBezTo>
                  <a:pt x="903053" y="1651013"/>
                  <a:pt x="922590" y="1660782"/>
                  <a:pt x="932359" y="1660782"/>
                </a:cubicBezTo>
                <a:cubicBezTo>
                  <a:pt x="942127" y="1660782"/>
                  <a:pt x="942127" y="1660782"/>
                  <a:pt x="942127" y="1660782"/>
                </a:cubicBezTo>
                <a:cubicBezTo>
                  <a:pt x="951896" y="1660782"/>
                  <a:pt x="951896" y="1660782"/>
                  <a:pt x="951896" y="1660782"/>
                </a:cubicBezTo>
                <a:cubicBezTo>
                  <a:pt x="961665" y="1660782"/>
                  <a:pt x="961665" y="1660782"/>
                  <a:pt x="961665" y="1660782"/>
                </a:cubicBezTo>
                <a:cubicBezTo>
                  <a:pt x="961665" y="1660782"/>
                  <a:pt x="951896" y="1651013"/>
                  <a:pt x="942127" y="1651013"/>
                </a:cubicBezTo>
                <a:cubicBezTo>
                  <a:pt x="922590" y="1641244"/>
                  <a:pt x="883516" y="1621705"/>
                  <a:pt x="873747" y="1611936"/>
                </a:cubicBezTo>
                <a:cubicBezTo>
                  <a:pt x="873747" y="1611936"/>
                  <a:pt x="863978" y="1611936"/>
                  <a:pt x="854210" y="1602166"/>
                </a:cubicBezTo>
                <a:cubicBezTo>
                  <a:pt x="834673" y="1592397"/>
                  <a:pt x="815135" y="1582628"/>
                  <a:pt x="815135" y="1582628"/>
                </a:cubicBezTo>
                <a:cubicBezTo>
                  <a:pt x="815135" y="1572858"/>
                  <a:pt x="805367" y="1572858"/>
                  <a:pt x="795598" y="1572858"/>
                </a:cubicBezTo>
                <a:cubicBezTo>
                  <a:pt x="795598" y="1572858"/>
                  <a:pt x="785829" y="1572858"/>
                  <a:pt x="776061" y="1572858"/>
                </a:cubicBezTo>
                <a:cubicBezTo>
                  <a:pt x="776061" y="1563089"/>
                  <a:pt x="766292" y="1563089"/>
                  <a:pt x="766292" y="1563089"/>
                </a:cubicBezTo>
                <a:cubicBezTo>
                  <a:pt x="756524" y="1563089"/>
                  <a:pt x="756524" y="1563089"/>
                  <a:pt x="756524" y="1553320"/>
                </a:cubicBezTo>
                <a:cubicBezTo>
                  <a:pt x="746755" y="1553320"/>
                  <a:pt x="736987" y="1553320"/>
                  <a:pt x="727218" y="1543550"/>
                </a:cubicBezTo>
                <a:cubicBezTo>
                  <a:pt x="727218" y="1543550"/>
                  <a:pt x="707681" y="1533781"/>
                  <a:pt x="697912" y="1533781"/>
                </a:cubicBezTo>
                <a:cubicBezTo>
                  <a:pt x="688143" y="1524012"/>
                  <a:pt x="688143" y="1524012"/>
                  <a:pt x="678375" y="1524012"/>
                </a:cubicBezTo>
                <a:cubicBezTo>
                  <a:pt x="668606" y="1524012"/>
                  <a:pt x="649069" y="1514243"/>
                  <a:pt x="649069" y="1514243"/>
                </a:cubicBezTo>
                <a:cubicBezTo>
                  <a:pt x="649069" y="1514243"/>
                  <a:pt x="619763" y="1504473"/>
                  <a:pt x="570920" y="1484935"/>
                </a:cubicBezTo>
                <a:cubicBezTo>
                  <a:pt x="570920" y="1484935"/>
                  <a:pt x="561152" y="1484935"/>
                  <a:pt x="541614" y="1475165"/>
                </a:cubicBezTo>
                <a:cubicBezTo>
                  <a:pt x="531846" y="1465396"/>
                  <a:pt x="541614" y="1465396"/>
                  <a:pt x="541614" y="1465396"/>
                </a:cubicBezTo>
                <a:cubicBezTo>
                  <a:pt x="541614" y="1465396"/>
                  <a:pt x="522077" y="1455627"/>
                  <a:pt x="522077" y="1445857"/>
                </a:cubicBezTo>
                <a:cubicBezTo>
                  <a:pt x="531846" y="1445857"/>
                  <a:pt x="541614" y="1455627"/>
                  <a:pt x="561152" y="1455627"/>
                </a:cubicBezTo>
                <a:cubicBezTo>
                  <a:pt x="570920" y="1455627"/>
                  <a:pt x="570920" y="1455627"/>
                  <a:pt x="580689" y="1445857"/>
                </a:cubicBezTo>
                <a:cubicBezTo>
                  <a:pt x="580689" y="1445857"/>
                  <a:pt x="590457" y="1445857"/>
                  <a:pt x="590457" y="1455627"/>
                </a:cubicBezTo>
                <a:cubicBezTo>
                  <a:pt x="600226" y="1465396"/>
                  <a:pt x="600226" y="1465396"/>
                  <a:pt x="609995" y="1465396"/>
                </a:cubicBezTo>
                <a:cubicBezTo>
                  <a:pt x="619763" y="1465396"/>
                  <a:pt x="619763" y="1465396"/>
                  <a:pt x="629532" y="1475165"/>
                </a:cubicBezTo>
                <a:cubicBezTo>
                  <a:pt x="639300" y="1484935"/>
                  <a:pt x="639300" y="1484935"/>
                  <a:pt x="639300" y="1475165"/>
                </a:cubicBezTo>
                <a:cubicBezTo>
                  <a:pt x="649069" y="1475165"/>
                  <a:pt x="649069" y="1475165"/>
                  <a:pt x="649069" y="1475165"/>
                </a:cubicBezTo>
                <a:cubicBezTo>
                  <a:pt x="649069" y="1475165"/>
                  <a:pt x="668606" y="1484935"/>
                  <a:pt x="678375" y="1484935"/>
                </a:cubicBezTo>
                <a:cubicBezTo>
                  <a:pt x="678375" y="1484935"/>
                  <a:pt x="688143" y="1484935"/>
                  <a:pt x="688143" y="1484935"/>
                </a:cubicBezTo>
                <a:cubicBezTo>
                  <a:pt x="688143" y="1494704"/>
                  <a:pt x="736987" y="1514243"/>
                  <a:pt x="746755" y="1524012"/>
                </a:cubicBezTo>
                <a:cubicBezTo>
                  <a:pt x="756524" y="1524012"/>
                  <a:pt x="756524" y="1524012"/>
                  <a:pt x="756524" y="1514243"/>
                </a:cubicBezTo>
                <a:cubicBezTo>
                  <a:pt x="756524" y="1514243"/>
                  <a:pt x="766292" y="1524012"/>
                  <a:pt x="766292" y="1524012"/>
                </a:cubicBezTo>
                <a:cubicBezTo>
                  <a:pt x="776061" y="1524012"/>
                  <a:pt x="785829" y="1533781"/>
                  <a:pt x="785829" y="1533781"/>
                </a:cubicBezTo>
                <a:cubicBezTo>
                  <a:pt x="805367" y="1543550"/>
                  <a:pt x="805367" y="1533781"/>
                  <a:pt x="795598" y="1524012"/>
                </a:cubicBezTo>
                <a:cubicBezTo>
                  <a:pt x="785829" y="1514243"/>
                  <a:pt x="785829" y="1504473"/>
                  <a:pt x="795598" y="1504473"/>
                </a:cubicBezTo>
                <a:cubicBezTo>
                  <a:pt x="795598" y="1494704"/>
                  <a:pt x="795598" y="1494704"/>
                  <a:pt x="795598" y="1494704"/>
                </a:cubicBezTo>
                <a:cubicBezTo>
                  <a:pt x="795598" y="1484935"/>
                  <a:pt x="727218" y="1455627"/>
                  <a:pt x="717449" y="1455627"/>
                </a:cubicBezTo>
                <a:cubicBezTo>
                  <a:pt x="717449" y="1455627"/>
                  <a:pt x="707681" y="1455627"/>
                  <a:pt x="707681" y="1445857"/>
                </a:cubicBezTo>
                <a:cubicBezTo>
                  <a:pt x="707681" y="1445857"/>
                  <a:pt x="697912" y="1445857"/>
                  <a:pt x="697912" y="1445857"/>
                </a:cubicBezTo>
                <a:cubicBezTo>
                  <a:pt x="678375" y="1445857"/>
                  <a:pt x="678375" y="1436088"/>
                  <a:pt x="668606" y="1426319"/>
                </a:cubicBezTo>
                <a:cubicBezTo>
                  <a:pt x="658838" y="1416550"/>
                  <a:pt x="658838" y="1416550"/>
                  <a:pt x="658838" y="1416550"/>
                </a:cubicBezTo>
                <a:cubicBezTo>
                  <a:pt x="649069" y="1416550"/>
                  <a:pt x="649069" y="1416550"/>
                  <a:pt x="639300" y="1416550"/>
                </a:cubicBezTo>
                <a:cubicBezTo>
                  <a:pt x="639300" y="1406780"/>
                  <a:pt x="600226" y="1397011"/>
                  <a:pt x="600226" y="1397011"/>
                </a:cubicBezTo>
                <a:cubicBezTo>
                  <a:pt x="600226" y="1387242"/>
                  <a:pt x="600226" y="1387242"/>
                  <a:pt x="600226" y="1387242"/>
                </a:cubicBezTo>
                <a:cubicBezTo>
                  <a:pt x="600226" y="1377472"/>
                  <a:pt x="600226" y="1377472"/>
                  <a:pt x="590457" y="1377472"/>
                </a:cubicBezTo>
                <a:cubicBezTo>
                  <a:pt x="590457" y="1367703"/>
                  <a:pt x="580689" y="1357934"/>
                  <a:pt x="580689" y="1357934"/>
                </a:cubicBezTo>
                <a:cubicBezTo>
                  <a:pt x="580689" y="1357934"/>
                  <a:pt x="590457" y="1357934"/>
                  <a:pt x="590457" y="1357934"/>
                </a:cubicBezTo>
                <a:cubicBezTo>
                  <a:pt x="600226" y="1348164"/>
                  <a:pt x="600226" y="1357934"/>
                  <a:pt x="609995" y="1357934"/>
                </a:cubicBezTo>
                <a:cubicBezTo>
                  <a:pt x="619763" y="1357934"/>
                  <a:pt x="639300" y="1367703"/>
                  <a:pt x="658838" y="1367703"/>
                </a:cubicBezTo>
                <a:cubicBezTo>
                  <a:pt x="668606" y="1367703"/>
                  <a:pt x="629532" y="1348164"/>
                  <a:pt x="629532" y="1348164"/>
                </a:cubicBezTo>
                <a:cubicBezTo>
                  <a:pt x="629532" y="1348164"/>
                  <a:pt x="658838" y="1348164"/>
                  <a:pt x="668606" y="1357934"/>
                </a:cubicBezTo>
                <a:cubicBezTo>
                  <a:pt x="678375" y="1357934"/>
                  <a:pt x="697912" y="1377472"/>
                  <a:pt x="707681" y="1377472"/>
                </a:cubicBezTo>
                <a:cubicBezTo>
                  <a:pt x="707681" y="1377472"/>
                  <a:pt x="707681" y="1367703"/>
                  <a:pt x="717449" y="1367703"/>
                </a:cubicBezTo>
                <a:cubicBezTo>
                  <a:pt x="717449" y="1367703"/>
                  <a:pt x="717449" y="1367703"/>
                  <a:pt x="727218" y="1367703"/>
                </a:cubicBezTo>
                <a:cubicBezTo>
                  <a:pt x="727218" y="1377472"/>
                  <a:pt x="746755" y="1387242"/>
                  <a:pt x="766292" y="1387242"/>
                </a:cubicBezTo>
                <a:cubicBezTo>
                  <a:pt x="776061" y="1387242"/>
                  <a:pt x="776061" y="1387242"/>
                  <a:pt x="776061" y="1397011"/>
                </a:cubicBezTo>
                <a:cubicBezTo>
                  <a:pt x="785829" y="1397011"/>
                  <a:pt x="805367" y="1406780"/>
                  <a:pt x="824904" y="1406780"/>
                </a:cubicBezTo>
                <a:cubicBezTo>
                  <a:pt x="824904" y="1416550"/>
                  <a:pt x="854210" y="1426319"/>
                  <a:pt x="873747" y="1436088"/>
                </a:cubicBezTo>
                <a:cubicBezTo>
                  <a:pt x="942127" y="1465396"/>
                  <a:pt x="951896" y="1475165"/>
                  <a:pt x="971433" y="1484935"/>
                </a:cubicBezTo>
                <a:cubicBezTo>
                  <a:pt x="981202" y="1484935"/>
                  <a:pt x="1000739" y="1494704"/>
                  <a:pt x="1000739" y="1494704"/>
                </a:cubicBezTo>
                <a:cubicBezTo>
                  <a:pt x="1010508" y="1504473"/>
                  <a:pt x="1020276" y="1504473"/>
                  <a:pt x="1030045" y="1514243"/>
                </a:cubicBezTo>
                <a:cubicBezTo>
                  <a:pt x="1069119" y="1524012"/>
                  <a:pt x="1078888" y="1533781"/>
                  <a:pt x="1078888" y="1533781"/>
                </a:cubicBezTo>
                <a:cubicBezTo>
                  <a:pt x="1078888" y="1533781"/>
                  <a:pt x="1088657" y="1533781"/>
                  <a:pt x="1088657" y="1543550"/>
                </a:cubicBezTo>
                <a:cubicBezTo>
                  <a:pt x="1098425" y="1543550"/>
                  <a:pt x="1108194" y="1543550"/>
                  <a:pt x="1176574" y="1582628"/>
                </a:cubicBezTo>
                <a:cubicBezTo>
                  <a:pt x="1196111" y="1592397"/>
                  <a:pt x="1205880" y="1602166"/>
                  <a:pt x="1215648" y="1602166"/>
                </a:cubicBezTo>
                <a:cubicBezTo>
                  <a:pt x="1215648" y="1602166"/>
                  <a:pt x="1225417" y="1602166"/>
                  <a:pt x="1225417" y="1602166"/>
                </a:cubicBezTo>
                <a:cubicBezTo>
                  <a:pt x="1235186" y="1602166"/>
                  <a:pt x="1235186" y="1611936"/>
                  <a:pt x="1225417" y="1611936"/>
                </a:cubicBezTo>
                <a:cubicBezTo>
                  <a:pt x="1235186" y="1611936"/>
                  <a:pt x="1244954" y="1621705"/>
                  <a:pt x="1254723" y="1621705"/>
                </a:cubicBezTo>
                <a:cubicBezTo>
                  <a:pt x="1264492" y="1621705"/>
                  <a:pt x="1274260" y="1631475"/>
                  <a:pt x="1284029" y="1631475"/>
                </a:cubicBezTo>
                <a:cubicBezTo>
                  <a:pt x="1284029" y="1631475"/>
                  <a:pt x="1293797" y="1631475"/>
                  <a:pt x="1293797" y="1631475"/>
                </a:cubicBezTo>
                <a:cubicBezTo>
                  <a:pt x="1293797" y="1631475"/>
                  <a:pt x="1284029" y="1621705"/>
                  <a:pt x="1274260" y="1621705"/>
                </a:cubicBezTo>
                <a:cubicBezTo>
                  <a:pt x="1264492" y="1621705"/>
                  <a:pt x="1264492" y="1611936"/>
                  <a:pt x="1264492" y="1611936"/>
                </a:cubicBezTo>
                <a:cubicBezTo>
                  <a:pt x="1254723" y="1611936"/>
                  <a:pt x="1254723" y="1611936"/>
                  <a:pt x="1254723" y="1611936"/>
                </a:cubicBezTo>
                <a:cubicBezTo>
                  <a:pt x="1244954" y="1611936"/>
                  <a:pt x="1244954" y="1611936"/>
                  <a:pt x="1244954" y="1611936"/>
                </a:cubicBezTo>
                <a:cubicBezTo>
                  <a:pt x="1235186" y="1602166"/>
                  <a:pt x="1235186" y="1602166"/>
                  <a:pt x="1235186" y="1592397"/>
                </a:cubicBezTo>
                <a:cubicBezTo>
                  <a:pt x="1244954" y="1592397"/>
                  <a:pt x="1244954" y="1592397"/>
                  <a:pt x="1244954" y="1582628"/>
                </a:cubicBezTo>
                <a:cubicBezTo>
                  <a:pt x="1235186" y="1572858"/>
                  <a:pt x="1215648" y="1553320"/>
                  <a:pt x="1215648" y="1553320"/>
                </a:cubicBezTo>
                <a:cubicBezTo>
                  <a:pt x="1205880" y="1553320"/>
                  <a:pt x="1205880" y="1553320"/>
                  <a:pt x="1205880" y="1553320"/>
                </a:cubicBezTo>
                <a:cubicBezTo>
                  <a:pt x="1196111" y="1543550"/>
                  <a:pt x="1196111" y="1543550"/>
                  <a:pt x="1186343" y="1543550"/>
                </a:cubicBezTo>
                <a:cubicBezTo>
                  <a:pt x="1186343" y="1543550"/>
                  <a:pt x="1176574" y="1543550"/>
                  <a:pt x="1176574" y="1533781"/>
                </a:cubicBezTo>
                <a:cubicBezTo>
                  <a:pt x="1176574" y="1533781"/>
                  <a:pt x="1166805" y="1533781"/>
                  <a:pt x="1166805" y="1524012"/>
                </a:cubicBezTo>
                <a:cubicBezTo>
                  <a:pt x="1147268" y="1514243"/>
                  <a:pt x="1137500" y="1514243"/>
                  <a:pt x="1137500" y="1514243"/>
                </a:cubicBezTo>
                <a:cubicBezTo>
                  <a:pt x="1137500" y="1504473"/>
                  <a:pt x="1127731" y="1504473"/>
                  <a:pt x="1117962" y="1504473"/>
                </a:cubicBezTo>
                <a:cubicBezTo>
                  <a:pt x="1078888" y="1494704"/>
                  <a:pt x="1039813" y="1455627"/>
                  <a:pt x="1049582" y="1455627"/>
                </a:cubicBezTo>
                <a:cubicBezTo>
                  <a:pt x="1049582" y="1455627"/>
                  <a:pt x="1049582" y="1445857"/>
                  <a:pt x="1049582" y="1445857"/>
                </a:cubicBezTo>
                <a:cubicBezTo>
                  <a:pt x="1030045" y="1436088"/>
                  <a:pt x="1010508" y="1426319"/>
                  <a:pt x="1010508" y="1426319"/>
                </a:cubicBezTo>
                <a:cubicBezTo>
                  <a:pt x="1010508" y="1436088"/>
                  <a:pt x="1010508" y="1436088"/>
                  <a:pt x="1030045" y="1445857"/>
                </a:cubicBezTo>
                <a:cubicBezTo>
                  <a:pt x="1039813" y="1455627"/>
                  <a:pt x="1049582" y="1465396"/>
                  <a:pt x="1039813" y="1465396"/>
                </a:cubicBezTo>
                <a:cubicBezTo>
                  <a:pt x="1030045" y="1465396"/>
                  <a:pt x="1020276" y="1465396"/>
                  <a:pt x="981202" y="1436088"/>
                </a:cubicBezTo>
                <a:cubicBezTo>
                  <a:pt x="951896" y="1426319"/>
                  <a:pt x="932359" y="1397011"/>
                  <a:pt x="932359" y="1397011"/>
                </a:cubicBezTo>
                <a:cubicBezTo>
                  <a:pt x="932359" y="1397011"/>
                  <a:pt x="903053" y="1367703"/>
                  <a:pt x="863978" y="1357934"/>
                </a:cubicBezTo>
                <a:cubicBezTo>
                  <a:pt x="854210" y="1348164"/>
                  <a:pt x="844441" y="1348164"/>
                  <a:pt x="844441" y="1348164"/>
                </a:cubicBezTo>
                <a:cubicBezTo>
                  <a:pt x="834673" y="1338395"/>
                  <a:pt x="805367" y="1338395"/>
                  <a:pt x="795598" y="1338395"/>
                </a:cubicBezTo>
                <a:cubicBezTo>
                  <a:pt x="795598" y="1348164"/>
                  <a:pt x="785829" y="1348164"/>
                  <a:pt x="785829" y="1348164"/>
                </a:cubicBezTo>
                <a:cubicBezTo>
                  <a:pt x="785829" y="1348164"/>
                  <a:pt x="776061" y="1348164"/>
                  <a:pt x="776061" y="1348164"/>
                </a:cubicBezTo>
                <a:cubicBezTo>
                  <a:pt x="785829" y="1357934"/>
                  <a:pt x="776061" y="1357934"/>
                  <a:pt x="766292" y="1348164"/>
                </a:cubicBezTo>
                <a:cubicBezTo>
                  <a:pt x="756524" y="1348164"/>
                  <a:pt x="756524" y="1348164"/>
                  <a:pt x="756524" y="1348164"/>
                </a:cubicBezTo>
                <a:cubicBezTo>
                  <a:pt x="756524" y="1338395"/>
                  <a:pt x="756524" y="1338395"/>
                  <a:pt x="756524" y="1338395"/>
                </a:cubicBezTo>
                <a:cubicBezTo>
                  <a:pt x="746755" y="1328626"/>
                  <a:pt x="688143" y="1309087"/>
                  <a:pt x="688143" y="1299318"/>
                </a:cubicBezTo>
                <a:lnTo>
                  <a:pt x="697912" y="1299318"/>
                </a:lnTo>
                <a:cubicBezTo>
                  <a:pt x="707681" y="1299318"/>
                  <a:pt x="717449" y="1309087"/>
                  <a:pt x="727218" y="1309087"/>
                </a:cubicBezTo>
                <a:cubicBezTo>
                  <a:pt x="736987" y="1299318"/>
                  <a:pt x="746755" y="1299318"/>
                  <a:pt x="746755" y="1299318"/>
                </a:cubicBezTo>
                <a:cubicBezTo>
                  <a:pt x="746755" y="1299318"/>
                  <a:pt x="717449" y="1289548"/>
                  <a:pt x="717449" y="1289548"/>
                </a:cubicBezTo>
                <a:cubicBezTo>
                  <a:pt x="727218" y="1279779"/>
                  <a:pt x="736987" y="1279779"/>
                  <a:pt x="756524" y="1289548"/>
                </a:cubicBezTo>
                <a:cubicBezTo>
                  <a:pt x="756524" y="1289548"/>
                  <a:pt x="766292" y="1289548"/>
                  <a:pt x="766292" y="1289548"/>
                </a:cubicBezTo>
                <a:cubicBezTo>
                  <a:pt x="776061" y="1299318"/>
                  <a:pt x="776061" y="1299318"/>
                  <a:pt x="785829" y="1299318"/>
                </a:cubicBezTo>
                <a:cubicBezTo>
                  <a:pt x="795598" y="1299318"/>
                  <a:pt x="795598" y="1299318"/>
                  <a:pt x="805367" y="1299318"/>
                </a:cubicBezTo>
                <a:cubicBezTo>
                  <a:pt x="805367" y="1309087"/>
                  <a:pt x="824904" y="1309087"/>
                  <a:pt x="873747" y="1338395"/>
                </a:cubicBezTo>
                <a:cubicBezTo>
                  <a:pt x="873747" y="1338395"/>
                  <a:pt x="883516" y="1348164"/>
                  <a:pt x="893284" y="1348164"/>
                </a:cubicBezTo>
                <a:cubicBezTo>
                  <a:pt x="903053" y="1357934"/>
                  <a:pt x="912821" y="1357934"/>
                  <a:pt x="922590" y="1367703"/>
                </a:cubicBezTo>
                <a:cubicBezTo>
                  <a:pt x="922590" y="1367703"/>
                  <a:pt x="922590" y="1367703"/>
                  <a:pt x="932359" y="1367703"/>
                </a:cubicBezTo>
                <a:cubicBezTo>
                  <a:pt x="932359" y="1367703"/>
                  <a:pt x="942127" y="1377472"/>
                  <a:pt x="961665" y="1387242"/>
                </a:cubicBezTo>
                <a:cubicBezTo>
                  <a:pt x="961665" y="1387242"/>
                  <a:pt x="971433" y="1387242"/>
                  <a:pt x="981202" y="1397011"/>
                </a:cubicBezTo>
                <a:cubicBezTo>
                  <a:pt x="981202" y="1397011"/>
                  <a:pt x="1000739" y="1406780"/>
                  <a:pt x="1010508" y="1406780"/>
                </a:cubicBezTo>
                <a:cubicBezTo>
                  <a:pt x="1020276" y="1416550"/>
                  <a:pt x="1030045" y="1426319"/>
                  <a:pt x="1039813" y="1426319"/>
                </a:cubicBezTo>
                <a:cubicBezTo>
                  <a:pt x="1039813" y="1426319"/>
                  <a:pt x="1049582" y="1426319"/>
                  <a:pt x="1049582" y="1436088"/>
                </a:cubicBezTo>
                <a:cubicBezTo>
                  <a:pt x="1069119" y="1445857"/>
                  <a:pt x="1098425" y="1455627"/>
                  <a:pt x="1108194" y="1465396"/>
                </a:cubicBezTo>
                <a:cubicBezTo>
                  <a:pt x="1108194" y="1465396"/>
                  <a:pt x="1117962" y="1465396"/>
                  <a:pt x="1127731" y="1475165"/>
                </a:cubicBezTo>
                <a:cubicBezTo>
                  <a:pt x="1137500" y="1475165"/>
                  <a:pt x="1147268" y="1484935"/>
                  <a:pt x="1147268" y="1484935"/>
                </a:cubicBezTo>
                <a:cubicBezTo>
                  <a:pt x="1157037" y="1484935"/>
                  <a:pt x="1176574" y="1494704"/>
                  <a:pt x="1186343" y="1504473"/>
                </a:cubicBezTo>
                <a:cubicBezTo>
                  <a:pt x="1196111" y="1514243"/>
                  <a:pt x="1196111" y="1514243"/>
                  <a:pt x="1196111" y="1514243"/>
                </a:cubicBezTo>
                <a:cubicBezTo>
                  <a:pt x="1205880" y="1514243"/>
                  <a:pt x="1215648" y="1514243"/>
                  <a:pt x="1225417" y="1524012"/>
                </a:cubicBezTo>
                <a:cubicBezTo>
                  <a:pt x="1225417" y="1524012"/>
                  <a:pt x="1235186" y="1524012"/>
                  <a:pt x="1235186" y="1524012"/>
                </a:cubicBezTo>
                <a:cubicBezTo>
                  <a:pt x="1254723" y="1524012"/>
                  <a:pt x="1254723" y="1533781"/>
                  <a:pt x="1244954" y="1533781"/>
                </a:cubicBezTo>
                <a:cubicBezTo>
                  <a:pt x="1254723" y="1533781"/>
                  <a:pt x="1274260" y="1543550"/>
                  <a:pt x="1284029" y="1553320"/>
                </a:cubicBezTo>
                <a:cubicBezTo>
                  <a:pt x="1293797" y="1563089"/>
                  <a:pt x="1313335" y="1563089"/>
                  <a:pt x="1323103" y="1572858"/>
                </a:cubicBezTo>
                <a:cubicBezTo>
                  <a:pt x="1323103" y="1572858"/>
                  <a:pt x="1332872" y="1582628"/>
                  <a:pt x="1332872" y="1582628"/>
                </a:cubicBezTo>
                <a:cubicBezTo>
                  <a:pt x="1342640" y="1582628"/>
                  <a:pt x="1342640" y="1582628"/>
                  <a:pt x="1342640" y="1582628"/>
                </a:cubicBezTo>
                <a:cubicBezTo>
                  <a:pt x="1342640" y="1582628"/>
                  <a:pt x="1371946" y="1592397"/>
                  <a:pt x="1401252" y="1611936"/>
                </a:cubicBezTo>
                <a:cubicBezTo>
                  <a:pt x="1401252" y="1611936"/>
                  <a:pt x="1411021" y="1611936"/>
                  <a:pt x="1411021" y="1611936"/>
                </a:cubicBezTo>
                <a:cubicBezTo>
                  <a:pt x="1420789" y="1611936"/>
                  <a:pt x="1420789" y="1621705"/>
                  <a:pt x="1430558" y="1621705"/>
                </a:cubicBezTo>
                <a:cubicBezTo>
                  <a:pt x="1440327" y="1621705"/>
                  <a:pt x="1450095" y="1631475"/>
                  <a:pt x="1450095" y="1631475"/>
                </a:cubicBezTo>
                <a:cubicBezTo>
                  <a:pt x="1459864" y="1631475"/>
                  <a:pt x="1459864" y="1631475"/>
                  <a:pt x="1459864" y="1631475"/>
                </a:cubicBezTo>
                <a:cubicBezTo>
                  <a:pt x="1469632" y="1631475"/>
                  <a:pt x="1469632" y="1631475"/>
                  <a:pt x="1469632" y="1641244"/>
                </a:cubicBezTo>
                <a:cubicBezTo>
                  <a:pt x="1479401" y="1631475"/>
                  <a:pt x="1479401" y="1641244"/>
                  <a:pt x="1489170" y="1641244"/>
                </a:cubicBezTo>
                <a:cubicBezTo>
                  <a:pt x="1489170" y="1641244"/>
                  <a:pt x="1498938" y="1641244"/>
                  <a:pt x="1498938" y="1641244"/>
                </a:cubicBezTo>
                <a:cubicBezTo>
                  <a:pt x="1498938" y="1641244"/>
                  <a:pt x="1498938" y="1641244"/>
                  <a:pt x="1508707" y="1641244"/>
                </a:cubicBezTo>
                <a:cubicBezTo>
                  <a:pt x="1508707" y="1641244"/>
                  <a:pt x="1518475" y="1641244"/>
                  <a:pt x="1518475" y="1641244"/>
                </a:cubicBezTo>
                <a:cubicBezTo>
                  <a:pt x="1528244" y="1641244"/>
                  <a:pt x="1528244" y="1641244"/>
                  <a:pt x="1528244" y="1641244"/>
                </a:cubicBezTo>
                <a:cubicBezTo>
                  <a:pt x="1538013" y="1651013"/>
                  <a:pt x="1547781" y="1651013"/>
                  <a:pt x="1547781" y="1651013"/>
                </a:cubicBezTo>
                <a:cubicBezTo>
                  <a:pt x="1557550" y="1651013"/>
                  <a:pt x="1557550" y="1651013"/>
                  <a:pt x="1567319" y="1651013"/>
                </a:cubicBezTo>
                <a:cubicBezTo>
                  <a:pt x="1557550" y="1641244"/>
                  <a:pt x="1547781" y="1641244"/>
                  <a:pt x="1538013" y="1631475"/>
                </a:cubicBezTo>
                <a:cubicBezTo>
                  <a:pt x="1528244" y="1631475"/>
                  <a:pt x="1518475" y="1621705"/>
                  <a:pt x="1518475" y="1621705"/>
                </a:cubicBezTo>
                <a:cubicBezTo>
                  <a:pt x="1518475" y="1621705"/>
                  <a:pt x="1498938" y="1611936"/>
                  <a:pt x="1489170" y="1611936"/>
                </a:cubicBezTo>
                <a:cubicBezTo>
                  <a:pt x="1469632" y="1592397"/>
                  <a:pt x="1459864" y="1592397"/>
                  <a:pt x="1469632" y="1592397"/>
                </a:cubicBezTo>
                <a:cubicBezTo>
                  <a:pt x="1469632" y="1582628"/>
                  <a:pt x="1498938" y="1602166"/>
                  <a:pt x="1528244" y="1621705"/>
                </a:cubicBezTo>
                <a:cubicBezTo>
                  <a:pt x="1528244" y="1621705"/>
                  <a:pt x="1538013" y="1631475"/>
                  <a:pt x="1547781" y="1631475"/>
                </a:cubicBezTo>
                <a:cubicBezTo>
                  <a:pt x="1547781" y="1631475"/>
                  <a:pt x="1567319" y="1641244"/>
                  <a:pt x="1577087" y="1651013"/>
                </a:cubicBezTo>
                <a:cubicBezTo>
                  <a:pt x="1577087" y="1651013"/>
                  <a:pt x="1586856" y="1651013"/>
                  <a:pt x="1606393" y="1651013"/>
                </a:cubicBezTo>
                <a:cubicBezTo>
                  <a:pt x="1606393" y="1651013"/>
                  <a:pt x="1616162" y="1651013"/>
                  <a:pt x="1616162" y="1651013"/>
                </a:cubicBezTo>
                <a:cubicBezTo>
                  <a:pt x="1616162" y="1651013"/>
                  <a:pt x="1625930" y="1651013"/>
                  <a:pt x="1625930" y="1660782"/>
                </a:cubicBezTo>
                <a:cubicBezTo>
                  <a:pt x="1635699" y="1660782"/>
                  <a:pt x="1645467" y="1660782"/>
                  <a:pt x="1655236" y="1660782"/>
                </a:cubicBezTo>
                <a:cubicBezTo>
                  <a:pt x="1665005" y="1660782"/>
                  <a:pt x="1674773" y="1670551"/>
                  <a:pt x="1684542" y="1670551"/>
                </a:cubicBezTo>
                <a:cubicBezTo>
                  <a:pt x="1713848" y="1670551"/>
                  <a:pt x="1733385" y="1680321"/>
                  <a:pt x="1743154" y="1680321"/>
                </a:cubicBezTo>
                <a:cubicBezTo>
                  <a:pt x="1752922" y="1680321"/>
                  <a:pt x="1752922" y="1680321"/>
                  <a:pt x="1752922" y="1680321"/>
                </a:cubicBezTo>
                <a:cubicBezTo>
                  <a:pt x="1752922" y="1680321"/>
                  <a:pt x="1762691" y="1680321"/>
                  <a:pt x="1762691" y="1680321"/>
                </a:cubicBezTo>
                <a:cubicBezTo>
                  <a:pt x="1762691" y="1680321"/>
                  <a:pt x="1811534" y="1690090"/>
                  <a:pt x="1811534" y="1690090"/>
                </a:cubicBezTo>
                <a:cubicBezTo>
                  <a:pt x="1811534" y="1690090"/>
                  <a:pt x="1831071" y="1690090"/>
                  <a:pt x="1840840" y="1690090"/>
                </a:cubicBezTo>
                <a:cubicBezTo>
                  <a:pt x="1870145" y="1699859"/>
                  <a:pt x="1870145" y="1699859"/>
                  <a:pt x="1870145" y="1690090"/>
                </a:cubicBezTo>
                <a:cubicBezTo>
                  <a:pt x="1879914" y="1690090"/>
                  <a:pt x="1879914" y="1690090"/>
                  <a:pt x="1879914" y="1690090"/>
                </a:cubicBezTo>
                <a:cubicBezTo>
                  <a:pt x="1879914" y="1690090"/>
                  <a:pt x="1879914" y="1680321"/>
                  <a:pt x="1889683" y="1680321"/>
                </a:cubicBezTo>
                <a:cubicBezTo>
                  <a:pt x="1899451" y="1680321"/>
                  <a:pt x="1958063" y="1690090"/>
                  <a:pt x="1958063" y="1690090"/>
                </a:cubicBezTo>
                <a:cubicBezTo>
                  <a:pt x="1958063" y="1699859"/>
                  <a:pt x="1967832" y="1699859"/>
                  <a:pt x="1967832" y="1690090"/>
                </a:cubicBezTo>
                <a:cubicBezTo>
                  <a:pt x="1967832" y="1680321"/>
                  <a:pt x="1938526" y="1680321"/>
                  <a:pt x="1928757" y="1670551"/>
                </a:cubicBezTo>
                <a:cubicBezTo>
                  <a:pt x="1918988" y="1670551"/>
                  <a:pt x="1899451" y="1670551"/>
                  <a:pt x="1889683" y="1660782"/>
                </a:cubicBezTo>
                <a:cubicBezTo>
                  <a:pt x="1870145" y="1660782"/>
                  <a:pt x="1860377" y="1660782"/>
                  <a:pt x="1860377" y="1660782"/>
                </a:cubicBezTo>
                <a:cubicBezTo>
                  <a:pt x="1850608" y="1660782"/>
                  <a:pt x="1850608" y="1651013"/>
                  <a:pt x="1850608" y="1651013"/>
                </a:cubicBezTo>
                <a:cubicBezTo>
                  <a:pt x="1850608" y="1651013"/>
                  <a:pt x="1840840" y="1651013"/>
                  <a:pt x="1831071" y="1651013"/>
                </a:cubicBezTo>
                <a:cubicBezTo>
                  <a:pt x="1831071" y="1651013"/>
                  <a:pt x="1811534" y="1641244"/>
                  <a:pt x="1791997" y="1641244"/>
                </a:cubicBezTo>
                <a:cubicBezTo>
                  <a:pt x="1772459" y="1641244"/>
                  <a:pt x="1752922" y="1631475"/>
                  <a:pt x="1743154" y="1631475"/>
                </a:cubicBezTo>
                <a:cubicBezTo>
                  <a:pt x="1733385" y="1631475"/>
                  <a:pt x="1713848" y="1621705"/>
                  <a:pt x="1704079" y="1621705"/>
                </a:cubicBezTo>
                <a:cubicBezTo>
                  <a:pt x="1684542" y="1611936"/>
                  <a:pt x="1674773" y="1611936"/>
                  <a:pt x="1665005" y="1611936"/>
                </a:cubicBezTo>
                <a:cubicBezTo>
                  <a:pt x="1665005" y="1611936"/>
                  <a:pt x="1655236" y="1611936"/>
                  <a:pt x="1645467" y="1611936"/>
                </a:cubicBezTo>
                <a:cubicBezTo>
                  <a:pt x="1645467" y="1611936"/>
                  <a:pt x="1635699" y="1602166"/>
                  <a:pt x="1635699" y="1602166"/>
                </a:cubicBezTo>
                <a:lnTo>
                  <a:pt x="1645467" y="1602166"/>
                </a:lnTo>
                <a:cubicBezTo>
                  <a:pt x="1645467" y="1602166"/>
                  <a:pt x="1655236" y="1602166"/>
                  <a:pt x="1655236" y="1602166"/>
                </a:cubicBezTo>
                <a:cubicBezTo>
                  <a:pt x="1665005" y="1602166"/>
                  <a:pt x="1665005" y="1602166"/>
                  <a:pt x="1674773" y="1611936"/>
                </a:cubicBezTo>
                <a:cubicBezTo>
                  <a:pt x="1674773" y="1611936"/>
                  <a:pt x="1684542" y="1611936"/>
                  <a:pt x="1694310" y="1611936"/>
                </a:cubicBezTo>
                <a:cubicBezTo>
                  <a:pt x="1694310" y="1611936"/>
                  <a:pt x="1704079" y="1611936"/>
                  <a:pt x="1713848" y="1621705"/>
                </a:cubicBezTo>
                <a:cubicBezTo>
                  <a:pt x="1723616" y="1621705"/>
                  <a:pt x="1733385" y="1621705"/>
                  <a:pt x="1733385" y="1621705"/>
                </a:cubicBezTo>
                <a:cubicBezTo>
                  <a:pt x="1743154" y="1621705"/>
                  <a:pt x="1752922" y="1621705"/>
                  <a:pt x="1752922" y="1621705"/>
                </a:cubicBezTo>
                <a:cubicBezTo>
                  <a:pt x="1752922" y="1621705"/>
                  <a:pt x="1762691" y="1631475"/>
                  <a:pt x="1762691" y="1631475"/>
                </a:cubicBezTo>
                <a:cubicBezTo>
                  <a:pt x="1772459" y="1631475"/>
                  <a:pt x="1782228" y="1631475"/>
                  <a:pt x="1801765" y="1631475"/>
                </a:cubicBezTo>
                <a:cubicBezTo>
                  <a:pt x="1811534" y="1631475"/>
                  <a:pt x="1831071" y="1641244"/>
                  <a:pt x="1831071" y="1641244"/>
                </a:cubicBezTo>
                <a:cubicBezTo>
                  <a:pt x="1831071" y="1641244"/>
                  <a:pt x="1840840" y="1641244"/>
                  <a:pt x="1840840" y="1641244"/>
                </a:cubicBezTo>
                <a:cubicBezTo>
                  <a:pt x="1840840" y="1641244"/>
                  <a:pt x="1850608" y="1641244"/>
                  <a:pt x="1850608" y="1641244"/>
                </a:cubicBezTo>
                <a:cubicBezTo>
                  <a:pt x="1860377" y="1641244"/>
                  <a:pt x="1860377" y="1641244"/>
                  <a:pt x="1870145" y="1641244"/>
                </a:cubicBezTo>
                <a:cubicBezTo>
                  <a:pt x="1889683" y="1651013"/>
                  <a:pt x="1948294" y="1660782"/>
                  <a:pt x="1948294" y="1660782"/>
                </a:cubicBezTo>
                <a:cubicBezTo>
                  <a:pt x="1958063" y="1660782"/>
                  <a:pt x="1958063" y="1660782"/>
                  <a:pt x="1958063" y="1660782"/>
                </a:cubicBezTo>
                <a:cubicBezTo>
                  <a:pt x="1958063" y="1660782"/>
                  <a:pt x="1958063" y="1660782"/>
                  <a:pt x="1967832" y="1660782"/>
                </a:cubicBezTo>
                <a:cubicBezTo>
                  <a:pt x="1967832" y="1660782"/>
                  <a:pt x="1977600" y="1660782"/>
                  <a:pt x="1977600" y="1660782"/>
                </a:cubicBezTo>
                <a:cubicBezTo>
                  <a:pt x="1987369" y="1660782"/>
                  <a:pt x="1997137" y="1660782"/>
                  <a:pt x="1997137" y="1660782"/>
                </a:cubicBezTo>
                <a:cubicBezTo>
                  <a:pt x="2006906" y="1670551"/>
                  <a:pt x="2016675" y="1670551"/>
                  <a:pt x="2016675" y="1670551"/>
                </a:cubicBezTo>
                <a:cubicBezTo>
                  <a:pt x="2026443" y="1670551"/>
                  <a:pt x="2036212" y="1670551"/>
                  <a:pt x="2036212" y="1670551"/>
                </a:cubicBezTo>
                <a:cubicBezTo>
                  <a:pt x="2045980" y="1670551"/>
                  <a:pt x="2045980" y="1670551"/>
                  <a:pt x="2045980" y="1680321"/>
                </a:cubicBezTo>
                <a:cubicBezTo>
                  <a:pt x="2055749" y="1680321"/>
                  <a:pt x="2055749" y="1680321"/>
                  <a:pt x="2055749" y="1680321"/>
                </a:cubicBezTo>
                <a:cubicBezTo>
                  <a:pt x="2075286" y="1680321"/>
                  <a:pt x="2104592" y="1690090"/>
                  <a:pt x="2114361" y="1690090"/>
                </a:cubicBezTo>
                <a:cubicBezTo>
                  <a:pt x="2114361" y="1690090"/>
                  <a:pt x="2124129" y="1690090"/>
                  <a:pt x="2124129" y="1699859"/>
                </a:cubicBezTo>
                <a:cubicBezTo>
                  <a:pt x="2133898" y="1699859"/>
                  <a:pt x="2133898" y="1699859"/>
                  <a:pt x="2143667" y="1699859"/>
                </a:cubicBezTo>
                <a:cubicBezTo>
                  <a:pt x="2143667" y="1699859"/>
                  <a:pt x="2153435" y="1699859"/>
                  <a:pt x="2163204" y="1699859"/>
                </a:cubicBezTo>
                <a:cubicBezTo>
                  <a:pt x="2163204" y="1699859"/>
                  <a:pt x="2153435" y="1690090"/>
                  <a:pt x="2153435" y="1690090"/>
                </a:cubicBezTo>
                <a:cubicBezTo>
                  <a:pt x="2153435" y="1690090"/>
                  <a:pt x="2172972" y="1699859"/>
                  <a:pt x="2202278" y="1709629"/>
                </a:cubicBezTo>
                <a:cubicBezTo>
                  <a:pt x="2231584" y="1719398"/>
                  <a:pt x="2241353" y="1719398"/>
                  <a:pt x="2241353" y="1719398"/>
                </a:cubicBezTo>
                <a:cubicBezTo>
                  <a:pt x="2241353" y="1719398"/>
                  <a:pt x="2251121" y="1719398"/>
                  <a:pt x="2260890" y="1719398"/>
                </a:cubicBezTo>
                <a:cubicBezTo>
                  <a:pt x="2270659" y="1719398"/>
                  <a:pt x="2280427" y="1719398"/>
                  <a:pt x="2280427" y="1719398"/>
                </a:cubicBezTo>
                <a:cubicBezTo>
                  <a:pt x="2280427" y="1719398"/>
                  <a:pt x="2299964" y="1719398"/>
                  <a:pt x="2319502" y="1729168"/>
                </a:cubicBezTo>
                <a:cubicBezTo>
                  <a:pt x="2339039" y="1738937"/>
                  <a:pt x="2339039" y="1738937"/>
                  <a:pt x="2348807" y="1729168"/>
                </a:cubicBezTo>
                <a:cubicBezTo>
                  <a:pt x="2348807" y="1729168"/>
                  <a:pt x="2348807" y="1729168"/>
                  <a:pt x="2348807" y="1738937"/>
                </a:cubicBezTo>
                <a:cubicBezTo>
                  <a:pt x="2348807" y="1738937"/>
                  <a:pt x="2358576" y="1738937"/>
                  <a:pt x="2358576" y="1738937"/>
                </a:cubicBezTo>
                <a:cubicBezTo>
                  <a:pt x="2358576" y="1729168"/>
                  <a:pt x="2358576" y="1729168"/>
                  <a:pt x="2368345" y="1738937"/>
                </a:cubicBezTo>
                <a:cubicBezTo>
                  <a:pt x="2378113" y="1738937"/>
                  <a:pt x="2387882" y="1738937"/>
                  <a:pt x="2387882" y="1738937"/>
                </a:cubicBezTo>
                <a:cubicBezTo>
                  <a:pt x="2387882" y="1738937"/>
                  <a:pt x="2397650" y="1738937"/>
                  <a:pt x="2417188" y="1738937"/>
                </a:cubicBezTo>
                <a:cubicBezTo>
                  <a:pt x="2417188" y="1748706"/>
                  <a:pt x="2426956" y="1748706"/>
                  <a:pt x="2426956" y="1748706"/>
                </a:cubicBezTo>
                <a:cubicBezTo>
                  <a:pt x="2436725" y="1748706"/>
                  <a:pt x="2436725" y="1748706"/>
                  <a:pt x="2436725" y="1748706"/>
                </a:cubicBezTo>
                <a:cubicBezTo>
                  <a:pt x="2436725" y="1748706"/>
                  <a:pt x="2426956" y="1748706"/>
                  <a:pt x="2426956" y="1738937"/>
                </a:cubicBezTo>
                <a:cubicBezTo>
                  <a:pt x="2417188" y="1738937"/>
                  <a:pt x="2407419" y="1729168"/>
                  <a:pt x="2397650" y="1729168"/>
                </a:cubicBezTo>
                <a:cubicBezTo>
                  <a:pt x="2397650" y="1729168"/>
                  <a:pt x="2387882" y="1729168"/>
                  <a:pt x="2387882" y="1729168"/>
                </a:cubicBezTo>
                <a:cubicBezTo>
                  <a:pt x="2387882" y="1729168"/>
                  <a:pt x="2387882" y="1729168"/>
                  <a:pt x="2378113" y="1729168"/>
                </a:cubicBezTo>
                <a:cubicBezTo>
                  <a:pt x="2378113" y="1729168"/>
                  <a:pt x="2378113" y="1719398"/>
                  <a:pt x="2378113" y="1719398"/>
                </a:cubicBezTo>
                <a:cubicBezTo>
                  <a:pt x="2368345" y="1709629"/>
                  <a:pt x="2358576" y="1699859"/>
                  <a:pt x="2358576" y="1699859"/>
                </a:cubicBezTo>
                <a:cubicBezTo>
                  <a:pt x="2348807" y="1699859"/>
                  <a:pt x="2348807" y="1699859"/>
                  <a:pt x="2348807" y="1690090"/>
                </a:cubicBezTo>
                <a:cubicBezTo>
                  <a:pt x="2348807" y="1690090"/>
                  <a:pt x="2378113" y="1699859"/>
                  <a:pt x="2387882" y="1709629"/>
                </a:cubicBezTo>
                <a:cubicBezTo>
                  <a:pt x="2387882" y="1709629"/>
                  <a:pt x="2397650" y="1709629"/>
                  <a:pt x="2407419" y="1719398"/>
                </a:cubicBezTo>
                <a:cubicBezTo>
                  <a:pt x="2407419" y="1719398"/>
                  <a:pt x="2417188" y="1719398"/>
                  <a:pt x="2436725" y="1729168"/>
                </a:cubicBezTo>
                <a:cubicBezTo>
                  <a:pt x="2446494" y="1738937"/>
                  <a:pt x="2456262" y="1738937"/>
                  <a:pt x="2456262" y="1738937"/>
                </a:cubicBezTo>
                <a:cubicBezTo>
                  <a:pt x="2456262" y="1738937"/>
                  <a:pt x="2466031" y="1738937"/>
                  <a:pt x="2466031" y="1738937"/>
                </a:cubicBezTo>
                <a:cubicBezTo>
                  <a:pt x="2466031" y="1738937"/>
                  <a:pt x="2475799" y="1748706"/>
                  <a:pt x="2475799" y="1748706"/>
                </a:cubicBezTo>
                <a:cubicBezTo>
                  <a:pt x="2475799" y="1748706"/>
                  <a:pt x="2485568" y="1748706"/>
                  <a:pt x="2495337" y="1758475"/>
                </a:cubicBezTo>
                <a:cubicBezTo>
                  <a:pt x="2495337" y="1758475"/>
                  <a:pt x="2495337" y="1758475"/>
                  <a:pt x="2505105" y="1758475"/>
                </a:cubicBezTo>
                <a:cubicBezTo>
                  <a:pt x="2505105" y="1758475"/>
                  <a:pt x="2505105" y="1758475"/>
                  <a:pt x="2514874" y="1758475"/>
                </a:cubicBezTo>
                <a:cubicBezTo>
                  <a:pt x="2524642" y="1768245"/>
                  <a:pt x="2544180" y="1768245"/>
                  <a:pt x="2544180" y="1768245"/>
                </a:cubicBezTo>
                <a:cubicBezTo>
                  <a:pt x="2544180" y="1768245"/>
                  <a:pt x="2534411" y="1758475"/>
                  <a:pt x="2514874" y="1748706"/>
                </a:cubicBezTo>
                <a:cubicBezTo>
                  <a:pt x="2514874" y="1738937"/>
                  <a:pt x="2534411" y="1748706"/>
                  <a:pt x="2553948" y="1748706"/>
                </a:cubicBezTo>
                <a:cubicBezTo>
                  <a:pt x="2534411" y="1738937"/>
                  <a:pt x="2505105" y="1729168"/>
                  <a:pt x="2514874" y="1729168"/>
                </a:cubicBezTo>
                <a:cubicBezTo>
                  <a:pt x="2514874" y="1729168"/>
                  <a:pt x="2524642" y="1729168"/>
                  <a:pt x="2524642" y="1729168"/>
                </a:cubicBezTo>
                <a:cubicBezTo>
                  <a:pt x="2534411" y="1729168"/>
                  <a:pt x="2534411" y="1738937"/>
                  <a:pt x="2544180" y="1738937"/>
                </a:cubicBezTo>
                <a:cubicBezTo>
                  <a:pt x="2544180" y="1738937"/>
                  <a:pt x="2553948" y="1738937"/>
                  <a:pt x="2563717" y="1738937"/>
                </a:cubicBezTo>
                <a:cubicBezTo>
                  <a:pt x="2573485" y="1748706"/>
                  <a:pt x="2583254" y="1748706"/>
                  <a:pt x="2593023" y="1748706"/>
                </a:cubicBezTo>
                <a:cubicBezTo>
                  <a:pt x="2593023" y="1748706"/>
                  <a:pt x="2595465" y="1748706"/>
                  <a:pt x="2599128" y="1748706"/>
                </a:cubicBezTo>
                <a:lnTo>
                  <a:pt x="2602791" y="1748706"/>
                </a:lnTo>
                <a:cubicBezTo>
                  <a:pt x="2607676" y="1748706"/>
                  <a:pt x="2612560" y="1751148"/>
                  <a:pt x="2618665" y="1753591"/>
                </a:cubicBezTo>
                <a:lnTo>
                  <a:pt x="2622214" y="1754338"/>
                </a:lnTo>
                <a:lnTo>
                  <a:pt x="2627213" y="1757254"/>
                </a:lnTo>
                <a:cubicBezTo>
                  <a:pt x="2632097" y="1758475"/>
                  <a:pt x="2636982" y="1758475"/>
                  <a:pt x="2641866" y="1758475"/>
                </a:cubicBezTo>
                <a:cubicBezTo>
                  <a:pt x="2661403" y="1758475"/>
                  <a:pt x="2671172" y="1768245"/>
                  <a:pt x="2680940" y="1768245"/>
                </a:cubicBezTo>
                <a:cubicBezTo>
                  <a:pt x="2690709" y="1768245"/>
                  <a:pt x="2690709" y="1768245"/>
                  <a:pt x="2690709" y="1768245"/>
                </a:cubicBezTo>
                <a:cubicBezTo>
                  <a:pt x="2690709" y="1768245"/>
                  <a:pt x="2700477" y="1768245"/>
                  <a:pt x="2710246" y="1768245"/>
                </a:cubicBezTo>
                <a:cubicBezTo>
                  <a:pt x="2720015" y="1778014"/>
                  <a:pt x="2768858" y="1787783"/>
                  <a:pt x="2778626" y="1787783"/>
                </a:cubicBezTo>
                <a:cubicBezTo>
                  <a:pt x="2788395" y="1787783"/>
                  <a:pt x="2798164" y="1787783"/>
                  <a:pt x="2807932" y="1787783"/>
                </a:cubicBezTo>
                <a:cubicBezTo>
                  <a:pt x="2788395" y="1778014"/>
                  <a:pt x="2739552" y="1768245"/>
                  <a:pt x="2720015" y="1768245"/>
                </a:cubicBezTo>
                <a:cubicBezTo>
                  <a:pt x="2710246" y="1758475"/>
                  <a:pt x="2710246" y="1758475"/>
                  <a:pt x="2700477" y="1758475"/>
                </a:cubicBezTo>
                <a:cubicBezTo>
                  <a:pt x="2690709" y="1758475"/>
                  <a:pt x="2690709" y="1758475"/>
                  <a:pt x="2690709" y="1758475"/>
                </a:cubicBezTo>
                <a:cubicBezTo>
                  <a:pt x="2680940" y="1758475"/>
                  <a:pt x="2680940" y="1758475"/>
                  <a:pt x="2680940" y="1748706"/>
                </a:cubicBezTo>
                <a:cubicBezTo>
                  <a:pt x="2690709" y="1748706"/>
                  <a:pt x="2690709" y="1748706"/>
                  <a:pt x="2671172" y="1738937"/>
                </a:cubicBezTo>
                <a:cubicBezTo>
                  <a:pt x="2661403" y="1738937"/>
                  <a:pt x="2651634" y="1738937"/>
                  <a:pt x="2651634" y="1738937"/>
                </a:cubicBezTo>
                <a:cubicBezTo>
                  <a:pt x="2651634" y="1738937"/>
                  <a:pt x="2651634" y="1729168"/>
                  <a:pt x="2641866" y="1729168"/>
                </a:cubicBezTo>
                <a:cubicBezTo>
                  <a:pt x="2622329" y="1719398"/>
                  <a:pt x="2612560" y="1719398"/>
                  <a:pt x="2602791" y="1719398"/>
                </a:cubicBezTo>
                <a:cubicBezTo>
                  <a:pt x="2602791" y="1719398"/>
                  <a:pt x="2593023" y="1719398"/>
                  <a:pt x="2593023" y="1709629"/>
                </a:cubicBezTo>
                <a:cubicBezTo>
                  <a:pt x="2602791" y="1709629"/>
                  <a:pt x="2622329" y="1719398"/>
                  <a:pt x="2632097" y="1719398"/>
                </a:cubicBezTo>
                <a:cubicBezTo>
                  <a:pt x="2641866" y="1719398"/>
                  <a:pt x="2661403" y="1729168"/>
                  <a:pt x="2680940" y="1738937"/>
                </a:cubicBezTo>
                <a:cubicBezTo>
                  <a:pt x="2690709" y="1738937"/>
                  <a:pt x="2700477" y="1748706"/>
                  <a:pt x="2710246" y="1748706"/>
                </a:cubicBezTo>
                <a:cubicBezTo>
                  <a:pt x="2710246" y="1748706"/>
                  <a:pt x="2720015" y="1748706"/>
                  <a:pt x="2729783" y="1758475"/>
                </a:cubicBezTo>
                <a:cubicBezTo>
                  <a:pt x="2739552" y="1758475"/>
                  <a:pt x="2759089" y="1758475"/>
                  <a:pt x="2768858" y="1768245"/>
                </a:cubicBezTo>
                <a:cubicBezTo>
                  <a:pt x="2768858" y="1768245"/>
                  <a:pt x="2788395" y="1768245"/>
                  <a:pt x="2807932" y="1778014"/>
                </a:cubicBezTo>
                <a:cubicBezTo>
                  <a:pt x="2827469" y="1787783"/>
                  <a:pt x="2847007" y="1797552"/>
                  <a:pt x="2866544" y="1797552"/>
                </a:cubicBezTo>
                <a:cubicBezTo>
                  <a:pt x="2876312" y="1797552"/>
                  <a:pt x="2886081" y="1807322"/>
                  <a:pt x="2895850" y="1807322"/>
                </a:cubicBezTo>
                <a:cubicBezTo>
                  <a:pt x="2905618" y="1807322"/>
                  <a:pt x="2925156" y="1807322"/>
                  <a:pt x="2925156" y="1807322"/>
                </a:cubicBezTo>
                <a:cubicBezTo>
                  <a:pt x="2934924" y="1817091"/>
                  <a:pt x="2934924" y="1817091"/>
                  <a:pt x="2934924" y="1817091"/>
                </a:cubicBezTo>
                <a:cubicBezTo>
                  <a:pt x="2939808" y="1817091"/>
                  <a:pt x="2952019" y="1819534"/>
                  <a:pt x="2965451" y="1821976"/>
                </a:cubicBezTo>
                <a:lnTo>
                  <a:pt x="2990138" y="1825162"/>
                </a:lnTo>
                <a:lnTo>
                  <a:pt x="2993536" y="1826861"/>
                </a:lnTo>
                <a:lnTo>
                  <a:pt x="3005066" y="1827501"/>
                </a:lnTo>
                <a:lnTo>
                  <a:pt x="3016736" y="1831745"/>
                </a:lnTo>
                <a:cubicBezTo>
                  <a:pt x="3020400" y="1834188"/>
                  <a:pt x="3022842" y="1836630"/>
                  <a:pt x="3022842" y="1836630"/>
                </a:cubicBezTo>
                <a:cubicBezTo>
                  <a:pt x="3022842" y="1831745"/>
                  <a:pt x="3020400" y="1829303"/>
                  <a:pt x="3015515" y="1828082"/>
                </a:cubicBezTo>
                <a:lnTo>
                  <a:pt x="3005066" y="1827501"/>
                </a:lnTo>
                <a:lnTo>
                  <a:pt x="3003304" y="1826861"/>
                </a:lnTo>
                <a:lnTo>
                  <a:pt x="2990138" y="1825162"/>
                </a:lnTo>
                <a:lnTo>
                  <a:pt x="2956903" y="1808543"/>
                </a:lnTo>
                <a:cubicBezTo>
                  <a:pt x="2947135" y="1804880"/>
                  <a:pt x="2939808" y="1802437"/>
                  <a:pt x="2934924" y="1797552"/>
                </a:cubicBezTo>
                <a:cubicBezTo>
                  <a:pt x="2934924" y="1797552"/>
                  <a:pt x="2925156" y="1797552"/>
                  <a:pt x="2915387" y="1797552"/>
                </a:cubicBezTo>
                <a:cubicBezTo>
                  <a:pt x="2895850" y="1787783"/>
                  <a:pt x="2895850" y="1787783"/>
                  <a:pt x="2895850" y="1787783"/>
                </a:cubicBezTo>
                <a:cubicBezTo>
                  <a:pt x="2895850" y="1778014"/>
                  <a:pt x="2895850" y="1778014"/>
                  <a:pt x="2895850" y="1778014"/>
                </a:cubicBezTo>
                <a:cubicBezTo>
                  <a:pt x="2895850" y="1778014"/>
                  <a:pt x="2876312" y="1778014"/>
                  <a:pt x="2866544" y="1768245"/>
                </a:cubicBezTo>
                <a:cubicBezTo>
                  <a:pt x="2856775" y="1768245"/>
                  <a:pt x="2837238" y="1758475"/>
                  <a:pt x="2827469" y="1758475"/>
                </a:cubicBezTo>
                <a:cubicBezTo>
                  <a:pt x="2817701" y="1748706"/>
                  <a:pt x="2798164" y="1748706"/>
                  <a:pt x="2788395" y="1738937"/>
                </a:cubicBezTo>
                <a:cubicBezTo>
                  <a:pt x="2778626" y="1738937"/>
                  <a:pt x="2759089" y="1729168"/>
                  <a:pt x="2759089" y="1729168"/>
                </a:cubicBezTo>
                <a:cubicBezTo>
                  <a:pt x="2749320" y="1729168"/>
                  <a:pt x="2739552" y="1719398"/>
                  <a:pt x="2720015" y="1719398"/>
                </a:cubicBezTo>
                <a:cubicBezTo>
                  <a:pt x="2710246" y="1719398"/>
                  <a:pt x="2700477" y="1709629"/>
                  <a:pt x="2690709" y="1709629"/>
                </a:cubicBezTo>
                <a:cubicBezTo>
                  <a:pt x="2690709" y="1709629"/>
                  <a:pt x="2680940" y="1709629"/>
                  <a:pt x="2671172" y="1699859"/>
                </a:cubicBezTo>
                <a:cubicBezTo>
                  <a:pt x="2671172" y="1699859"/>
                  <a:pt x="2661403" y="1699859"/>
                  <a:pt x="2661403" y="1699859"/>
                </a:cubicBezTo>
                <a:cubicBezTo>
                  <a:pt x="2661403" y="1699859"/>
                  <a:pt x="2641866" y="1690090"/>
                  <a:pt x="2622329" y="1680321"/>
                </a:cubicBezTo>
                <a:cubicBezTo>
                  <a:pt x="2612560" y="1680321"/>
                  <a:pt x="2602791" y="1680321"/>
                  <a:pt x="2593023" y="1670551"/>
                </a:cubicBezTo>
                <a:cubicBezTo>
                  <a:pt x="2583254" y="1670551"/>
                  <a:pt x="2544180" y="1660782"/>
                  <a:pt x="2514874" y="1651013"/>
                </a:cubicBezTo>
                <a:cubicBezTo>
                  <a:pt x="2446494" y="1631475"/>
                  <a:pt x="2426956" y="1621705"/>
                  <a:pt x="2426956" y="1631475"/>
                </a:cubicBezTo>
                <a:cubicBezTo>
                  <a:pt x="2426956" y="1631475"/>
                  <a:pt x="2417188" y="1631475"/>
                  <a:pt x="2407419" y="1631475"/>
                </a:cubicBezTo>
                <a:cubicBezTo>
                  <a:pt x="2397650" y="1621705"/>
                  <a:pt x="2387882" y="1621705"/>
                  <a:pt x="2387882" y="1621705"/>
                </a:cubicBezTo>
                <a:cubicBezTo>
                  <a:pt x="2387882" y="1621705"/>
                  <a:pt x="2397650" y="1611936"/>
                  <a:pt x="2397650" y="1621705"/>
                </a:cubicBezTo>
                <a:cubicBezTo>
                  <a:pt x="2407419" y="1621705"/>
                  <a:pt x="2407419" y="1621705"/>
                  <a:pt x="2417188" y="1621705"/>
                </a:cubicBezTo>
                <a:cubicBezTo>
                  <a:pt x="2436725" y="1621705"/>
                  <a:pt x="2456262" y="1621705"/>
                  <a:pt x="2475799" y="1631475"/>
                </a:cubicBezTo>
                <a:cubicBezTo>
                  <a:pt x="2495337" y="1641244"/>
                  <a:pt x="2514874" y="1641244"/>
                  <a:pt x="2534411" y="1651013"/>
                </a:cubicBezTo>
                <a:cubicBezTo>
                  <a:pt x="2534411" y="1651013"/>
                  <a:pt x="2544180" y="1651013"/>
                  <a:pt x="2553948" y="1660782"/>
                </a:cubicBezTo>
                <a:cubicBezTo>
                  <a:pt x="2583254" y="1670551"/>
                  <a:pt x="2612560" y="1670551"/>
                  <a:pt x="2612560" y="1670551"/>
                </a:cubicBezTo>
                <a:cubicBezTo>
                  <a:pt x="2622329" y="1670551"/>
                  <a:pt x="2622329" y="1670551"/>
                  <a:pt x="2632097" y="1680321"/>
                </a:cubicBezTo>
                <a:cubicBezTo>
                  <a:pt x="2641866" y="1680321"/>
                  <a:pt x="2641866" y="1680321"/>
                  <a:pt x="2641866" y="1670551"/>
                </a:cubicBezTo>
                <a:cubicBezTo>
                  <a:pt x="2641866" y="1670551"/>
                  <a:pt x="2651634" y="1670551"/>
                  <a:pt x="2651634" y="1670551"/>
                </a:cubicBezTo>
                <a:cubicBezTo>
                  <a:pt x="2651634" y="1670551"/>
                  <a:pt x="2651634" y="1680321"/>
                  <a:pt x="2661403" y="1680321"/>
                </a:cubicBezTo>
                <a:cubicBezTo>
                  <a:pt x="2671172" y="1680321"/>
                  <a:pt x="2671172" y="1680321"/>
                  <a:pt x="2680940" y="1690090"/>
                </a:cubicBezTo>
                <a:cubicBezTo>
                  <a:pt x="2680940" y="1690090"/>
                  <a:pt x="2690709" y="1690090"/>
                  <a:pt x="2690709" y="1690090"/>
                </a:cubicBezTo>
                <a:cubicBezTo>
                  <a:pt x="2700477" y="1699859"/>
                  <a:pt x="2710246" y="1699859"/>
                  <a:pt x="2720015" y="1699859"/>
                </a:cubicBezTo>
                <a:cubicBezTo>
                  <a:pt x="2720015" y="1709629"/>
                  <a:pt x="2729783" y="1709629"/>
                  <a:pt x="2739552" y="1709629"/>
                </a:cubicBezTo>
                <a:cubicBezTo>
                  <a:pt x="2759089" y="1719398"/>
                  <a:pt x="2759089" y="1719398"/>
                  <a:pt x="2759089" y="1719398"/>
                </a:cubicBezTo>
                <a:cubicBezTo>
                  <a:pt x="2768858" y="1709629"/>
                  <a:pt x="2768858" y="1719398"/>
                  <a:pt x="2778626" y="1729168"/>
                </a:cubicBezTo>
                <a:cubicBezTo>
                  <a:pt x="2788395" y="1729168"/>
                  <a:pt x="2788395" y="1729168"/>
                  <a:pt x="2807932" y="1738937"/>
                </a:cubicBezTo>
                <a:cubicBezTo>
                  <a:pt x="2817701" y="1748706"/>
                  <a:pt x="2837238" y="1748706"/>
                  <a:pt x="2847007" y="1748706"/>
                </a:cubicBezTo>
                <a:cubicBezTo>
                  <a:pt x="2847007" y="1758475"/>
                  <a:pt x="2866544" y="1758475"/>
                  <a:pt x="2866544" y="1758475"/>
                </a:cubicBezTo>
                <a:cubicBezTo>
                  <a:pt x="2876312" y="1768245"/>
                  <a:pt x="2886081" y="1768245"/>
                  <a:pt x="2886081" y="1768245"/>
                </a:cubicBezTo>
                <a:cubicBezTo>
                  <a:pt x="2895850" y="1768245"/>
                  <a:pt x="2905618" y="1768245"/>
                  <a:pt x="2905618" y="1778014"/>
                </a:cubicBezTo>
                <a:cubicBezTo>
                  <a:pt x="2915387" y="1778014"/>
                  <a:pt x="2925156" y="1778014"/>
                  <a:pt x="2925156" y="1778014"/>
                </a:cubicBezTo>
                <a:cubicBezTo>
                  <a:pt x="2915387" y="1768245"/>
                  <a:pt x="2886081" y="1768245"/>
                  <a:pt x="2886081" y="1758475"/>
                </a:cubicBezTo>
                <a:cubicBezTo>
                  <a:pt x="2886081" y="1758475"/>
                  <a:pt x="2895850" y="1758475"/>
                  <a:pt x="2905618" y="1768245"/>
                </a:cubicBezTo>
                <a:cubicBezTo>
                  <a:pt x="2915387" y="1768245"/>
                  <a:pt x="2934924" y="1778014"/>
                  <a:pt x="2964230" y="1787783"/>
                </a:cubicBezTo>
                <a:cubicBezTo>
                  <a:pt x="2964230" y="1787783"/>
                  <a:pt x="2973999" y="1787783"/>
                  <a:pt x="2983767" y="1797552"/>
                </a:cubicBezTo>
                <a:cubicBezTo>
                  <a:pt x="2993536" y="1797552"/>
                  <a:pt x="3003304" y="1797552"/>
                  <a:pt x="3003304" y="1797552"/>
                </a:cubicBezTo>
                <a:cubicBezTo>
                  <a:pt x="3013073" y="1797552"/>
                  <a:pt x="3013073" y="1797552"/>
                  <a:pt x="3003304" y="1807322"/>
                </a:cubicBezTo>
                <a:cubicBezTo>
                  <a:pt x="3003304" y="1807322"/>
                  <a:pt x="3022842" y="1817091"/>
                  <a:pt x="3022842" y="1817091"/>
                </a:cubicBezTo>
                <a:cubicBezTo>
                  <a:pt x="3032610" y="1817091"/>
                  <a:pt x="3032610" y="1817091"/>
                  <a:pt x="3042379" y="1817091"/>
                </a:cubicBezTo>
                <a:cubicBezTo>
                  <a:pt x="3042379" y="1817091"/>
                  <a:pt x="3042379" y="1817091"/>
                  <a:pt x="3052147" y="1817091"/>
                </a:cubicBezTo>
                <a:cubicBezTo>
                  <a:pt x="3052147" y="1817091"/>
                  <a:pt x="3052147" y="1807322"/>
                  <a:pt x="3052147" y="1807322"/>
                </a:cubicBezTo>
                <a:cubicBezTo>
                  <a:pt x="3061916" y="1817091"/>
                  <a:pt x="3091222" y="1826861"/>
                  <a:pt x="3100991" y="1826861"/>
                </a:cubicBezTo>
                <a:cubicBezTo>
                  <a:pt x="3110759" y="1826861"/>
                  <a:pt x="3120528" y="1836630"/>
                  <a:pt x="3130296" y="1836630"/>
                </a:cubicBezTo>
                <a:cubicBezTo>
                  <a:pt x="3140065" y="1836630"/>
                  <a:pt x="3149834" y="1846399"/>
                  <a:pt x="3149834" y="1846399"/>
                </a:cubicBezTo>
                <a:cubicBezTo>
                  <a:pt x="3149834" y="1846399"/>
                  <a:pt x="3140065" y="1846399"/>
                  <a:pt x="3140065" y="1846399"/>
                </a:cubicBezTo>
                <a:cubicBezTo>
                  <a:pt x="3149834" y="1856168"/>
                  <a:pt x="3149834" y="1856168"/>
                  <a:pt x="3149834" y="1856168"/>
                </a:cubicBezTo>
                <a:cubicBezTo>
                  <a:pt x="3159602" y="1865938"/>
                  <a:pt x="3159602" y="1865938"/>
                  <a:pt x="3208445" y="1885476"/>
                </a:cubicBezTo>
                <a:cubicBezTo>
                  <a:pt x="3218214" y="1885476"/>
                  <a:pt x="3218214" y="1885476"/>
                  <a:pt x="3227982" y="1885476"/>
                </a:cubicBezTo>
                <a:cubicBezTo>
                  <a:pt x="3247520" y="1895246"/>
                  <a:pt x="3267057" y="1895246"/>
                  <a:pt x="3276826" y="1905015"/>
                </a:cubicBezTo>
                <a:cubicBezTo>
                  <a:pt x="3286594" y="1905015"/>
                  <a:pt x="3286594" y="1905015"/>
                  <a:pt x="3296363" y="1905015"/>
                </a:cubicBezTo>
                <a:cubicBezTo>
                  <a:pt x="3296363" y="1914784"/>
                  <a:pt x="3296363" y="1914784"/>
                  <a:pt x="3306131" y="1914784"/>
                </a:cubicBezTo>
                <a:cubicBezTo>
                  <a:pt x="3306131" y="1914784"/>
                  <a:pt x="3306131" y="1914784"/>
                  <a:pt x="3315900" y="1914784"/>
                </a:cubicBezTo>
                <a:cubicBezTo>
                  <a:pt x="3306131" y="1905015"/>
                  <a:pt x="3315900" y="1905015"/>
                  <a:pt x="3325669" y="1914784"/>
                </a:cubicBezTo>
                <a:cubicBezTo>
                  <a:pt x="3325669" y="1914784"/>
                  <a:pt x="3325669" y="1924554"/>
                  <a:pt x="3335437" y="1924554"/>
                </a:cubicBezTo>
                <a:cubicBezTo>
                  <a:pt x="3335437" y="1924554"/>
                  <a:pt x="3335437" y="1924554"/>
                  <a:pt x="3345206" y="1924554"/>
                </a:cubicBezTo>
                <a:cubicBezTo>
                  <a:pt x="3354974" y="1934323"/>
                  <a:pt x="3384280" y="1944092"/>
                  <a:pt x="3384280" y="1944092"/>
                </a:cubicBezTo>
                <a:cubicBezTo>
                  <a:pt x="3394049" y="1944092"/>
                  <a:pt x="3403817" y="1953861"/>
                  <a:pt x="3413586" y="1953861"/>
                </a:cubicBezTo>
                <a:cubicBezTo>
                  <a:pt x="3423355" y="1963631"/>
                  <a:pt x="3433123" y="1963631"/>
                  <a:pt x="3442892" y="1963631"/>
                </a:cubicBezTo>
                <a:cubicBezTo>
                  <a:pt x="3462429" y="1973400"/>
                  <a:pt x="3481966" y="1983169"/>
                  <a:pt x="3491735" y="1983169"/>
                </a:cubicBezTo>
                <a:cubicBezTo>
                  <a:pt x="3501504" y="1992939"/>
                  <a:pt x="3560115" y="2012477"/>
                  <a:pt x="3589421" y="2032016"/>
                </a:cubicBezTo>
                <a:cubicBezTo>
                  <a:pt x="3608958" y="2032016"/>
                  <a:pt x="3618727" y="2041785"/>
                  <a:pt x="3628496" y="2051554"/>
                </a:cubicBezTo>
                <a:cubicBezTo>
                  <a:pt x="3628496" y="2051554"/>
                  <a:pt x="3638264" y="2051554"/>
                  <a:pt x="3638264" y="2051554"/>
                </a:cubicBezTo>
                <a:cubicBezTo>
                  <a:pt x="3648033" y="2051554"/>
                  <a:pt x="3648033" y="2051554"/>
                  <a:pt x="3648033" y="2051554"/>
                </a:cubicBezTo>
                <a:cubicBezTo>
                  <a:pt x="3657801" y="2061324"/>
                  <a:pt x="3667570" y="2061324"/>
                  <a:pt x="3677339" y="2061324"/>
                </a:cubicBezTo>
                <a:cubicBezTo>
                  <a:pt x="3687107" y="2061324"/>
                  <a:pt x="3696876" y="2071093"/>
                  <a:pt x="3706644" y="2071093"/>
                </a:cubicBezTo>
                <a:cubicBezTo>
                  <a:pt x="3706644" y="2071093"/>
                  <a:pt x="3726182" y="2080862"/>
                  <a:pt x="3735950" y="2080862"/>
                </a:cubicBezTo>
                <a:cubicBezTo>
                  <a:pt x="3735950" y="2080862"/>
                  <a:pt x="3755487" y="2090632"/>
                  <a:pt x="3775025" y="2090632"/>
                </a:cubicBezTo>
                <a:cubicBezTo>
                  <a:pt x="3823868" y="2110170"/>
                  <a:pt x="3823868" y="2110170"/>
                  <a:pt x="3853174" y="2119940"/>
                </a:cubicBezTo>
                <a:cubicBezTo>
                  <a:pt x="3862942" y="2119940"/>
                  <a:pt x="3872711" y="2129709"/>
                  <a:pt x="3882479" y="2129709"/>
                </a:cubicBezTo>
                <a:cubicBezTo>
                  <a:pt x="3892248" y="2129709"/>
                  <a:pt x="3892248" y="2129709"/>
                  <a:pt x="3892248" y="2129709"/>
                </a:cubicBezTo>
                <a:cubicBezTo>
                  <a:pt x="3892248" y="2129709"/>
                  <a:pt x="3897132" y="2132151"/>
                  <a:pt x="3904459" y="2134594"/>
                </a:cubicBezTo>
                <a:lnTo>
                  <a:pt x="3924607" y="2138257"/>
                </a:lnTo>
                <a:lnTo>
                  <a:pt x="3941091" y="2149248"/>
                </a:lnTo>
                <a:cubicBezTo>
                  <a:pt x="3941091" y="2149248"/>
                  <a:pt x="3931322" y="2139479"/>
                  <a:pt x="3931322" y="2139479"/>
                </a:cubicBezTo>
                <a:lnTo>
                  <a:pt x="3924607" y="2138257"/>
                </a:lnTo>
                <a:lnTo>
                  <a:pt x="3924149" y="2137952"/>
                </a:lnTo>
                <a:cubicBezTo>
                  <a:pt x="3911785" y="2129709"/>
                  <a:pt x="3911785" y="2129709"/>
                  <a:pt x="3911785" y="2129709"/>
                </a:cubicBezTo>
                <a:cubicBezTo>
                  <a:pt x="3902017" y="2129709"/>
                  <a:pt x="3892248" y="2129709"/>
                  <a:pt x="3853174" y="2110170"/>
                </a:cubicBezTo>
                <a:cubicBezTo>
                  <a:pt x="3843405" y="2100401"/>
                  <a:pt x="3823868" y="2090632"/>
                  <a:pt x="3814099" y="2090632"/>
                </a:cubicBezTo>
                <a:cubicBezTo>
                  <a:pt x="3814099" y="2090632"/>
                  <a:pt x="3784793" y="2080862"/>
                  <a:pt x="3765256" y="2071093"/>
                </a:cubicBezTo>
                <a:cubicBezTo>
                  <a:pt x="3745719" y="2061324"/>
                  <a:pt x="3726182" y="2051554"/>
                  <a:pt x="3726182" y="2051554"/>
                </a:cubicBezTo>
                <a:cubicBezTo>
                  <a:pt x="3716413" y="2041785"/>
                  <a:pt x="3706644" y="2041785"/>
                  <a:pt x="3696876" y="2041785"/>
                </a:cubicBezTo>
                <a:cubicBezTo>
                  <a:pt x="3687107" y="2032016"/>
                  <a:pt x="3667570" y="2032016"/>
                  <a:pt x="3657801" y="2032016"/>
                </a:cubicBezTo>
                <a:cubicBezTo>
                  <a:pt x="3652917" y="2027131"/>
                  <a:pt x="3648033" y="2024689"/>
                  <a:pt x="3640706" y="2022247"/>
                </a:cubicBezTo>
                <a:lnTo>
                  <a:pt x="3618250" y="2015337"/>
                </a:lnTo>
                <a:lnTo>
                  <a:pt x="3618727" y="2012477"/>
                </a:lnTo>
                <a:cubicBezTo>
                  <a:pt x="3618727" y="2012477"/>
                  <a:pt x="3608958" y="2012477"/>
                  <a:pt x="3608958" y="2012477"/>
                </a:cubicBezTo>
                <a:cubicBezTo>
                  <a:pt x="3599190" y="2012477"/>
                  <a:pt x="3599190" y="2012477"/>
                  <a:pt x="3599190" y="2012477"/>
                </a:cubicBezTo>
                <a:cubicBezTo>
                  <a:pt x="3589421" y="2002708"/>
                  <a:pt x="3579652" y="2002708"/>
                  <a:pt x="3579652" y="2002708"/>
                </a:cubicBezTo>
                <a:cubicBezTo>
                  <a:pt x="3579652" y="2002708"/>
                  <a:pt x="3579652" y="1992939"/>
                  <a:pt x="3569884" y="1992939"/>
                </a:cubicBezTo>
                <a:cubicBezTo>
                  <a:pt x="3569884" y="1992939"/>
                  <a:pt x="3569884" y="1992939"/>
                  <a:pt x="3550347" y="1983169"/>
                </a:cubicBezTo>
                <a:cubicBezTo>
                  <a:pt x="3530809" y="1983169"/>
                  <a:pt x="3521041" y="1973400"/>
                  <a:pt x="3521041" y="1973400"/>
                </a:cubicBezTo>
                <a:cubicBezTo>
                  <a:pt x="3511272" y="1973400"/>
                  <a:pt x="3511272" y="1973400"/>
                  <a:pt x="3511272" y="1983169"/>
                </a:cubicBezTo>
                <a:cubicBezTo>
                  <a:pt x="3511272" y="1983169"/>
                  <a:pt x="3511272" y="1983169"/>
                  <a:pt x="3511272" y="1973400"/>
                </a:cubicBezTo>
                <a:cubicBezTo>
                  <a:pt x="3511272" y="1973400"/>
                  <a:pt x="3501504" y="1973400"/>
                  <a:pt x="3481966" y="1963631"/>
                </a:cubicBezTo>
                <a:cubicBezTo>
                  <a:pt x="3462429" y="1963631"/>
                  <a:pt x="3442892" y="1953861"/>
                  <a:pt x="3433123" y="1953861"/>
                </a:cubicBezTo>
                <a:cubicBezTo>
                  <a:pt x="3433123" y="1953861"/>
                  <a:pt x="3403817" y="1944092"/>
                  <a:pt x="3384280" y="1934323"/>
                </a:cubicBezTo>
                <a:cubicBezTo>
                  <a:pt x="3364743" y="1924554"/>
                  <a:pt x="3345206" y="1924554"/>
                  <a:pt x="3345206" y="1914784"/>
                </a:cubicBezTo>
                <a:cubicBezTo>
                  <a:pt x="3354974" y="1914784"/>
                  <a:pt x="3374512" y="1924554"/>
                  <a:pt x="3384280" y="1924554"/>
                </a:cubicBezTo>
                <a:cubicBezTo>
                  <a:pt x="3403817" y="1934323"/>
                  <a:pt x="3423355" y="1934323"/>
                  <a:pt x="3433123" y="1944092"/>
                </a:cubicBezTo>
                <a:cubicBezTo>
                  <a:pt x="3472198" y="1953861"/>
                  <a:pt x="3491735" y="1953861"/>
                  <a:pt x="3540578" y="1973400"/>
                </a:cubicBezTo>
                <a:lnTo>
                  <a:pt x="3561994" y="1977909"/>
                </a:lnTo>
                <a:lnTo>
                  <a:pt x="3569884" y="1983169"/>
                </a:lnTo>
                <a:cubicBezTo>
                  <a:pt x="3569884" y="1983169"/>
                  <a:pt x="3579652" y="1983169"/>
                  <a:pt x="3579652" y="1983169"/>
                </a:cubicBezTo>
                <a:cubicBezTo>
                  <a:pt x="3574768" y="1983169"/>
                  <a:pt x="3569884" y="1980727"/>
                  <a:pt x="3563779" y="1978285"/>
                </a:cubicBezTo>
                <a:lnTo>
                  <a:pt x="3561994" y="1977909"/>
                </a:lnTo>
                <a:lnTo>
                  <a:pt x="3547905" y="1968516"/>
                </a:lnTo>
                <a:cubicBezTo>
                  <a:pt x="3538136" y="1963631"/>
                  <a:pt x="3525925" y="1958746"/>
                  <a:pt x="3511272" y="1953861"/>
                </a:cubicBezTo>
                <a:cubicBezTo>
                  <a:pt x="3501504" y="1953861"/>
                  <a:pt x="3452661" y="1934323"/>
                  <a:pt x="3433123" y="1924554"/>
                </a:cubicBezTo>
                <a:cubicBezTo>
                  <a:pt x="3433123" y="1924554"/>
                  <a:pt x="3423355" y="1914784"/>
                  <a:pt x="3413586" y="1914784"/>
                </a:cubicBezTo>
                <a:cubicBezTo>
                  <a:pt x="3403817" y="1914784"/>
                  <a:pt x="3403817" y="1914784"/>
                  <a:pt x="3394049" y="1914784"/>
                </a:cubicBezTo>
                <a:cubicBezTo>
                  <a:pt x="3394049" y="1905015"/>
                  <a:pt x="3394049" y="1905015"/>
                  <a:pt x="3384280" y="1905015"/>
                </a:cubicBezTo>
                <a:cubicBezTo>
                  <a:pt x="3374512" y="1895246"/>
                  <a:pt x="3354974" y="1895246"/>
                  <a:pt x="3345206" y="1895246"/>
                </a:cubicBezTo>
                <a:cubicBezTo>
                  <a:pt x="3345206" y="1885476"/>
                  <a:pt x="3315900" y="1875707"/>
                  <a:pt x="3296363" y="1875707"/>
                </a:cubicBezTo>
                <a:cubicBezTo>
                  <a:pt x="3276826" y="1865938"/>
                  <a:pt x="3257288" y="1856168"/>
                  <a:pt x="3247520" y="1846399"/>
                </a:cubicBezTo>
                <a:cubicBezTo>
                  <a:pt x="3237751" y="1846399"/>
                  <a:pt x="3218214" y="1836630"/>
                  <a:pt x="3208445" y="1836630"/>
                </a:cubicBezTo>
                <a:cubicBezTo>
                  <a:pt x="3198677" y="1836630"/>
                  <a:pt x="3188908" y="1826861"/>
                  <a:pt x="3188908" y="1826861"/>
                </a:cubicBezTo>
                <a:cubicBezTo>
                  <a:pt x="3179139" y="1817091"/>
                  <a:pt x="3140065" y="1807322"/>
                  <a:pt x="3140065" y="1807322"/>
                </a:cubicBezTo>
                <a:cubicBezTo>
                  <a:pt x="3130296" y="1807322"/>
                  <a:pt x="3130296" y="1807322"/>
                  <a:pt x="3120528" y="1797552"/>
                </a:cubicBezTo>
                <a:cubicBezTo>
                  <a:pt x="3120528" y="1797552"/>
                  <a:pt x="3130296" y="1797552"/>
                  <a:pt x="3130296" y="1797552"/>
                </a:cubicBezTo>
                <a:cubicBezTo>
                  <a:pt x="3135181" y="1797552"/>
                  <a:pt x="3137623" y="1797552"/>
                  <a:pt x="3140065" y="1797552"/>
                </a:cubicBezTo>
                <a:lnTo>
                  <a:pt x="3152132" y="1801575"/>
                </a:lnTo>
                <a:lnTo>
                  <a:pt x="3154718" y="1806101"/>
                </a:lnTo>
                <a:cubicBezTo>
                  <a:pt x="3157160" y="1807322"/>
                  <a:pt x="3159602" y="1807322"/>
                  <a:pt x="3159602" y="1807322"/>
                </a:cubicBezTo>
                <a:cubicBezTo>
                  <a:pt x="3159602" y="1807322"/>
                  <a:pt x="3162044" y="1807322"/>
                  <a:pt x="3165708" y="1807322"/>
                </a:cubicBezTo>
                <a:lnTo>
                  <a:pt x="3169371" y="1807322"/>
                </a:lnTo>
                <a:cubicBezTo>
                  <a:pt x="3179139" y="1807322"/>
                  <a:pt x="3179139" y="1817091"/>
                  <a:pt x="3179139" y="1807322"/>
                </a:cubicBezTo>
                <a:lnTo>
                  <a:pt x="3169371" y="1807322"/>
                </a:lnTo>
                <a:cubicBezTo>
                  <a:pt x="3164487" y="1807322"/>
                  <a:pt x="3159602" y="1804880"/>
                  <a:pt x="3154718" y="1802437"/>
                </a:cubicBezTo>
                <a:lnTo>
                  <a:pt x="3152132" y="1801575"/>
                </a:lnTo>
                <a:lnTo>
                  <a:pt x="3149834" y="1797552"/>
                </a:lnTo>
                <a:cubicBezTo>
                  <a:pt x="3144949" y="1797552"/>
                  <a:pt x="3142507" y="1797552"/>
                  <a:pt x="3140065" y="1797552"/>
                </a:cubicBezTo>
                <a:cubicBezTo>
                  <a:pt x="3130296" y="1797552"/>
                  <a:pt x="3120528" y="1787783"/>
                  <a:pt x="3120528" y="1787783"/>
                </a:cubicBezTo>
                <a:cubicBezTo>
                  <a:pt x="3110759" y="1787783"/>
                  <a:pt x="3100991" y="1787783"/>
                  <a:pt x="3100991" y="1787783"/>
                </a:cubicBezTo>
                <a:cubicBezTo>
                  <a:pt x="3100991" y="1778014"/>
                  <a:pt x="3032610" y="1758475"/>
                  <a:pt x="3022842" y="1758475"/>
                </a:cubicBezTo>
                <a:cubicBezTo>
                  <a:pt x="3022842" y="1758475"/>
                  <a:pt x="3013073" y="1758475"/>
                  <a:pt x="3003304" y="1748706"/>
                </a:cubicBezTo>
                <a:cubicBezTo>
                  <a:pt x="2993536" y="1748706"/>
                  <a:pt x="2973999" y="1738937"/>
                  <a:pt x="2973999" y="1738937"/>
                </a:cubicBezTo>
                <a:cubicBezTo>
                  <a:pt x="2964230" y="1738937"/>
                  <a:pt x="2954461" y="1738937"/>
                  <a:pt x="2954461" y="1738937"/>
                </a:cubicBezTo>
                <a:cubicBezTo>
                  <a:pt x="2944693" y="1729168"/>
                  <a:pt x="2934924" y="1729168"/>
                  <a:pt x="2895850" y="1719398"/>
                </a:cubicBezTo>
                <a:cubicBezTo>
                  <a:pt x="2895850" y="1719398"/>
                  <a:pt x="2886081" y="1719398"/>
                  <a:pt x="2876312" y="1719398"/>
                </a:cubicBezTo>
                <a:cubicBezTo>
                  <a:pt x="2866544" y="1709629"/>
                  <a:pt x="2856775" y="1709629"/>
                  <a:pt x="2847007" y="1709629"/>
                </a:cubicBezTo>
                <a:cubicBezTo>
                  <a:pt x="2847007" y="1699859"/>
                  <a:pt x="2837238" y="1699859"/>
                  <a:pt x="2837238" y="1699859"/>
                </a:cubicBezTo>
                <a:cubicBezTo>
                  <a:pt x="2827469" y="1699859"/>
                  <a:pt x="2817701" y="1699859"/>
                  <a:pt x="2798164" y="1690090"/>
                </a:cubicBezTo>
                <a:cubicBezTo>
                  <a:pt x="2788395" y="1690090"/>
                  <a:pt x="2778626" y="1680321"/>
                  <a:pt x="2778626" y="1680321"/>
                </a:cubicBezTo>
                <a:cubicBezTo>
                  <a:pt x="2768858" y="1680321"/>
                  <a:pt x="2759089" y="1680321"/>
                  <a:pt x="2759089" y="1680321"/>
                </a:cubicBezTo>
                <a:cubicBezTo>
                  <a:pt x="2739552" y="1670551"/>
                  <a:pt x="2710246" y="1660782"/>
                  <a:pt x="2651634" y="1641244"/>
                </a:cubicBezTo>
                <a:cubicBezTo>
                  <a:pt x="2641866" y="1641244"/>
                  <a:pt x="2622329" y="1631475"/>
                  <a:pt x="2612560" y="1631475"/>
                </a:cubicBezTo>
                <a:cubicBezTo>
                  <a:pt x="2593023" y="1621705"/>
                  <a:pt x="2573485" y="1611936"/>
                  <a:pt x="2563717" y="1611936"/>
                </a:cubicBezTo>
                <a:cubicBezTo>
                  <a:pt x="2544180" y="1602166"/>
                  <a:pt x="2534411" y="1602166"/>
                  <a:pt x="2534411" y="1602166"/>
                </a:cubicBezTo>
                <a:cubicBezTo>
                  <a:pt x="2534411" y="1602166"/>
                  <a:pt x="2544180" y="1602166"/>
                  <a:pt x="2544180" y="1602166"/>
                </a:cubicBezTo>
                <a:cubicBezTo>
                  <a:pt x="2544180" y="1602166"/>
                  <a:pt x="2553948" y="1602166"/>
                  <a:pt x="2553948" y="1602166"/>
                </a:cubicBezTo>
                <a:cubicBezTo>
                  <a:pt x="2563717" y="1602166"/>
                  <a:pt x="2563717" y="1602166"/>
                  <a:pt x="2573485" y="1611936"/>
                </a:cubicBezTo>
                <a:cubicBezTo>
                  <a:pt x="2583254" y="1611936"/>
                  <a:pt x="2583254" y="1611936"/>
                  <a:pt x="2593023" y="1611936"/>
                </a:cubicBezTo>
                <a:cubicBezTo>
                  <a:pt x="2593023" y="1611936"/>
                  <a:pt x="2602791" y="1611936"/>
                  <a:pt x="2602791" y="1611936"/>
                </a:cubicBezTo>
                <a:cubicBezTo>
                  <a:pt x="2602791" y="1611936"/>
                  <a:pt x="2602791" y="1611936"/>
                  <a:pt x="2602791" y="1621705"/>
                </a:cubicBezTo>
                <a:cubicBezTo>
                  <a:pt x="2622329" y="1621705"/>
                  <a:pt x="2680940" y="1641244"/>
                  <a:pt x="2671172" y="1641244"/>
                </a:cubicBezTo>
                <a:cubicBezTo>
                  <a:pt x="2671172" y="1641244"/>
                  <a:pt x="2671172" y="1631475"/>
                  <a:pt x="2680940" y="1631475"/>
                </a:cubicBezTo>
                <a:cubicBezTo>
                  <a:pt x="2680940" y="1631475"/>
                  <a:pt x="2680940" y="1631475"/>
                  <a:pt x="2690709" y="1641244"/>
                </a:cubicBezTo>
                <a:cubicBezTo>
                  <a:pt x="2690709" y="1641244"/>
                  <a:pt x="2700477" y="1651013"/>
                  <a:pt x="2710246" y="1651013"/>
                </a:cubicBezTo>
                <a:cubicBezTo>
                  <a:pt x="2729783" y="1651013"/>
                  <a:pt x="2739552" y="1660782"/>
                  <a:pt x="2759089" y="1660782"/>
                </a:cubicBezTo>
                <a:cubicBezTo>
                  <a:pt x="2768858" y="1670551"/>
                  <a:pt x="2788395" y="1670551"/>
                  <a:pt x="2788395" y="1680321"/>
                </a:cubicBezTo>
                <a:cubicBezTo>
                  <a:pt x="2798164" y="1680321"/>
                  <a:pt x="2807932" y="1680321"/>
                  <a:pt x="2807932" y="1680321"/>
                </a:cubicBezTo>
                <a:cubicBezTo>
                  <a:pt x="2817701" y="1680321"/>
                  <a:pt x="2827469" y="1690090"/>
                  <a:pt x="2847007" y="1690090"/>
                </a:cubicBezTo>
                <a:cubicBezTo>
                  <a:pt x="2856775" y="1699859"/>
                  <a:pt x="2876312" y="1699859"/>
                  <a:pt x="2886081" y="1699859"/>
                </a:cubicBezTo>
                <a:cubicBezTo>
                  <a:pt x="2895850" y="1709629"/>
                  <a:pt x="2915387" y="1709629"/>
                  <a:pt x="2925156" y="1709629"/>
                </a:cubicBezTo>
                <a:cubicBezTo>
                  <a:pt x="2934924" y="1719398"/>
                  <a:pt x="2993536" y="1729168"/>
                  <a:pt x="3042379" y="1748706"/>
                </a:cubicBezTo>
                <a:cubicBezTo>
                  <a:pt x="3052147" y="1748706"/>
                  <a:pt x="3081453" y="1758475"/>
                  <a:pt x="3100991" y="1768245"/>
                </a:cubicBezTo>
                <a:cubicBezTo>
                  <a:pt x="3130296" y="1778014"/>
                  <a:pt x="3149834" y="1787783"/>
                  <a:pt x="3159602" y="1787783"/>
                </a:cubicBezTo>
                <a:cubicBezTo>
                  <a:pt x="3169371" y="1797552"/>
                  <a:pt x="3179139" y="1797552"/>
                  <a:pt x="3179139" y="1797552"/>
                </a:cubicBezTo>
                <a:cubicBezTo>
                  <a:pt x="3188908" y="1797552"/>
                  <a:pt x="3198677" y="1797552"/>
                  <a:pt x="3198677" y="1807322"/>
                </a:cubicBezTo>
                <a:cubicBezTo>
                  <a:pt x="3208445" y="1807322"/>
                  <a:pt x="3218214" y="1807322"/>
                  <a:pt x="3227982" y="1817091"/>
                </a:cubicBezTo>
                <a:cubicBezTo>
                  <a:pt x="3257288" y="1826861"/>
                  <a:pt x="3286594" y="1836630"/>
                  <a:pt x="3286594" y="1836630"/>
                </a:cubicBezTo>
                <a:cubicBezTo>
                  <a:pt x="3286594" y="1836630"/>
                  <a:pt x="3296363" y="1846399"/>
                  <a:pt x="3315900" y="1856168"/>
                </a:cubicBezTo>
                <a:cubicBezTo>
                  <a:pt x="3325669" y="1856168"/>
                  <a:pt x="3345206" y="1865938"/>
                  <a:pt x="3354974" y="1865938"/>
                </a:cubicBezTo>
                <a:cubicBezTo>
                  <a:pt x="3364743" y="1875707"/>
                  <a:pt x="3374512" y="1875707"/>
                  <a:pt x="3374512" y="1875707"/>
                </a:cubicBezTo>
                <a:cubicBezTo>
                  <a:pt x="3374512" y="1875707"/>
                  <a:pt x="3384280" y="1875707"/>
                  <a:pt x="3384280" y="1875707"/>
                </a:cubicBezTo>
                <a:cubicBezTo>
                  <a:pt x="3423355" y="1895246"/>
                  <a:pt x="3472198" y="1914784"/>
                  <a:pt x="3472198" y="1914784"/>
                </a:cubicBezTo>
                <a:cubicBezTo>
                  <a:pt x="3481966" y="1914784"/>
                  <a:pt x="3491735" y="1924554"/>
                  <a:pt x="3501504" y="1924554"/>
                </a:cubicBezTo>
                <a:cubicBezTo>
                  <a:pt x="3521041" y="1934323"/>
                  <a:pt x="3530809" y="1944092"/>
                  <a:pt x="3530809" y="1944092"/>
                </a:cubicBezTo>
                <a:cubicBezTo>
                  <a:pt x="3540578" y="1944092"/>
                  <a:pt x="3550347" y="1944092"/>
                  <a:pt x="3560115" y="1953861"/>
                </a:cubicBezTo>
                <a:cubicBezTo>
                  <a:pt x="3579652" y="1963631"/>
                  <a:pt x="3589421" y="1963631"/>
                  <a:pt x="3608958" y="1973400"/>
                </a:cubicBezTo>
                <a:cubicBezTo>
                  <a:pt x="3608958" y="1973400"/>
                  <a:pt x="3628496" y="1983169"/>
                  <a:pt x="3638264" y="1992939"/>
                </a:cubicBezTo>
                <a:cubicBezTo>
                  <a:pt x="3657801" y="1992939"/>
                  <a:pt x="3677339" y="2002708"/>
                  <a:pt x="3687107" y="2012477"/>
                </a:cubicBezTo>
                <a:cubicBezTo>
                  <a:pt x="3696876" y="2012477"/>
                  <a:pt x="3716413" y="2022247"/>
                  <a:pt x="3735950" y="2032016"/>
                </a:cubicBezTo>
                <a:cubicBezTo>
                  <a:pt x="3745719" y="2032016"/>
                  <a:pt x="3755487" y="2041785"/>
                  <a:pt x="3755487" y="2041785"/>
                </a:cubicBezTo>
                <a:cubicBezTo>
                  <a:pt x="3765256" y="2041785"/>
                  <a:pt x="3784793" y="2051554"/>
                  <a:pt x="3794562" y="2051554"/>
                </a:cubicBezTo>
                <a:cubicBezTo>
                  <a:pt x="3804331" y="2051554"/>
                  <a:pt x="3823868" y="2061324"/>
                  <a:pt x="3833636" y="2061324"/>
                </a:cubicBezTo>
                <a:cubicBezTo>
                  <a:pt x="3843405" y="2071093"/>
                  <a:pt x="3862942" y="2071093"/>
                  <a:pt x="3882479" y="2080862"/>
                </a:cubicBezTo>
                <a:cubicBezTo>
                  <a:pt x="3892248" y="2080862"/>
                  <a:pt x="3911785" y="2090632"/>
                  <a:pt x="3921554" y="2090632"/>
                </a:cubicBezTo>
                <a:cubicBezTo>
                  <a:pt x="3941091" y="2100401"/>
                  <a:pt x="3950860" y="2100401"/>
                  <a:pt x="3960628" y="2110170"/>
                </a:cubicBezTo>
                <a:cubicBezTo>
                  <a:pt x="3960628" y="2110170"/>
                  <a:pt x="3960628" y="2110170"/>
                  <a:pt x="3950860" y="2100401"/>
                </a:cubicBezTo>
                <a:cubicBezTo>
                  <a:pt x="3921554" y="2090632"/>
                  <a:pt x="3892248" y="2071093"/>
                  <a:pt x="3882479" y="2071093"/>
                </a:cubicBezTo>
                <a:cubicBezTo>
                  <a:pt x="3862942" y="2061324"/>
                  <a:pt x="3853174" y="2061324"/>
                  <a:pt x="3853174" y="2061324"/>
                </a:cubicBezTo>
                <a:cubicBezTo>
                  <a:pt x="3843405" y="2051554"/>
                  <a:pt x="3833636" y="2041785"/>
                  <a:pt x="3823868" y="2041785"/>
                </a:cubicBezTo>
                <a:cubicBezTo>
                  <a:pt x="3823868" y="2041785"/>
                  <a:pt x="3814099" y="2041785"/>
                  <a:pt x="3814099" y="2041785"/>
                </a:cubicBezTo>
                <a:cubicBezTo>
                  <a:pt x="3814099" y="2041785"/>
                  <a:pt x="3804331" y="2032016"/>
                  <a:pt x="3784793" y="2022247"/>
                </a:cubicBezTo>
                <a:cubicBezTo>
                  <a:pt x="3765256" y="2012477"/>
                  <a:pt x="3706644" y="1992939"/>
                  <a:pt x="3687107" y="1983169"/>
                </a:cubicBezTo>
                <a:cubicBezTo>
                  <a:pt x="3677339" y="1973400"/>
                  <a:pt x="3667570" y="1973400"/>
                  <a:pt x="3667570" y="1973400"/>
                </a:cubicBezTo>
                <a:cubicBezTo>
                  <a:pt x="3648033" y="1963631"/>
                  <a:pt x="3628496" y="1953861"/>
                  <a:pt x="3628496" y="1953861"/>
                </a:cubicBezTo>
                <a:cubicBezTo>
                  <a:pt x="3628496" y="1953861"/>
                  <a:pt x="3608958" y="1944092"/>
                  <a:pt x="3589421" y="1944092"/>
                </a:cubicBezTo>
                <a:cubicBezTo>
                  <a:pt x="3579652" y="1934323"/>
                  <a:pt x="3550347" y="1924554"/>
                  <a:pt x="3540578" y="1924554"/>
                </a:cubicBezTo>
                <a:cubicBezTo>
                  <a:pt x="3540578" y="1914784"/>
                  <a:pt x="3530809" y="1914784"/>
                  <a:pt x="3521041" y="1914784"/>
                </a:cubicBezTo>
                <a:cubicBezTo>
                  <a:pt x="3521041" y="1905015"/>
                  <a:pt x="3511272" y="1905015"/>
                  <a:pt x="3501504" y="1905015"/>
                </a:cubicBezTo>
                <a:cubicBezTo>
                  <a:pt x="3491735" y="1895246"/>
                  <a:pt x="3472198" y="1895246"/>
                  <a:pt x="3472198" y="1885476"/>
                </a:cubicBezTo>
                <a:cubicBezTo>
                  <a:pt x="3462429" y="1885476"/>
                  <a:pt x="3452661" y="1885476"/>
                  <a:pt x="3452661" y="1885476"/>
                </a:cubicBezTo>
                <a:cubicBezTo>
                  <a:pt x="3452661" y="1885476"/>
                  <a:pt x="3442892" y="1885476"/>
                  <a:pt x="3433123" y="1875707"/>
                </a:cubicBezTo>
                <a:cubicBezTo>
                  <a:pt x="3413586" y="1875707"/>
                  <a:pt x="3394049" y="1865938"/>
                  <a:pt x="3374512" y="1856168"/>
                </a:cubicBezTo>
                <a:cubicBezTo>
                  <a:pt x="3364743" y="1856168"/>
                  <a:pt x="3345206" y="1846399"/>
                  <a:pt x="3335437" y="1846399"/>
                </a:cubicBezTo>
                <a:cubicBezTo>
                  <a:pt x="3325669" y="1836630"/>
                  <a:pt x="3315900" y="1836630"/>
                  <a:pt x="3306131" y="1826861"/>
                </a:cubicBezTo>
                <a:cubicBezTo>
                  <a:pt x="3296363" y="1826861"/>
                  <a:pt x="3267057" y="1817091"/>
                  <a:pt x="3237751" y="1807322"/>
                </a:cubicBezTo>
                <a:cubicBezTo>
                  <a:pt x="3208445" y="1797552"/>
                  <a:pt x="3179139" y="1787783"/>
                  <a:pt x="3169371" y="1778014"/>
                </a:cubicBezTo>
                <a:cubicBezTo>
                  <a:pt x="3159602" y="1778014"/>
                  <a:pt x="3149834" y="1778014"/>
                  <a:pt x="3140065" y="1778014"/>
                </a:cubicBezTo>
                <a:cubicBezTo>
                  <a:pt x="3110759" y="1758475"/>
                  <a:pt x="3100991" y="1758475"/>
                  <a:pt x="3100991" y="1758475"/>
                </a:cubicBezTo>
                <a:cubicBezTo>
                  <a:pt x="3100991" y="1758475"/>
                  <a:pt x="3091222" y="1758475"/>
                  <a:pt x="3091222" y="1758475"/>
                </a:cubicBezTo>
                <a:cubicBezTo>
                  <a:pt x="3091222" y="1748706"/>
                  <a:pt x="3091222" y="1748706"/>
                  <a:pt x="3081453" y="1748706"/>
                </a:cubicBezTo>
                <a:cubicBezTo>
                  <a:pt x="3071685" y="1748706"/>
                  <a:pt x="3061916" y="1748706"/>
                  <a:pt x="3061916" y="1748706"/>
                </a:cubicBezTo>
                <a:cubicBezTo>
                  <a:pt x="3052147" y="1748706"/>
                  <a:pt x="3052147" y="1738937"/>
                  <a:pt x="3052147" y="1738937"/>
                </a:cubicBezTo>
                <a:cubicBezTo>
                  <a:pt x="3042379" y="1738937"/>
                  <a:pt x="3022842" y="1729168"/>
                  <a:pt x="3013073" y="1729168"/>
                </a:cubicBezTo>
                <a:cubicBezTo>
                  <a:pt x="3013073" y="1729168"/>
                  <a:pt x="3003304" y="1729168"/>
                  <a:pt x="3003304" y="1729168"/>
                </a:cubicBezTo>
                <a:cubicBezTo>
                  <a:pt x="3003304" y="1719398"/>
                  <a:pt x="2993536" y="1719398"/>
                  <a:pt x="2983767" y="1719398"/>
                </a:cubicBezTo>
                <a:cubicBezTo>
                  <a:pt x="2915387" y="1699859"/>
                  <a:pt x="2886081" y="1690090"/>
                  <a:pt x="2876312" y="1680321"/>
                </a:cubicBezTo>
                <a:cubicBezTo>
                  <a:pt x="2876312" y="1680321"/>
                  <a:pt x="2866544" y="1680321"/>
                  <a:pt x="2866544" y="1680321"/>
                </a:cubicBezTo>
                <a:cubicBezTo>
                  <a:pt x="2827469" y="1670551"/>
                  <a:pt x="2817701" y="1670551"/>
                  <a:pt x="2817701" y="1660782"/>
                </a:cubicBezTo>
                <a:cubicBezTo>
                  <a:pt x="2807932" y="1660782"/>
                  <a:pt x="2807932" y="1660782"/>
                  <a:pt x="2807932" y="1660782"/>
                </a:cubicBezTo>
                <a:cubicBezTo>
                  <a:pt x="2807932" y="1670551"/>
                  <a:pt x="2798164" y="1670551"/>
                  <a:pt x="2798164" y="1660782"/>
                </a:cubicBezTo>
                <a:cubicBezTo>
                  <a:pt x="2788395" y="1660782"/>
                  <a:pt x="2778626" y="1660782"/>
                  <a:pt x="2768858" y="1651013"/>
                </a:cubicBezTo>
                <a:cubicBezTo>
                  <a:pt x="2749320" y="1651013"/>
                  <a:pt x="2739552" y="1641244"/>
                  <a:pt x="2739552" y="1641244"/>
                </a:cubicBezTo>
                <a:cubicBezTo>
                  <a:pt x="2739552" y="1641244"/>
                  <a:pt x="2729783" y="1631475"/>
                  <a:pt x="2729783" y="1631475"/>
                </a:cubicBezTo>
                <a:cubicBezTo>
                  <a:pt x="2729783" y="1631475"/>
                  <a:pt x="2720015" y="1621705"/>
                  <a:pt x="2720015" y="1621705"/>
                </a:cubicBezTo>
                <a:cubicBezTo>
                  <a:pt x="2720015" y="1621705"/>
                  <a:pt x="2729783" y="1621705"/>
                  <a:pt x="2729783" y="1621705"/>
                </a:cubicBezTo>
                <a:cubicBezTo>
                  <a:pt x="2729783" y="1621705"/>
                  <a:pt x="2739552" y="1611936"/>
                  <a:pt x="2749320" y="1621705"/>
                </a:cubicBezTo>
                <a:cubicBezTo>
                  <a:pt x="2749320" y="1621705"/>
                  <a:pt x="2749320" y="1621705"/>
                  <a:pt x="2749320" y="1611936"/>
                </a:cubicBezTo>
                <a:cubicBezTo>
                  <a:pt x="2749320" y="1602166"/>
                  <a:pt x="2749320" y="1602166"/>
                  <a:pt x="2759089" y="1602166"/>
                </a:cubicBezTo>
                <a:cubicBezTo>
                  <a:pt x="2759089" y="1602166"/>
                  <a:pt x="2768858" y="1602166"/>
                  <a:pt x="2768858" y="1611936"/>
                </a:cubicBezTo>
                <a:cubicBezTo>
                  <a:pt x="2768858" y="1611936"/>
                  <a:pt x="2778626" y="1611936"/>
                  <a:pt x="2788395" y="1611936"/>
                </a:cubicBezTo>
                <a:cubicBezTo>
                  <a:pt x="2798164" y="1621705"/>
                  <a:pt x="2807932" y="1621705"/>
                  <a:pt x="2817701" y="1621705"/>
                </a:cubicBezTo>
                <a:cubicBezTo>
                  <a:pt x="2827469" y="1631475"/>
                  <a:pt x="2837238" y="1631475"/>
                  <a:pt x="2847007" y="1631475"/>
                </a:cubicBezTo>
                <a:cubicBezTo>
                  <a:pt x="2856775" y="1641244"/>
                  <a:pt x="2866544" y="1641244"/>
                  <a:pt x="2886081" y="1641244"/>
                </a:cubicBezTo>
                <a:cubicBezTo>
                  <a:pt x="2905618" y="1651013"/>
                  <a:pt x="2925156" y="1660782"/>
                  <a:pt x="2925156" y="1651013"/>
                </a:cubicBezTo>
                <a:cubicBezTo>
                  <a:pt x="2925156" y="1651013"/>
                  <a:pt x="2925156" y="1651013"/>
                  <a:pt x="2915387" y="1651013"/>
                </a:cubicBezTo>
                <a:cubicBezTo>
                  <a:pt x="2915387" y="1651013"/>
                  <a:pt x="2905618" y="1651013"/>
                  <a:pt x="2895850" y="1641244"/>
                </a:cubicBezTo>
                <a:cubicBezTo>
                  <a:pt x="2886081" y="1641244"/>
                  <a:pt x="2876312" y="1641244"/>
                  <a:pt x="2876312" y="1631475"/>
                </a:cubicBezTo>
                <a:cubicBezTo>
                  <a:pt x="2866544" y="1631475"/>
                  <a:pt x="2856775" y="1631475"/>
                  <a:pt x="2856775" y="1631475"/>
                </a:cubicBezTo>
                <a:cubicBezTo>
                  <a:pt x="2847007" y="1631475"/>
                  <a:pt x="2837238" y="1621705"/>
                  <a:pt x="2827469" y="1621705"/>
                </a:cubicBezTo>
                <a:cubicBezTo>
                  <a:pt x="2807932" y="1611936"/>
                  <a:pt x="2759089" y="1592397"/>
                  <a:pt x="2729783" y="1592397"/>
                </a:cubicBezTo>
                <a:cubicBezTo>
                  <a:pt x="2720015" y="1582628"/>
                  <a:pt x="2710246" y="1582628"/>
                  <a:pt x="2700477" y="1582628"/>
                </a:cubicBezTo>
                <a:cubicBezTo>
                  <a:pt x="2690709" y="1572858"/>
                  <a:pt x="2671172" y="1572858"/>
                  <a:pt x="2651634" y="1563089"/>
                </a:cubicBezTo>
                <a:cubicBezTo>
                  <a:pt x="2632097" y="1553320"/>
                  <a:pt x="2612560" y="1553320"/>
                  <a:pt x="2612560" y="1553320"/>
                </a:cubicBezTo>
                <a:cubicBezTo>
                  <a:pt x="2583254" y="1543550"/>
                  <a:pt x="2544180" y="1524012"/>
                  <a:pt x="2505105" y="1504473"/>
                </a:cubicBezTo>
                <a:cubicBezTo>
                  <a:pt x="2495337" y="1504473"/>
                  <a:pt x="2475799" y="1494704"/>
                  <a:pt x="2475799" y="1494704"/>
                </a:cubicBezTo>
                <a:cubicBezTo>
                  <a:pt x="2466031" y="1494704"/>
                  <a:pt x="2466031" y="1494704"/>
                  <a:pt x="2466031" y="1494704"/>
                </a:cubicBezTo>
                <a:cubicBezTo>
                  <a:pt x="2456262" y="1494704"/>
                  <a:pt x="2456262" y="1484935"/>
                  <a:pt x="2446494" y="1484935"/>
                </a:cubicBezTo>
                <a:cubicBezTo>
                  <a:pt x="2446494" y="1484935"/>
                  <a:pt x="2436725" y="1484935"/>
                  <a:pt x="2426956" y="1484935"/>
                </a:cubicBezTo>
                <a:cubicBezTo>
                  <a:pt x="2426956" y="1484935"/>
                  <a:pt x="2417188" y="1475165"/>
                  <a:pt x="2407419" y="1475165"/>
                </a:cubicBezTo>
                <a:cubicBezTo>
                  <a:pt x="2387882" y="1475165"/>
                  <a:pt x="2358576" y="1465396"/>
                  <a:pt x="2358576" y="1465396"/>
                </a:cubicBezTo>
                <a:cubicBezTo>
                  <a:pt x="2348807" y="1465396"/>
                  <a:pt x="2348807" y="1465396"/>
                  <a:pt x="2348807" y="1475165"/>
                </a:cubicBezTo>
                <a:cubicBezTo>
                  <a:pt x="2339039" y="1475165"/>
                  <a:pt x="2329270" y="1465396"/>
                  <a:pt x="2319502" y="1465396"/>
                </a:cubicBezTo>
                <a:cubicBezTo>
                  <a:pt x="2309733" y="1465396"/>
                  <a:pt x="2290196" y="1455627"/>
                  <a:pt x="2290196" y="1455627"/>
                </a:cubicBezTo>
                <a:cubicBezTo>
                  <a:pt x="2270659" y="1445857"/>
                  <a:pt x="2251121" y="1445857"/>
                  <a:pt x="2251121" y="1445857"/>
                </a:cubicBezTo>
                <a:cubicBezTo>
                  <a:pt x="2251121" y="1445857"/>
                  <a:pt x="2251121" y="1445857"/>
                  <a:pt x="2260890" y="1455627"/>
                </a:cubicBezTo>
                <a:cubicBezTo>
                  <a:pt x="2260890" y="1455627"/>
                  <a:pt x="2251121" y="1455627"/>
                  <a:pt x="2241353" y="1445857"/>
                </a:cubicBezTo>
                <a:cubicBezTo>
                  <a:pt x="2241353" y="1445857"/>
                  <a:pt x="2231584" y="1445857"/>
                  <a:pt x="2221815" y="1445857"/>
                </a:cubicBezTo>
                <a:cubicBezTo>
                  <a:pt x="2212047" y="1436088"/>
                  <a:pt x="2202278" y="1436088"/>
                  <a:pt x="2192510" y="1445857"/>
                </a:cubicBezTo>
                <a:cubicBezTo>
                  <a:pt x="2192510" y="1445857"/>
                  <a:pt x="2192510" y="1436088"/>
                  <a:pt x="2182741" y="1436088"/>
                </a:cubicBezTo>
                <a:cubicBezTo>
                  <a:pt x="2172972" y="1436088"/>
                  <a:pt x="2163204" y="1436088"/>
                  <a:pt x="2153435" y="1436088"/>
                </a:cubicBezTo>
                <a:cubicBezTo>
                  <a:pt x="2094824" y="1426319"/>
                  <a:pt x="2104592" y="1426319"/>
                  <a:pt x="2094824" y="1416550"/>
                </a:cubicBezTo>
                <a:cubicBezTo>
                  <a:pt x="2085055" y="1416550"/>
                  <a:pt x="2075286" y="1406780"/>
                  <a:pt x="2075286" y="1406780"/>
                </a:cubicBezTo>
                <a:cubicBezTo>
                  <a:pt x="2065518" y="1406780"/>
                  <a:pt x="2065518" y="1406780"/>
                  <a:pt x="2065518" y="1406780"/>
                </a:cubicBezTo>
                <a:cubicBezTo>
                  <a:pt x="2065518" y="1397011"/>
                  <a:pt x="2065518" y="1397011"/>
                  <a:pt x="2075286" y="1397011"/>
                </a:cubicBezTo>
                <a:cubicBezTo>
                  <a:pt x="2085055" y="1387242"/>
                  <a:pt x="2094824" y="1387242"/>
                  <a:pt x="2133898" y="1397011"/>
                </a:cubicBezTo>
                <a:cubicBezTo>
                  <a:pt x="2143667" y="1397011"/>
                  <a:pt x="2153435" y="1397011"/>
                  <a:pt x="2153435" y="1397011"/>
                </a:cubicBezTo>
                <a:cubicBezTo>
                  <a:pt x="2153435" y="1397011"/>
                  <a:pt x="2153435" y="1397011"/>
                  <a:pt x="2153435" y="1387242"/>
                </a:cubicBezTo>
                <a:cubicBezTo>
                  <a:pt x="2153435" y="1377472"/>
                  <a:pt x="2143667" y="1377472"/>
                  <a:pt x="2133898" y="1377472"/>
                </a:cubicBezTo>
                <a:cubicBezTo>
                  <a:pt x="2124129" y="1377472"/>
                  <a:pt x="2124129" y="1377472"/>
                  <a:pt x="2114361" y="1377472"/>
                </a:cubicBezTo>
                <a:cubicBezTo>
                  <a:pt x="2114361" y="1377472"/>
                  <a:pt x="2075286" y="1367703"/>
                  <a:pt x="2036212" y="1357934"/>
                </a:cubicBezTo>
                <a:cubicBezTo>
                  <a:pt x="2026443" y="1357934"/>
                  <a:pt x="2016675" y="1357934"/>
                  <a:pt x="1997137" y="1348164"/>
                </a:cubicBezTo>
                <a:cubicBezTo>
                  <a:pt x="1987369" y="1348164"/>
                  <a:pt x="1967832" y="1338395"/>
                  <a:pt x="1958063" y="1348164"/>
                </a:cubicBezTo>
                <a:cubicBezTo>
                  <a:pt x="1958063" y="1348164"/>
                  <a:pt x="1958063" y="1338395"/>
                  <a:pt x="1948294" y="1338395"/>
                </a:cubicBezTo>
                <a:cubicBezTo>
                  <a:pt x="1948294" y="1338395"/>
                  <a:pt x="1948294" y="1338395"/>
                  <a:pt x="1938526" y="1338395"/>
                </a:cubicBezTo>
                <a:cubicBezTo>
                  <a:pt x="1928757" y="1328626"/>
                  <a:pt x="1918988" y="1318857"/>
                  <a:pt x="1928757" y="1309087"/>
                </a:cubicBezTo>
                <a:cubicBezTo>
                  <a:pt x="1938526" y="1309087"/>
                  <a:pt x="1948294" y="1309087"/>
                  <a:pt x="1948294" y="1299318"/>
                </a:cubicBezTo>
                <a:cubicBezTo>
                  <a:pt x="1948294" y="1299318"/>
                  <a:pt x="1958063" y="1299318"/>
                  <a:pt x="1967832" y="1299318"/>
                </a:cubicBezTo>
                <a:cubicBezTo>
                  <a:pt x="1977600" y="1299318"/>
                  <a:pt x="1987369" y="1299318"/>
                  <a:pt x="1997137" y="1299318"/>
                </a:cubicBezTo>
                <a:cubicBezTo>
                  <a:pt x="1997137" y="1299318"/>
                  <a:pt x="1997137" y="1299318"/>
                  <a:pt x="2006906" y="1299318"/>
                </a:cubicBezTo>
                <a:cubicBezTo>
                  <a:pt x="2016675" y="1299318"/>
                  <a:pt x="2016675" y="1299318"/>
                  <a:pt x="2016675" y="1299318"/>
                </a:cubicBezTo>
                <a:cubicBezTo>
                  <a:pt x="2026443" y="1299318"/>
                  <a:pt x="2026443" y="1299318"/>
                  <a:pt x="2036212" y="1309087"/>
                </a:cubicBezTo>
                <a:cubicBezTo>
                  <a:pt x="2045980" y="1309087"/>
                  <a:pt x="2055749" y="1309087"/>
                  <a:pt x="2065518" y="1309087"/>
                </a:cubicBezTo>
                <a:cubicBezTo>
                  <a:pt x="2075286" y="1309087"/>
                  <a:pt x="2104592" y="1309087"/>
                  <a:pt x="2104592" y="1309087"/>
                </a:cubicBezTo>
                <a:cubicBezTo>
                  <a:pt x="2104592" y="1309087"/>
                  <a:pt x="2094824" y="1309087"/>
                  <a:pt x="2065518" y="1299318"/>
                </a:cubicBezTo>
                <a:cubicBezTo>
                  <a:pt x="2055749" y="1299318"/>
                  <a:pt x="2055749" y="1299318"/>
                  <a:pt x="2045980" y="1299318"/>
                </a:cubicBezTo>
                <a:cubicBezTo>
                  <a:pt x="2045980" y="1289548"/>
                  <a:pt x="2026443" y="1289548"/>
                  <a:pt x="2016675" y="1279779"/>
                </a:cubicBezTo>
                <a:cubicBezTo>
                  <a:pt x="2006906" y="1279779"/>
                  <a:pt x="1997137" y="1279779"/>
                  <a:pt x="1997137" y="1279779"/>
                </a:cubicBezTo>
                <a:cubicBezTo>
                  <a:pt x="1997137" y="1279779"/>
                  <a:pt x="1987369" y="1270010"/>
                  <a:pt x="1967832" y="1270010"/>
                </a:cubicBezTo>
                <a:cubicBezTo>
                  <a:pt x="1948294" y="1270010"/>
                  <a:pt x="1938526" y="1270010"/>
                  <a:pt x="1928757" y="1270010"/>
                </a:cubicBezTo>
                <a:cubicBezTo>
                  <a:pt x="1928757" y="1270010"/>
                  <a:pt x="1918988" y="1260241"/>
                  <a:pt x="1909220" y="1260241"/>
                </a:cubicBezTo>
                <a:cubicBezTo>
                  <a:pt x="1899451" y="1260241"/>
                  <a:pt x="1899451" y="1260241"/>
                  <a:pt x="1889683" y="1250471"/>
                </a:cubicBezTo>
                <a:cubicBezTo>
                  <a:pt x="1889683" y="1240702"/>
                  <a:pt x="1889683" y="1240702"/>
                  <a:pt x="1879914" y="1240702"/>
                </a:cubicBezTo>
                <a:cubicBezTo>
                  <a:pt x="1879914" y="1240702"/>
                  <a:pt x="1889683" y="1240702"/>
                  <a:pt x="1889683" y="1230933"/>
                </a:cubicBezTo>
                <a:cubicBezTo>
                  <a:pt x="1909220" y="1230933"/>
                  <a:pt x="1909220" y="1221164"/>
                  <a:pt x="1928757" y="1230933"/>
                </a:cubicBezTo>
                <a:cubicBezTo>
                  <a:pt x="1928757" y="1221164"/>
                  <a:pt x="1918988" y="1221164"/>
                  <a:pt x="1918988" y="1221164"/>
                </a:cubicBezTo>
                <a:cubicBezTo>
                  <a:pt x="1909220" y="1221164"/>
                  <a:pt x="1899451" y="1211394"/>
                  <a:pt x="1899451" y="1211394"/>
                </a:cubicBezTo>
                <a:cubicBezTo>
                  <a:pt x="1909220" y="1211394"/>
                  <a:pt x="1938526" y="1221164"/>
                  <a:pt x="1938526" y="1221164"/>
                </a:cubicBezTo>
                <a:cubicBezTo>
                  <a:pt x="1948294" y="1221164"/>
                  <a:pt x="1948294" y="1221164"/>
                  <a:pt x="1958063" y="1221164"/>
                </a:cubicBezTo>
                <a:cubicBezTo>
                  <a:pt x="1958063" y="1211394"/>
                  <a:pt x="1987369" y="1221164"/>
                  <a:pt x="1997137" y="1221164"/>
                </a:cubicBezTo>
                <a:cubicBezTo>
                  <a:pt x="1997137" y="1221164"/>
                  <a:pt x="2006906" y="1221164"/>
                  <a:pt x="2016675" y="1230933"/>
                </a:cubicBezTo>
                <a:cubicBezTo>
                  <a:pt x="2026443" y="1230933"/>
                  <a:pt x="2036212" y="1230933"/>
                  <a:pt x="2036212" y="1230933"/>
                </a:cubicBezTo>
                <a:cubicBezTo>
                  <a:pt x="2045980" y="1230933"/>
                  <a:pt x="2055749" y="1240702"/>
                  <a:pt x="2075286" y="1240702"/>
                </a:cubicBezTo>
                <a:cubicBezTo>
                  <a:pt x="2085055" y="1240702"/>
                  <a:pt x="2104592" y="1240702"/>
                  <a:pt x="2114361" y="1240702"/>
                </a:cubicBezTo>
                <a:cubicBezTo>
                  <a:pt x="2124129" y="1240702"/>
                  <a:pt x="2133898" y="1240702"/>
                  <a:pt x="2143667" y="1240702"/>
                </a:cubicBezTo>
                <a:cubicBezTo>
                  <a:pt x="2143667" y="1240702"/>
                  <a:pt x="2182741" y="1250471"/>
                  <a:pt x="2182741" y="1250471"/>
                </a:cubicBezTo>
                <a:cubicBezTo>
                  <a:pt x="2182741" y="1240702"/>
                  <a:pt x="2163204" y="1240702"/>
                  <a:pt x="2143667" y="1230933"/>
                </a:cubicBezTo>
                <a:cubicBezTo>
                  <a:pt x="2133898" y="1230933"/>
                  <a:pt x="2124129" y="1230933"/>
                  <a:pt x="2124129" y="1230933"/>
                </a:cubicBezTo>
                <a:cubicBezTo>
                  <a:pt x="2124129" y="1230933"/>
                  <a:pt x="2104592" y="1230933"/>
                  <a:pt x="2094824" y="1221164"/>
                </a:cubicBezTo>
                <a:cubicBezTo>
                  <a:pt x="2075286" y="1221164"/>
                  <a:pt x="2065518" y="1221164"/>
                  <a:pt x="2065518" y="1221164"/>
                </a:cubicBezTo>
                <a:cubicBezTo>
                  <a:pt x="2065518" y="1230933"/>
                  <a:pt x="2065518" y="1230933"/>
                  <a:pt x="2055749" y="1221164"/>
                </a:cubicBezTo>
                <a:cubicBezTo>
                  <a:pt x="2045980" y="1221164"/>
                  <a:pt x="2036212" y="1211394"/>
                  <a:pt x="2036212" y="1211394"/>
                </a:cubicBezTo>
                <a:cubicBezTo>
                  <a:pt x="2036212" y="1211394"/>
                  <a:pt x="2045980" y="1211394"/>
                  <a:pt x="2045980" y="1211394"/>
                </a:cubicBezTo>
                <a:cubicBezTo>
                  <a:pt x="2045980" y="1211394"/>
                  <a:pt x="2016675" y="1201625"/>
                  <a:pt x="2006906" y="1201625"/>
                </a:cubicBezTo>
                <a:cubicBezTo>
                  <a:pt x="1987369" y="1201625"/>
                  <a:pt x="1967832" y="1201625"/>
                  <a:pt x="1967832" y="1201625"/>
                </a:cubicBezTo>
                <a:cubicBezTo>
                  <a:pt x="1967832" y="1191855"/>
                  <a:pt x="1958063" y="1191855"/>
                  <a:pt x="1958063" y="1201625"/>
                </a:cubicBezTo>
                <a:cubicBezTo>
                  <a:pt x="1958063" y="1201625"/>
                  <a:pt x="1948294" y="1201625"/>
                  <a:pt x="1948294" y="1201625"/>
                </a:cubicBezTo>
                <a:cubicBezTo>
                  <a:pt x="1948294" y="1191855"/>
                  <a:pt x="1948294" y="1191855"/>
                  <a:pt x="1948294" y="1191855"/>
                </a:cubicBezTo>
                <a:cubicBezTo>
                  <a:pt x="1938526" y="1201625"/>
                  <a:pt x="1938526" y="1201625"/>
                  <a:pt x="1938526" y="1191855"/>
                </a:cubicBezTo>
                <a:cubicBezTo>
                  <a:pt x="1938526" y="1191855"/>
                  <a:pt x="1928757" y="1191855"/>
                  <a:pt x="1928757" y="1191855"/>
                </a:cubicBezTo>
                <a:cubicBezTo>
                  <a:pt x="1918988" y="1201625"/>
                  <a:pt x="1918988" y="1201625"/>
                  <a:pt x="1909220" y="1191855"/>
                </a:cubicBezTo>
                <a:cubicBezTo>
                  <a:pt x="1909220" y="1191855"/>
                  <a:pt x="1909220" y="1191855"/>
                  <a:pt x="1889683" y="1182086"/>
                </a:cubicBezTo>
                <a:cubicBezTo>
                  <a:pt x="1879914" y="1182086"/>
                  <a:pt x="1870145" y="1182086"/>
                  <a:pt x="1860377" y="1182086"/>
                </a:cubicBezTo>
                <a:cubicBezTo>
                  <a:pt x="1860377" y="1182086"/>
                  <a:pt x="1850608" y="1172317"/>
                  <a:pt x="1860377" y="1172317"/>
                </a:cubicBezTo>
                <a:cubicBezTo>
                  <a:pt x="1860377" y="1172317"/>
                  <a:pt x="1860377" y="1162547"/>
                  <a:pt x="1850608" y="1152778"/>
                </a:cubicBezTo>
                <a:cubicBezTo>
                  <a:pt x="1840840" y="1143009"/>
                  <a:pt x="1831071" y="1143009"/>
                  <a:pt x="1831071" y="1143009"/>
                </a:cubicBezTo>
                <a:cubicBezTo>
                  <a:pt x="1831071" y="1152778"/>
                  <a:pt x="1821302" y="1143009"/>
                  <a:pt x="1821302" y="1143009"/>
                </a:cubicBezTo>
                <a:cubicBezTo>
                  <a:pt x="1821302" y="1133240"/>
                  <a:pt x="1821302" y="1133240"/>
                  <a:pt x="1811534" y="1143009"/>
                </a:cubicBezTo>
                <a:cubicBezTo>
                  <a:pt x="1811534" y="1143009"/>
                  <a:pt x="1801765" y="1143009"/>
                  <a:pt x="1801765" y="1133240"/>
                </a:cubicBezTo>
                <a:cubicBezTo>
                  <a:pt x="1801765" y="1133240"/>
                  <a:pt x="1752922" y="1133240"/>
                  <a:pt x="1743154" y="1133240"/>
                </a:cubicBezTo>
                <a:cubicBezTo>
                  <a:pt x="1743154" y="1133240"/>
                  <a:pt x="1733385" y="1133240"/>
                  <a:pt x="1733385" y="1133240"/>
                </a:cubicBezTo>
                <a:cubicBezTo>
                  <a:pt x="1733385" y="1133240"/>
                  <a:pt x="1733385" y="1133240"/>
                  <a:pt x="1733385" y="1123471"/>
                </a:cubicBezTo>
                <a:cubicBezTo>
                  <a:pt x="1733385" y="1123471"/>
                  <a:pt x="1735216" y="1123471"/>
                  <a:pt x="1737964" y="1123471"/>
                </a:cubicBezTo>
                <a:lnTo>
                  <a:pt x="1738269" y="1123471"/>
                </a:lnTo>
                <a:lnTo>
                  <a:pt x="1743154" y="1123471"/>
                </a:lnTo>
                <a:cubicBezTo>
                  <a:pt x="1743154" y="1133240"/>
                  <a:pt x="1762691" y="1133240"/>
                  <a:pt x="1762691" y="1123471"/>
                </a:cubicBezTo>
                <a:lnTo>
                  <a:pt x="1772459" y="1123471"/>
                </a:lnTo>
                <a:cubicBezTo>
                  <a:pt x="1772459" y="1113701"/>
                  <a:pt x="1762691" y="1113701"/>
                  <a:pt x="1762691" y="1113701"/>
                </a:cubicBezTo>
                <a:cubicBezTo>
                  <a:pt x="1772459" y="1113701"/>
                  <a:pt x="1782228" y="1113701"/>
                  <a:pt x="1782228" y="1123471"/>
                </a:cubicBezTo>
                <a:cubicBezTo>
                  <a:pt x="1791997" y="1123471"/>
                  <a:pt x="1801765" y="1133240"/>
                  <a:pt x="1801765" y="1123471"/>
                </a:cubicBezTo>
                <a:cubicBezTo>
                  <a:pt x="1811534" y="1123471"/>
                  <a:pt x="1811534" y="1123471"/>
                  <a:pt x="1821302" y="1123471"/>
                </a:cubicBezTo>
                <a:cubicBezTo>
                  <a:pt x="1821302" y="1123471"/>
                  <a:pt x="1831071" y="1123471"/>
                  <a:pt x="1831071" y="1123471"/>
                </a:cubicBezTo>
                <a:cubicBezTo>
                  <a:pt x="1831071" y="1123471"/>
                  <a:pt x="1840840" y="1133240"/>
                  <a:pt x="1840840" y="1133240"/>
                </a:cubicBezTo>
                <a:cubicBezTo>
                  <a:pt x="1850608" y="1123471"/>
                  <a:pt x="1889683" y="1133240"/>
                  <a:pt x="1899451" y="1133240"/>
                </a:cubicBezTo>
                <a:cubicBezTo>
                  <a:pt x="1909220" y="1143009"/>
                  <a:pt x="1928757" y="1143009"/>
                  <a:pt x="1938526" y="1152778"/>
                </a:cubicBezTo>
                <a:cubicBezTo>
                  <a:pt x="1948294" y="1152778"/>
                  <a:pt x="1977600" y="1152778"/>
                  <a:pt x="1987369" y="1162547"/>
                </a:cubicBezTo>
                <a:cubicBezTo>
                  <a:pt x="1997137" y="1162547"/>
                  <a:pt x="2016675" y="1162547"/>
                  <a:pt x="2026443" y="1162547"/>
                </a:cubicBezTo>
                <a:cubicBezTo>
                  <a:pt x="2026443" y="1162547"/>
                  <a:pt x="2026443" y="1162547"/>
                  <a:pt x="2006906" y="1152778"/>
                </a:cubicBezTo>
                <a:cubicBezTo>
                  <a:pt x="2006906" y="1152778"/>
                  <a:pt x="1997137" y="1152778"/>
                  <a:pt x="1987369" y="1152778"/>
                </a:cubicBezTo>
                <a:cubicBezTo>
                  <a:pt x="1987369" y="1143009"/>
                  <a:pt x="1977600" y="1143009"/>
                  <a:pt x="1977600" y="1143009"/>
                </a:cubicBezTo>
                <a:cubicBezTo>
                  <a:pt x="1967832" y="1143009"/>
                  <a:pt x="1958063" y="1143009"/>
                  <a:pt x="1958063" y="1143009"/>
                </a:cubicBezTo>
                <a:cubicBezTo>
                  <a:pt x="1948294" y="1143009"/>
                  <a:pt x="1938526" y="1143009"/>
                  <a:pt x="1928757" y="1133240"/>
                </a:cubicBezTo>
                <a:cubicBezTo>
                  <a:pt x="1928757" y="1133240"/>
                  <a:pt x="1899451" y="1133240"/>
                  <a:pt x="1870145" y="1123471"/>
                </a:cubicBezTo>
                <a:cubicBezTo>
                  <a:pt x="1860377" y="1123471"/>
                  <a:pt x="1850608" y="1113701"/>
                  <a:pt x="1831071" y="1103932"/>
                </a:cubicBezTo>
                <a:cubicBezTo>
                  <a:pt x="1801765" y="1094162"/>
                  <a:pt x="1801765" y="1094162"/>
                  <a:pt x="1791997" y="1094162"/>
                </a:cubicBezTo>
                <a:cubicBezTo>
                  <a:pt x="1791997" y="1094162"/>
                  <a:pt x="1782228" y="1094162"/>
                  <a:pt x="1782228" y="1094162"/>
                </a:cubicBezTo>
                <a:cubicBezTo>
                  <a:pt x="1782228" y="1094162"/>
                  <a:pt x="1782228" y="1094162"/>
                  <a:pt x="1772459" y="1094162"/>
                </a:cubicBezTo>
                <a:cubicBezTo>
                  <a:pt x="1762691" y="1094162"/>
                  <a:pt x="1752922" y="1094162"/>
                  <a:pt x="1743154" y="1094162"/>
                </a:cubicBezTo>
                <a:cubicBezTo>
                  <a:pt x="1743154" y="1084393"/>
                  <a:pt x="1743154" y="1084393"/>
                  <a:pt x="1743154" y="1084393"/>
                </a:cubicBezTo>
                <a:cubicBezTo>
                  <a:pt x="1733385" y="1084393"/>
                  <a:pt x="1713848" y="1074624"/>
                  <a:pt x="1704079" y="1074624"/>
                </a:cubicBezTo>
                <a:cubicBezTo>
                  <a:pt x="1704079" y="1074624"/>
                  <a:pt x="1694310" y="1064854"/>
                  <a:pt x="1694310" y="1064854"/>
                </a:cubicBezTo>
                <a:cubicBezTo>
                  <a:pt x="1674773" y="1055085"/>
                  <a:pt x="1655236" y="1055085"/>
                  <a:pt x="1645467" y="1064854"/>
                </a:cubicBezTo>
                <a:cubicBezTo>
                  <a:pt x="1645467" y="1064854"/>
                  <a:pt x="1645467" y="1064854"/>
                  <a:pt x="1635699" y="1055085"/>
                </a:cubicBezTo>
                <a:cubicBezTo>
                  <a:pt x="1635699" y="1055085"/>
                  <a:pt x="1625930" y="1055085"/>
                  <a:pt x="1625930" y="1055085"/>
                </a:cubicBezTo>
                <a:cubicBezTo>
                  <a:pt x="1616162" y="1055085"/>
                  <a:pt x="1606393" y="1045316"/>
                  <a:pt x="1606393" y="1045316"/>
                </a:cubicBezTo>
                <a:cubicBezTo>
                  <a:pt x="1596624" y="1035546"/>
                  <a:pt x="1596624" y="1025777"/>
                  <a:pt x="1577087" y="1025777"/>
                </a:cubicBezTo>
                <a:cubicBezTo>
                  <a:pt x="1577087" y="1025777"/>
                  <a:pt x="1567319" y="1025777"/>
                  <a:pt x="1557550" y="1025777"/>
                </a:cubicBezTo>
                <a:cubicBezTo>
                  <a:pt x="1557550" y="1025777"/>
                  <a:pt x="1547781" y="1025777"/>
                  <a:pt x="1547781" y="1025777"/>
                </a:cubicBezTo>
                <a:cubicBezTo>
                  <a:pt x="1528244" y="1025777"/>
                  <a:pt x="1528244" y="1025777"/>
                  <a:pt x="1518475" y="1016008"/>
                </a:cubicBezTo>
                <a:cubicBezTo>
                  <a:pt x="1518475" y="1016008"/>
                  <a:pt x="1508707" y="1016008"/>
                  <a:pt x="1489170" y="1006239"/>
                </a:cubicBezTo>
                <a:cubicBezTo>
                  <a:pt x="1459864" y="1006239"/>
                  <a:pt x="1450095" y="1006239"/>
                  <a:pt x="1459864" y="996469"/>
                </a:cubicBezTo>
                <a:cubicBezTo>
                  <a:pt x="1459864" y="996469"/>
                  <a:pt x="1459864" y="996469"/>
                  <a:pt x="1479401" y="996469"/>
                </a:cubicBezTo>
                <a:cubicBezTo>
                  <a:pt x="1489170" y="996469"/>
                  <a:pt x="1498938" y="996469"/>
                  <a:pt x="1498938" y="996469"/>
                </a:cubicBezTo>
                <a:cubicBezTo>
                  <a:pt x="1498938" y="1006239"/>
                  <a:pt x="1498938" y="1006239"/>
                  <a:pt x="1508707" y="1006239"/>
                </a:cubicBezTo>
                <a:cubicBezTo>
                  <a:pt x="1508707" y="1006239"/>
                  <a:pt x="1518475" y="1006239"/>
                  <a:pt x="1528244" y="1006239"/>
                </a:cubicBezTo>
                <a:cubicBezTo>
                  <a:pt x="1547781" y="1006239"/>
                  <a:pt x="1557550" y="1006239"/>
                  <a:pt x="1557550" y="1006239"/>
                </a:cubicBezTo>
                <a:cubicBezTo>
                  <a:pt x="1547781" y="996469"/>
                  <a:pt x="1547781" y="996469"/>
                  <a:pt x="1547781" y="996469"/>
                </a:cubicBezTo>
                <a:cubicBezTo>
                  <a:pt x="1528244" y="986700"/>
                  <a:pt x="1547781" y="986700"/>
                  <a:pt x="1567319" y="996469"/>
                </a:cubicBezTo>
                <a:cubicBezTo>
                  <a:pt x="1577087" y="996469"/>
                  <a:pt x="1596624" y="996469"/>
                  <a:pt x="1596624" y="996469"/>
                </a:cubicBezTo>
                <a:cubicBezTo>
                  <a:pt x="1596624" y="996469"/>
                  <a:pt x="1606393" y="996469"/>
                  <a:pt x="1616162" y="1006239"/>
                </a:cubicBezTo>
                <a:cubicBezTo>
                  <a:pt x="1625930" y="1006239"/>
                  <a:pt x="1635699" y="1006239"/>
                  <a:pt x="1635699" y="1006239"/>
                </a:cubicBezTo>
                <a:cubicBezTo>
                  <a:pt x="1635699" y="1006239"/>
                  <a:pt x="1645467" y="1006239"/>
                  <a:pt x="1655236" y="1006239"/>
                </a:cubicBezTo>
                <a:cubicBezTo>
                  <a:pt x="1674773" y="1016008"/>
                  <a:pt x="1694310" y="1016008"/>
                  <a:pt x="1704079" y="1016008"/>
                </a:cubicBezTo>
                <a:cubicBezTo>
                  <a:pt x="1704079" y="1016008"/>
                  <a:pt x="1713848" y="1025777"/>
                  <a:pt x="1723616" y="1025777"/>
                </a:cubicBezTo>
                <a:cubicBezTo>
                  <a:pt x="1733385" y="1025777"/>
                  <a:pt x="1743154" y="1025777"/>
                  <a:pt x="1743154" y="1025777"/>
                </a:cubicBezTo>
                <a:cubicBezTo>
                  <a:pt x="1752922" y="1025777"/>
                  <a:pt x="1752922" y="1025777"/>
                  <a:pt x="1752922" y="1025777"/>
                </a:cubicBezTo>
                <a:cubicBezTo>
                  <a:pt x="1752922" y="1035546"/>
                  <a:pt x="1762691" y="1035546"/>
                  <a:pt x="1762691" y="1035546"/>
                </a:cubicBezTo>
                <a:cubicBezTo>
                  <a:pt x="1762691" y="1025777"/>
                  <a:pt x="1772459" y="1025777"/>
                  <a:pt x="1762691" y="1025777"/>
                </a:cubicBezTo>
                <a:cubicBezTo>
                  <a:pt x="1752922" y="1016008"/>
                  <a:pt x="1743154" y="1016008"/>
                  <a:pt x="1733385" y="1016008"/>
                </a:cubicBezTo>
                <a:cubicBezTo>
                  <a:pt x="1733385" y="1016008"/>
                  <a:pt x="1733385" y="1016008"/>
                  <a:pt x="1723616" y="1016008"/>
                </a:cubicBezTo>
                <a:cubicBezTo>
                  <a:pt x="1713848" y="1016008"/>
                  <a:pt x="1704079" y="1006239"/>
                  <a:pt x="1704079" y="1006239"/>
                </a:cubicBezTo>
                <a:cubicBezTo>
                  <a:pt x="1704079" y="1006239"/>
                  <a:pt x="1713848" y="1006239"/>
                  <a:pt x="1713848" y="1006239"/>
                </a:cubicBezTo>
                <a:cubicBezTo>
                  <a:pt x="1713848" y="1006239"/>
                  <a:pt x="1723616" y="1006239"/>
                  <a:pt x="1733385" y="1006239"/>
                </a:cubicBezTo>
                <a:cubicBezTo>
                  <a:pt x="1733385" y="1006239"/>
                  <a:pt x="1743154" y="1006239"/>
                  <a:pt x="1743154" y="1006239"/>
                </a:cubicBezTo>
                <a:cubicBezTo>
                  <a:pt x="1743154" y="1006239"/>
                  <a:pt x="1743154" y="1006239"/>
                  <a:pt x="1752922" y="1016008"/>
                </a:cubicBezTo>
                <a:cubicBezTo>
                  <a:pt x="1752922" y="1016008"/>
                  <a:pt x="1752922" y="1016008"/>
                  <a:pt x="1762691" y="1016008"/>
                </a:cubicBezTo>
                <a:cubicBezTo>
                  <a:pt x="1762691" y="1006239"/>
                  <a:pt x="1762691" y="1006239"/>
                  <a:pt x="1772459" y="1016008"/>
                </a:cubicBezTo>
                <a:cubicBezTo>
                  <a:pt x="1772459" y="1016008"/>
                  <a:pt x="1782228" y="1016008"/>
                  <a:pt x="1782228" y="1016008"/>
                </a:cubicBezTo>
                <a:cubicBezTo>
                  <a:pt x="1782228" y="1016008"/>
                  <a:pt x="1782228" y="1016008"/>
                  <a:pt x="1791997" y="1016008"/>
                </a:cubicBezTo>
                <a:cubicBezTo>
                  <a:pt x="1791997" y="1025777"/>
                  <a:pt x="1801765" y="1025777"/>
                  <a:pt x="1801765" y="1016008"/>
                </a:cubicBezTo>
                <a:cubicBezTo>
                  <a:pt x="1801765" y="1006239"/>
                  <a:pt x="1801765" y="1006239"/>
                  <a:pt x="1811534" y="1006239"/>
                </a:cubicBezTo>
                <a:cubicBezTo>
                  <a:pt x="1811534" y="996469"/>
                  <a:pt x="1801765" y="986700"/>
                  <a:pt x="1782228" y="986700"/>
                </a:cubicBezTo>
                <a:cubicBezTo>
                  <a:pt x="1772459" y="976931"/>
                  <a:pt x="1772459" y="976931"/>
                  <a:pt x="1772459" y="976931"/>
                </a:cubicBezTo>
                <a:cubicBezTo>
                  <a:pt x="1772459" y="976931"/>
                  <a:pt x="1772459" y="976931"/>
                  <a:pt x="1782228" y="976931"/>
                </a:cubicBezTo>
                <a:cubicBezTo>
                  <a:pt x="1782228" y="976931"/>
                  <a:pt x="1782228" y="976931"/>
                  <a:pt x="1791997" y="976931"/>
                </a:cubicBezTo>
                <a:cubicBezTo>
                  <a:pt x="1801765" y="976931"/>
                  <a:pt x="1811534" y="976931"/>
                  <a:pt x="1811534" y="976931"/>
                </a:cubicBezTo>
                <a:cubicBezTo>
                  <a:pt x="1821302" y="976931"/>
                  <a:pt x="1821302" y="976931"/>
                  <a:pt x="1821302" y="976931"/>
                </a:cubicBezTo>
                <a:cubicBezTo>
                  <a:pt x="1831071" y="976931"/>
                  <a:pt x="1831071" y="976931"/>
                  <a:pt x="1831071" y="976931"/>
                </a:cubicBezTo>
                <a:cubicBezTo>
                  <a:pt x="1831071" y="986700"/>
                  <a:pt x="1840840" y="986700"/>
                  <a:pt x="1840840" y="986700"/>
                </a:cubicBezTo>
                <a:cubicBezTo>
                  <a:pt x="1840840" y="986700"/>
                  <a:pt x="1840840" y="986700"/>
                  <a:pt x="1850608" y="986700"/>
                </a:cubicBezTo>
                <a:cubicBezTo>
                  <a:pt x="1860377" y="986700"/>
                  <a:pt x="1879914" y="986700"/>
                  <a:pt x="1879914" y="986700"/>
                </a:cubicBezTo>
                <a:cubicBezTo>
                  <a:pt x="1889683" y="986700"/>
                  <a:pt x="1870145" y="986700"/>
                  <a:pt x="1860377" y="976931"/>
                </a:cubicBezTo>
                <a:cubicBezTo>
                  <a:pt x="1860377" y="976931"/>
                  <a:pt x="1850608" y="976931"/>
                  <a:pt x="1850608" y="976931"/>
                </a:cubicBezTo>
                <a:cubicBezTo>
                  <a:pt x="1831071" y="976931"/>
                  <a:pt x="1821302" y="976931"/>
                  <a:pt x="1791997" y="967161"/>
                </a:cubicBezTo>
                <a:cubicBezTo>
                  <a:pt x="1782228" y="957392"/>
                  <a:pt x="1762691" y="947623"/>
                  <a:pt x="1762691" y="947623"/>
                </a:cubicBezTo>
                <a:cubicBezTo>
                  <a:pt x="1762691" y="947623"/>
                  <a:pt x="1743154" y="947623"/>
                  <a:pt x="1713848" y="937853"/>
                </a:cubicBezTo>
                <a:cubicBezTo>
                  <a:pt x="1694310" y="928084"/>
                  <a:pt x="1684542" y="928084"/>
                  <a:pt x="1674773" y="928084"/>
                </a:cubicBezTo>
                <a:cubicBezTo>
                  <a:pt x="1665005" y="928084"/>
                  <a:pt x="1655236" y="928084"/>
                  <a:pt x="1645467" y="918315"/>
                </a:cubicBezTo>
                <a:cubicBezTo>
                  <a:pt x="1635699" y="918315"/>
                  <a:pt x="1616162" y="918315"/>
                  <a:pt x="1606393" y="918315"/>
                </a:cubicBezTo>
                <a:cubicBezTo>
                  <a:pt x="1596624" y="918315"/>
                  <a:pt x="1586856" y="908546"/>
                  <a:pt x="1586856" y="908546"/>
                </a:cubicBezTo>
                <a:cubicBezTo>
                  <a:pt x="1577087" y="908546"/>
                  <a:pt x="1567319" y="908546"/>
                  <a:pt x="1557550" y="908546"/>
                </a:cubicBezTo>
                <a:cubicBezTo>
                  <a:pt x="1538013" y="908546"/>
                  <a:pt x="1528244" y="898776"/>
                  <a:pt x="1538013" y="898776"/>
                </a:cubicBezTo>
                <a:cubicBezTo>
                  <a:pt x="1538013" y="898776"/>
                  <a:pt x="1547781" y="898776"/>
                  <a:pt x="1547781" y="898776"/>
                </a:cubicBezTo>
                <a:cubicBezTo>
                  <a:pt x="1547781" y="898776"/>
                  <a:pt x="1557550" y="898776"/>
                  <a:pt x="1557550" y="898776"/>
                </a:cubicBezTo>
                <a:cubicBezTo>
                  <a:pt x="1557550" y="889007"/>
                  <a:pt x="1577087" y="889007"/>
                  <a:pt x="1596624" y="898776"/>
                </a:cubicBezTo>
                <a:cubicBezTo>
                  <a:pt x="1596624" y="898776"/>
                  <a:pt x="1606393" y="898776"/>
                  <a:pt x="1616162" y="898776"/>
                </a:cubicBezTo>
                <a:cubicBezTo>
                  <a:pt x="1625930" y="898776"/>
                  <a:pt x="1635699" y="908546"/>
                  <a:pt x="1645467" y="908546"/>
                </a:cubicBezTo>
                <a:cubicBezTo>
                  <a:pt x="1665005" y="908546"/>
                  <a:pt x="1674773" y="918315"/>
                  <a:pt x="1684542" y="918315"/>
                </a:cubicBezTo>
                <a:cubicBezTo>
                  <a:pt x="1684542" y="918315"/>
                  <a:pt x="1694310" y="918315"/>
                  <a:pt x="1704079" y="918315"/>
                </a:cubicBezTo>
                <a:cubicBezTo>
                  <a:pt x="1704079" y="918315"/>
                  <a:pt x="1713848" y="918315"/>
                  <a:pt x="1713848" y="918315"/>
                </a:cubicBezTo>
                <a:cubicBezTo>
                  <a:pt x="1723616" y="918315"/>
                  <a:pt x="1723616" y="918315"/>
                  <a:pt x="1733385" y="918315"/>
                </a:cubicBezTo>
                <a:cubicBezTo>
                  <a:pt x="1723616" y="908546"/>
                  <a:pt x="1713848" y="908546"/>
                  <a:pt x="1704079" y="908546"/>
                </a:cubicBezTo>
                <a:cubicBezTo>
                  <a:pt x="1694310" y="898776"/>
                  <a:pt x="1674773" y="898776"/>
                  <a:pt x="1665005" y="898776"/>
                </a:cubicBezTo>
                <a:cubicBezTo>
                  <a:pt x="1665005" y="889007"/>
                  <a:pt x="1665005" y="889007"/>
                  <a:pt x="1665005" y="889007"/>
                </a:cubicBezTo>
                <a:cubicBezTo>
                  <a:pt x="1665005" y="889007"/>
                  <a:pt x="1674773" y="889007"/>
                  <a:pt x="1684542" y="889007"/>
                </a:cubicBezTo>
                <a:cubicBezTo>
                  <a:pt x="1684542" y="898776"/>
                  <a:pt x="1704079" y="898776"/>
                  <a:pt x="1713848" y="898776"/>
                </a:cubicBezTo>
                <a:cubicBezTo>
                  <a:pt x="1723616" y="898776"/>
                  <a:pt x="1733385" y="908546"/>
                  <a:pt x="1743154" y="908546"/>
                </a:cubicBezTo>
                <a:cubicBezTo>
                  <a:pt x="1762691" y="908546"/>
                  <a:pt x="1762691" y="908546"/>
                  <a:pt x="1772459" y="908546"/>
                </a:cubicBezTo>
                <a:cubicBezTo>
                  <a:pt x="1772459" y="908546"/>
                  <a:pt x="1782228" y="908546"/>
                  <a:pt x="1782228" y="908546"/>
                </a:cubicBezTo>
                <a:cubicBezTo>
                  <a:pt x="1801765" y="908546"/>
                  <a:pt x="1831071" y="918315"/>
                  <a:pt x="1840840" y="918315"/>
                </a:cubicBezTo>
                <a:cubicBezTo>
                  <a:pt x="1850608" y="918315"/>
                  <a:pt x="1850608" y="918315"/>
                  <a:pt x="1860377" y="918315"/>
                </a:cubicBezTo>
                <a:cubicBezTo>
                  <a:pt x="1870145" y="918315"/>
                  <a:pt x="1889683" y="928084"/>
                  <a:pt x="1918988" y="937853"/>
                </a:cubicBezTo>
                <a:cubicBezTo>
                  <a:pt x="1928757" y="937853"/>
                  <a:pt x="1938526" y="937853"/>
                  <a:pt x="1938526" y="937853"/>
                </a:cubicBezTo>
                <a:cubicBezTo>
                  <a:pt x="1948294" y="937853"/>
                  <a:pt x="1958063" y="937853"/>
                  <a:pt x="1958063" y="937853"/>
                </a:cubicBezTo>
                <a:cubicBezTo>
                  <a:pt x="1967832" y="947623"/>
                  <a:pt x="1977600" y="947623"/>
                  <a:pt x="2026443" y="957392"/>
                </a:cubicBezTo>
                <a:cubicBezTo>
                  <a:pt x="2036212" y="957392"/>
                  <a:pt x="2055749" y="957392"/>
                  <a:pt x="2065518" y="957392"/>
                </a:cubicBezTo>
                <a:cubicBezTo>
                  <a:pt x="2065518" y="967161"/>
                  <a:pt x="2075286" y="967161"/>
                  <a:pt x="2085055" y="967161"/>
                </a:cubicBezTo>
                <a:cubicBezTo>
                  <a:pt x="2085055" y="957392"/>
                  <a:pt x="2094824" y="957392"/>
                  <a:pt x="2094824" y="967161"/>
                </a:cubicBezTo>
                <a:cubicBezTo>
                  <a:pt x="2094824" y="967161"/>
                  <a:pt x="2094824" y="967161"/>
                  <a:pt x="2104592" y="967161"/>
                </a:cubicBezTo>
                <a:cubicBezTo>
                  <a:pt x="2104592" y="957392"/>
                  <a:pt x="2124129" y="967161"/>
                  <a:pt x="2124129" y="967161"/>
                </a:cubicBezTo>
                <a:cubicBezTo>
                  <a:pt x="2124129" y="967161"/>
                  <a:pt x="2114361" y="967161"/>
                  <a:pt x="2114361" y="967161"/>
                </a:cubicBezTo>
                <a:cubicBezTo>
                  <a:pt x="2114361" y="967161"/>
                  <a:pt x="2114361" y="967161"/>
                  <a:pt x="2114361" y="976931"/>
                </a:cubicBezTo>
                <a:cubicBezTo>
                  <a:pt x="2124129" y="976931"/>
                  <a:pt x="2124129" y="976931"/>
                  <a:pt x="2124129" y="976931"/>
                </a:cubicBezTo>
                <a:cubicBezTo>
                  <a:pt x="2133898" y="976931"/>
                  <a:pt x="2133898" y="976931"/>
                  <a:pt x="2133898" y="967161"/>
                </a:cubicBezTo>
                <a:cubicBezTo>
                  <a:pt x="2133898" y="967161"/>
                  <a:pt x="2133898" y="967161"/>
                  <a:pt x="2124129" y="957392"/>
                </a:cubicBezTo>
                <a:cubicBezTo>
                  <a:pt x="2124129" y="957392"/>
                  <a:pt x="2114361" y="957392"/>
                  <a:pt x="2114361" y="957392"/>
                </a:cubicBezTo>
                <a:cubicBezTo>
                  <a:pt x="2114361" y="957392"/>
                  <a:pt x="2094824" y="947623"/>
                  <a:pt x="2085055" y="947623"/>
                </a:cubicBezTo>
                <a:cubicBezTo>
                  <a:pt x="2085055" y="947623"/>
                  <a:pt x="2075286" y="947623"/>
                  <a:pt x="2075286" y="947623"/>
                </a:cubicBezTo>
                <a:cubicBezTo>
                  <a:pt x="2075286" y="947623"/>
                  <a:pt x="2065518" y="947623"/>
                  <a:pt x="2055749" y="947623"/>
                </a:cubicBezTo>
                <a:cubicBezTo>
                  <a:pt x="2055749" y="937853"/>
                  <a:pt x="2045980" y="937853"/>
                  <a:pt x="2036212" y="937853"/>
                </a:cubicBezTo>
                <a:cubicBezTo>
                  <a:pt x="2036212" y="937853"/>
                  <a:pt x="2026443" y="937853"/>
                  <a:pt x="2016675" y="937853"/>
                </a:cubicBezTo>
                <a:cubicBezTo>
                  <a:pt x="2006906" y="928084"/>
                  <a:pt x="1997137" y="928084"/>
                  <a:pt x="1997137" y="928084"/>
                </a:cubicBezTo>
                <a:cubicBezTo>
                  <a:pt x="1987369" y="928084"/>
                  <a:pt x="1977600" y="918315"/>
                  <a:pt x="1977600" y="918315"/>
                </a:cubicBezTo>
                <a:cubicBezTo>
                  <a:pt x="1987369" y="918315"/>
                  <a:pt x="2026443" y="928084"/>
                  <a:pt x="2026443" y="928084"/>
                </a:cubicBezTo>
                <a:cubicBezTo>
                  <a:pt x="2026443" y="928084"/>
                  <a:pt x="2036212" y="928084"/>
                  <a:pt x="2036212" y="928084"/>
                </a:cubicBezTo>
                <a:cubicBezTo>
                  <a:pt x="2045980" y="928084"/>
                  <a:pt x="2045980" y="937853"/>
                  <a:pt x="2045980" y="937853"/>
                </a:cubicBezTo>
                <a:cubicBezTo>
                  <a:pt x="2065518" y="937853"/>
                  <a:pt x="2124129" y="947623"/>
                  <a:pt x="2133898" y="957392"/>
                </a:cubicBezTo>
                <a:cubicBezTo>
                  <a:pt x="2143667" y="957392"/>
                  <a:pt x="2143667" y="957392"/>
                  <a:pt x="2143667" y="947623"/>
                </a:cubicBezTo>
                <a:cubicBezTo>
                  <a:pt x="2143667" y="947623"/>
                  <a:pt x="2143667" y="928084"/>
                  <a:pt x="2143667" y="928084"/>
                </a:cubicBezTo>
                <a:cubicBezTo>
                  <a:pt x="2143667" y="928084"/>
                  <a:pt x="2133898" y="918315"/>
                  <a:pt x="2133898" y="918315"/>
                </a:cubicBezTo>
                <a:cubicBezTo>
                  <a:pt x="2133898" y="928084"/>
                  <a:pt x="2124129" y="928084"/>
                  <a:pt x="2114361" y="928084"/>
                </a:cubicBezTo>
                <a:cubicBezTo>
                  <a:pt x="2104592" y="918315"/>
                  <a:pt x="2104592" y="918315"/>
                  <a:pt x="2104592" y="928084"/>
                </a:cubicBezTo>
                <a:cubicBezTo>
                  <a:pt x="2104592" y="928084"/>
                  <a:pt x="2104592" y="928084"/>
                  <a:pt x="2107034" y="928084"/>
                </a:cubicBezTo>
                <a:lnTo>
                  <a:pt x="2114361" y="928084"/>
                </a:lnTo>
                <a:lnTo>
                  <a:pt x="2124129" y="928084"/>
                </a:lnTo>
                <a:cubicBezTo>
                  <a:pt x="2133898" y="937853"/>
                  <a:pt x="2143667" y="937853"/>
                  <a:pt x="2133898" y="937853"/>
                </a:cubicBezTo>
                <a:cubicBezTo>
                  <a:pt x="2133898" y="937853"/>
                  <a:pt x="2124129" y="937853"/>
                  <a:pt x="2114361" y="937853"/>
                </a:cubicBezTo>
                <a:cubicBezTo>
                  <a:pt x="2104592" y="928084"/>
                  <a:pt x="2094824" y="928084"/>
                  <a:pt x="2094824" y="928084"/>
                </a:cubicBezTo>
                <a:cubicBezTo>
                  <a:pt x="2085055" y="928084"/>
                  <a:pt x="2075286" y="928084"/>
                  <a:pt x="2075286" y="918315"/>
                </a:cubicBezTo>
                <a:cubicBezTo>
                  <a:pt x="2065518" y="918315"/>
                  <a:pt x="2016675" y="908546"/>
                  <a:pt x="2016675" y="908546"/>
                </a:cubicBezTo>
                <a:cubicBezTo>
                  <a:pt x="2016675" y="918315"/>
                  <a:pt x="2006906" y="908546"/>
                  <a:pt x="2006906" y="908546"/>
                </a:cubicBezTo>
                <a:cubicBezTo>
                  <a:pt x="2006906" y="908546"/>
                  <a:pt x="1997137" y="898776"/>
                  <a:pt x="1997137" y="898776"/>
                </a:cubicBezTo>
                <a:cubicBezTo>
                  <a:pt x="1987369" y="898776"/>
                  <a:pt x="1967832" y="898776"/>
                  <a:pt x="1958063" y="889007"/>
                </a:cubicBezTo>
                <a:cubicBezTo>
                  <a:pt x="1948294" y="889007"/>
                  <a:pt x="1938526" y="879238"/>
                  <a:pt x="1928757" y="879238"/>
                </a:cubicBezTo>
                <a:cubicBezTo>
                  <a:pt x="1948294" y="879238"/>
                  <a:pt x="1958063" y="879238"/>
                  <a:pt x="1977600" y="889007"/>
                </a:cubicBezTo>
                <a:cubicBezTo>
                  <a:pt x="1987369" y="889007"/>
                  <a:pt x="1997137" y="898776"/>
                  <a:pt x="2006906" y="898776"/>
                </a:cubicBezTo>
                <a:cubicBezTo>
                  <a:pt x="2006906" y="898776"/>
                  <a:pt x="2016675" y="898776"/>
                  <a:pt x="2016675" y="898776"/>
                </a:cubicBezTo>
                <a:cubicBezTo>
                  <a:pt x="2026443" y="898776"/>
                  <a:pt x="2026443" y="898776"/>
                  <a:pt x="2026443" y="898776"/>
                </a:cubicBezTo>
                <a:cubicBezTo>
                  <a:pt x="2036212" y="898776"/>
                  <a:pt x="2045980" y="908546"/>
                  <a:pt x="2065518" y="908546"/>
                </a:cubicBezTo>
                <a:cubicBezTo>
                  <a:pt x="2085055" y="918315"/>
                  <a:pt x="2094824" y="918315"/>
                  <a:pt x="2094824" y="908546"/>
                </a:cubicBezTo>
                <a:cubicBezTo>
                  <a:pt x="2104592" y="908546"/>
                  <a:pt x="2104592" y="908546"/>
                  <a:pt x="2114361" y="908546"/>
                </a:cubicBezTo>
                <a:cubicBezTo>
                  <a:pt x="2114361" y="908546"/>
                  <a:pt x="2124129" y="908546"/>
                  <a:pt x="2124129" y="908546"/>
                </a:cubicBezTo>
                <a:cubicBezTo>
                  <a:pt x="2124129" y="898776"/>
                  <a:pt x="2124129" y="889007"/>
                  <a:pt x="2124129" y="879238"/>
                </a:cubicBezTo>
                <a:cubicBezTo>
                  <a:pt x="2133898" y="879238"/>
                  <a:pt x="2133898" y="879238"/>
                  <a:pt x="2153435" y="879238"/>
                </a:cubicBezTo>
                <a:cubicBezTo>
                  <a:pt x="2172972" y="889007"/>
                  <a:pt x="2182741" y="889007"/>
                  <a:pt x="2182741" y="889007"/>
                </a:cubicBezTo>
                <a:cubicBezTo>
                  <a:pt x="2182741" y="879238"/>
                  <a:pt x="2182741" y="879238"/>
                  <a:pt x="2172972" y="879238"/>
                </a:cubicBezTo>
                <a:cubicBezTo>
                  <a:pt x="2172972" y="879238"/>
                  <a:pt x="2172972" y="869468"/>
                  <a:pt x="2172972" y="869468"/>
                </a:cubicBezTo>
                <a:cubicBezTo>
                  <a:pt x="2172972" y="869468"/>
                  <a:pt x="2143667" y="849930"/>
                  <a:pt x="2133898" y="849930"/>
                </a:cubicBezTo>
                <a:cubicBezTo>
                  <a:pt x="2133898" y="849930"/>
                  <a:pt x="2124129" y="849930"/>
                  <a:pt x="2124129" y="840160"/>
                </a:cubicBezTo>
                <a:cubicBezTo>
                  <a:pt x="2114361" y="830391"/>
                  <a:pt x="2104592" y="820622"/>
                  <a:pt x="2114361" y="810853"/>
                </a:cubicBezTo>
                <a:cubicBezTo>
                  <a:pt x="2114361" y="801083"/>
                  <a:pt x="2104592" y="801083"/>
                  <a:pt x="2104592" y="801083"/>
                </a:cubicBezTo>
                <a:cubicBezTo>
                  <a:pt x="2094824" y="801083"/>
                  <a:pt x="2094824" y="791314"/>
                  <a:pt x="2104592" y="791314"/>
                </a:cubicBezTo>
                <a:cubicBezTo>
                  <a:pt x="2104592" y="791314"/>
                  <a:pt x="2104592" y="791314"/>
                  <a:pt x="2114361" y="781544"/>
                </a:cubicBezTo>
                <a:cubicBezTo>
                  <a:pt x="2124129" y="771775"/>
                  <a:pt x="2114361" y="762006"/>
                  <a:pt x="2104592" y="771775"/>
                </a:cubicBezTo>
                <a:cubicBezTo>
                  <a:pt x="2094824" y="771775"/>
                  <a:pt x="2094824" y="771775"/>
                  <a:pt x="2094824" y="762006"/>
                </a:cubicBezTo>
                <a:cubicBezTo>
                  <a:pt x="2085055" y="762006"/>
                  <a:pt x="2085055" y="762006"/>
                  <a:pt x="2075286" y="752237"/>
                </a:cubicBezTo>
                <a:cubicBezTo>
                  <a:pt x="2065518" y="752237"/>
                  <a:pt x="2055749" y="752237"/>
                  <a:pt x="2055749" y="752237"/>
                </a:cubicBezTo>
                <a:cubicBezTo>
                  <a:pt x="2045980" y="742467"/>
                  <a:pt x="2045980" y="742467"/>
                  <a:pt x="2045980" y="742467"/>
                </a:cubicBezTo>
                <a:cubicBezTo>
                  <a:pt x="2036212" y="742467"/>
                  <a:pt x="2036212" y="742467"/>
                  <a:pt x="2026443" y="742467"/>
                </a:cubicBezTo>
                <a:cubicBezTo>
                  <a:pt x="2026443" y="732698"/>
                  <a:pt x="1997137" y="722929"/>
                  <a:pt x="1977600" y="722929"/>
                </a:cubicBezTo>
                <a:cubicBezTo>
                  <a:pt x="1958063" y="722929"/>
                  <a:pt x="1958063" y="722929"/>
                  <a:pt x="1958063" y="713160"/>
                </a:cubicBezTo>
                <a:lnTo>
                  <a:pt x="1948294" y="713160"/>
                </a:lnTo>
                <a:cubicBezTo>
                  <a:pt x="1948294" y="703390"/>
                  <a:pt x="1928757" y="703390"/>
                  <a:pt x="1918988" y="703390"/>
                </a:cubicBezTo>
                <a:cubicBezTo>
                  <a:pt x="1909220" y="693621"/>
                  <a:pt x="1889683" y="693621"/>
                  <a:pt x="1889683" y="693621"/>
                </a:cubicBezTo>
                <a:cubicBezTo>
                  <a:pt x="1879914" y="693621"/>
                  <a:pt x="1870145" y="693621"/>
                  <a:pt x="1870145" y="683851"/>
                </a:cubicBezTo>
                <a:cubicBezTo>
                  <a:pt x="1860377" y="683851"/>
                  <a:pt x="1811534" y="674082"/>
                  <a:pt x="1782228" y="674082"/>
                </a:cubicBezTo>
                <a:cubicBezTo>
                  <a:pt x="1762691" y="674082"/>
                  <a:pt x="1713848" y="664313"/>
                  <a:pt x="1694310" y="664313"/>
                </a:cubicBezTo>
                <a:cubicBezTo>
                  <a:pt x="1684542" y="664313"/>
                  <a:pt x="1674773" y="664313"/>
                  <a:pt x="1674773" y="664313"/>
                </a:cubicBezTo>
                <a:cubicBezTo>
                  <a:pt x="1665005" y="654543"/>
                  <a:pt x="1665005" y="654543"/>
                  <a:pt x="1655236" y="654543"/>
                </a:cubicBezTo>
                <a:cubicBezTo>
                  <a:pt x="1665005" y="654543"/>
                  <a:pt x="1665005" y="654543"/>
                  <a:pt x="1704079" y="654543"/>
                </a:cubicBezTo>
                <a:cubicBezTo>
                  <a:pt x="1723616" y="654543"/>
                  <a:pt x="1733385" y="664313"/>
                  <a:pt x="1733385" y="664313"/>
                </a:cubicBezTo>
                <a:cubicBezTo>
                  <a:pt x="1733385" y="664313"/>
                  <a:pt x="1743154" y="664313"/>
                  <a:pt x="1752922" y="664313"/>
                </a:cubicBezTo>
                <a:cubicBezTo>
                  <a:pt x="1752922" y="664313"/>
                  <a:pt x="1762691" y="664313"/>
                  <a:pt x="1772459" y="664313"/>
                </a:cubicBezTo>
                <a:cubicBezTo>
                  <a:pt x="1782228" y="664313"/>
                  <a:pt x="1811534" y="674082"/>
                  <a:pt x="1811534" y="674082"/>
                </a:cubicBezTo>
                <a:cubicBezTo>
                  <a:pt x="1811534" y="674082"/>
                  <a:pt x="1811534" y="674082"/>
                  <a:pt x="1811534" y="664313"/>
                </a:cubicBezTo>
                <a:cubicBezTo>
                  <a:pt x="1821302" y="674082"/>
                  <a:pt x="1831071" y="674082"/>
                  <a:pt x="1831071" y="664313"/>
                </a:cubicBezTo>
                <a:cubicBezTo>
                  <a:pt x="1831071" y="664313"/>
                  <a:pt x="1840840" y="664313"/>
                  <a:pt x="1840840" y="664313"/>
                </a:cubicBezTo>
                <a:cubicBezTo>
                  <a:pt x="1850608" y="674082"/>
                  <a:pt x="1860377" y="674082"/>
                  <a:pt x="1870145" y="674082"/>
                </a:cubicBezTo>
                <a:cubicBezTo>
                  <a:pt x="1889683" y="683851"/>
                  <a:pt x="1899451" y="683851"/>
                  <a:pt x="1909220" y="683851"/>
                </a:cubicBezTo>
                <a:cubicBezTo>
                  <a:pt x="1909220" y="683851"/>
                  <a:pt x="1918988" y="683851"/>
                  <a:pt x="1928757" y="683851"/>
                </a:cubicBezTo>
                <a:cubicBezTo>
                  <a:pt x="1928757" y="683851"/>
                  <a:pt x="1938526" y="683851"/>
                  <a:pt x="1938526" y="683851"/>
                </a:cubicBezTo>
                <a:cubicBezTo>
                  <a:pt x="1948294" y="683851"/>
                  <a:pt x="1938526" y="674082"/>
                  <a:pt x="1918988" y="674082"/>
                </a:cubicBezTo>
                <a:cubicBezTo>
                  <a:pt x="1870145" y="664313"/>
                  <a:pt x="1850608" y="664313"/>
                  <a:pt x="1831071" y="654543"/>
                </a:cubicBezTo>
                <a:cubicBezTo>
                  <a:pt x="1801765" y="654543"/>
                  <a:pt x="1772459" y="644774"/>
                  <a:pt x="1743154" y="644774"/>
                </a:cubicBezTo>
                <a:cubicBezTo>
                  <a:pt x="1723616" y="644774"/>
                  <a:pt x="1713848" y="644774"/>
                  <a:pt x="1704079" y="644774"/>
                </a:cubicBezTo>
                <a:cubicBezTo>
                  <a:pt x="1704079" y="644774"/>
                  <a:pt x="1684542" y="635005"/>
                  <a:pt x="1665005" y="635005"/>
                </a:cubicBezTo>
                <a:cubicBezTo>
                  <a:pt x="1645467" y="635005"/>
                  <a:pt x="1625930" y="635005"/>
                  <a:pt x="1606393" y="625236"/>
                </a:cubicBezTo>
                <a:lnTo>
                  <a:pt x="1623488" y="625236"/>
                </a:lnTo>
                <a:cubicBezTo>
                  <a:pt x="1635699" y="625236"/>
                  <a:pt x="1645467" y="625236"/>
                  <a:pt x="1645467" y="625236"/>
                </a:cubicBezTo>
                <a:cubicBezTo>
                  <a:pt x="1655236" y="625236"/>
                  <a:pt x="1655236" y="625236"/>
                  <a:pt x="1655236" y="625236"/>
                </a:cubicBezTo>
                <a:cubicBezTo>
                  <a:pt x="1665005" y="625236"/>
                  <a:pt x="1713848" y="635005"/>
                  <a:pt x="1713848" y="635005"/>
                </a:cubicBezTo>
                <a:cubicBezTo>
                  <a:pt x="1723616" y="635005"/>
                  <a:pt x="1762691" y="644774"/>
                  <a:pt x="1840840" y="654543"/>
                </a:cubicBezTo>
                <a:cubicBezTo>
                  <a:pt x="1948294" y="674082"/>
                  <a:pt x="1948294" y="674082"/>
                  <a:pt x="1967832" y="683851"/>
                </a:cubicBezTo>
                <a:cubicBezTo>
                  <a:pt x="1967832" y="683851"/>
                  <a:pt x="1977600" y="683851"/>
                  <a:pt x="1997137" y="683851"/>
                </a:cubicBezTo>
                <a:cubicBezTo>
                  <a:pt x="2045980" y="693621"/>
                  <a:pt x="2045980" y="693621"/>
                  <a:pt x="2045980" y="683851"/>
                </a:cubicBezTo>
                <a:cubicBezTo>
                  <a:pt x="2045980" y="683851"/>
                  <a:pt x="2055749" y="683851"/>
                  <a:pt x="2055749" y="683851"/>
                </a:cubicBezTo>
                <a:cubicBezTo>
                  <a:pt x="2075286" y="683851"/>
                  <a:pt x="2075286" y="683851"/>
                  <a:pt x="2075286" y="683851"/>
                </a:cubicBezTo>
                <a:cubicBezTo>
                  <a:pt x="2075286" y="683851"/>
                  <a:pt x="2055749" y="674082"/>
                  <a:pt x="2045980" y="674082"/>
                </a:cubicBezTo>
                <a:cubicBezTo>
                  <a:pt x="2055749" y="674082"/>
                  <a:pt x="2055749" y="664313"/>
                  <a:pt x="2045980" y="664313"/>
                </a:cubicBezTo>
                <a:cubicBezTo>
                  <a:pt x="2036212" y="664313"/>
                  <a:pt x="2036212" y="664313"/>
                  <a:pt x="2026443" y="664313"/>
                </a:cubicBezTo>
                <a:cubicBezTo>
                  <a:pt x="2026443" y="664313"/>
                  <a:pt x="2026443" y="664313"/>
                  <a:pt x="2026443" y="654543"/>
                </a:cubicBezTo>
                <a:cubicBezTo>
                  <a:pt x="2016675" y="654543"/>
                  <a:pt x="2016675" y="654543"/>
                  <a:pt x="2016675" y="654543"/>
                </a:cubicBezTo>
                <a:cubicBezTo>
                  <a:pt x="2006906" y="644774"/>
                  <a:pt x="2006906" y="644774"/>
                  <a:pt x="2006906" y="644774"/>
                </a:cubicBezTo>
                <a:cubicBezTo>
                  <a:pt x="2006906" y="635005"/>
                  <a:pt x="1997137" y="635005"/>
                  <a:pt x="1977600" y="625236"/>
                </a:cubicBezTo>
                <a:cubicBezTo>
                  <a:pt x="1967832" y="625236"/>
                  <a:pt x="1948294" y="625236"/>
                  <a:pt x="1938526" y="625236"/>
                </a:cubicBezTo>
                <a:cubicBezTo>
                  <a:pt x="1909220" y="615466"/>
                  <a:pt x="1899451" y="615466"/>
                  <a:pt x="1899451" y="615466"/>
                </a:cubicBezTo>
                <a:cubicBezTo>
                  <a:pt x="1889683" y="615466"/>
                  <a:pt x="1889683" y="615466"/>
                  <a:pt x="1879914" y="605697"/>
                </a:cubicBezTo>
                <a:cubicBezTo>
                  <a:pt x="1870145" y="605697"/>
                  <a:pt x="1850608" y="595928"/>
                  <a:pt x="1840840" y="605697"/>
                </a:cubicBezTo>
                <a:cubicBezTo>
                  <a:pt x="1840840" y="605697"/>
                  <a:pt x="1840840" y="605697"/>
                  <a:pt x="1840840" y="595928"/>
                </a:cubicBezTo>
                <a:cubicBezTo>
                  <a:pt x="1831071" y="595928"/>
                  <a:pt x="1821302" y="595928"/>
                  <a:pt x="1801765" y="595928"/>
                </a:cubicBezTo>
                <a:cubicBezTo>
                  <a:pt x="1782228" y="595928"/>
                  <a:pt x="1752922" y="586159"/>
                  <a:pt x="1752922" y="586159"/>
                </a:cubicBezTo>
                <a:cubicBezTo>
                  <a:pt x="1743154" y="586159"/>
                  <a:pt x="1733385" y="586159"/>
                  <a:pt x="1723616" y="586159"/>
                </a:cubicBezTo>
                <a:cubicBezTo>
                  <a:pt x="1723616" y="586159"/>
                  <a:pt x="1704079" y="576389"/>
                  <a:pt x="1694310" y="576389"/>
                </a:cubicBezTo>
                <a:cubicBezTo>
                  <a:pt x="1684542" y="576389"/>
                  <a:pt x="1674773" y="576389"/>
                  <a:pt x="1665005" y="576389"/>
                </a:cubicBezTo>
                <a:cubicBezTo>
                  <a:pt x="1665005" y="576389"/>
                  <a:pt x="1606393" y="566620"/>
                  <a:pt x="1606393" y="566620"/>
                </a:cubicBezTo>
                <a:cubicBezTo>
                  <a:pt x="1606393" y="556851"/>
                  <a:pt x="1606393" y="556851"/>
                  <a:pt x="1586856" y="556851"/>
                </a:cubicBezTo>
                <a:cubicBezTo>
                  <a:pt x="1586856" y="556851"/>
                  <a:pt x="1577087" y="556851"/>
                  <a:pt x="1577087" y="556851"/>
                </a:cubicBezTo>
                <a:cubicBezTo>
                  <a:pt x="1577087" y="556851"/>
                  <a:pt x="1567319" y="556851"/>
                  <a:pt x="1557550" y="556851"/>
                </a:cubicBezTo>
                <a:cubicBezTo>
                  <a:pt x="1547781" y="556851"/>
                  <a:pt x="1538013" y="556851"/>
                  <a:pt x="1538013" y="556851"/>
                </a:cubicBezTo>
                <a:cubicBezTo>
                  <a:pt x="1538013" y="556851"/>
                  <a:pt x="1528244" y="556851"/>
                  <a:pt x="1518475" y="556851"/>
                </a:cubicBezTo>
                <a:cubicBezTo>
                  <a:pt x="1508707" y="556851"/>
                  <a:pt x="1498938" y="547081"/>
                  <a:pt x="1489170" y="547081"/>
                </a:cubicBezTo>
                <a:cubicBezTo>
                  <a:pt x="1479401" y="547081"/>
                  <a:pt x="1469632" y="547081"/>
                  <a:pt x="1440327" y="547081"/>
                </a:cubicBezTo>
                <a:cubicBezTo>
                  <a:pt x="1440327" y="547081"/>
                  <a:pt x="1430558" y="537312"/>
                  <a:pt x="1420789" y="537312"/>
                </a:cubicBezTo>
                <a:cubicBezTo>
                  <a:pt x="1411021" y="537312"/>
                  <a:pt x="1401252" y="537312"/>
                  <a:pt x="1401252" y="537312"/>
                </a:cubicBezTo>
                <a:cubicBezTo>
                  <a:pt x="1391483" y="537312"/>
                  <a:pt x="1381715" y="537312"/>
                  <a:pt x="1381715" y="537312"/>
                </a:cubicBezTo>
                <a:cubicBezTo>
                  <a:pt x="1381715" y="527543"/>
                  <a:pt x="1381715" y="527543"/>
                  <a:pt x="1391483" y="527543"/>
                </a:cubicBezTo>
                <a:cubicBezTo>
                  <a:pt x="1401252" y="537312"/>
                  <a:pt x="1401252" y="527543"/>
                  <a:pt x="1401252" y="527543"/>
                </a:cubicBezTo>
                <a:cubicBezTo>
                  <a:pt x="1401252" y="527543"/>
                  <a:pt x="1401252" y="527543"/>
                  <a:pt x="1411021" y="527543"/>
                </a:cubicBezTo>
                <a:cubicBezTo>
                  <a:pt x="1430558" y="537312"/>
                  <a:pt x="1440327" y="537312"/>
                  <a:pt x="1450095" y="537312"/>
                </a:cubicBezTo>
                <a:cubicBezTo>
                  <a:pt x="1450095" y="537312"/>
                  <a:pt x="1450095" y="537312"/>
                  <a:pt x="1459864" y="537312"/>
                </a:cubicBezTo>
                <a:cubicBezTo>
                  <a:pt x="1459864" y="537312"/>
                  <a:pt x="1459864" y="537312"/>
                  <a:pt x="1469632" y="537312"/>
                </a:cubicBezTo>
                <a:cubicBezTo>
                  <a:pt x="1469632" y="537312"/>
                  <a:pt x="1469632" y="537312"/>
                  <a:pt x="1479401" y="537312"/>
                </a:cubicBezTo>
                <a:cubicBezTo>
                  <a:pt x="1489170" y="537312"/>
                  <a:pt x="1508707" y="547081"/>
                  <a:pt x="1508707" y="547081"/>
                </a:cubicBezTo>
                <a:cubicBezTo>
                  <a:pt x="1508707" y="547081"/>
                  <a:pt x="1518475" y="547081"/>
                  <a:pt x="1528244" y="547081"/>
                </a:cubicBezTo>
                <a:cubicBezTo>
                  <a:pt x="1528244" y="547081"/>
                  <a:pt x="1547781" y="547081"/>
                  <a:pt x="1557550" y="547081"/>
                </a:cubicBezTo>
                <a:cubicBezTo>
                  <a:pt x="1557550" y="547081"/>
                  <a:pt x="1567319" y="547081"/>
                  <a:pt x="1567319" y="547081"/>
                </a:cubicBezTo>
                <a:cubicBezTo>
                  <a:pt x="1567319" y="547081"/>
                  <a:pt x="1577087" y="547081"/>
                  <a:pt x="1577087" y="547081"/>
                </a:cubicBezTo>
                <a:cubicBezTo>
                  <a:pt x="1577087" y="547081"/>
                  <a:pt x="1586856" y="547081"/>
                  <a:pt x="1606393" y="556851"/>
                </a:cubicBezTo>
                <a:cubicBezTo>
                  <a:pt x="1625930" y="556851"/>
                  <a:pt x="1625930" y="556851"/>
                  <a:pt x="1635699" y="556851"/>
                </a:cubicBezTo>
                <a:cubicBezTo>
                  <a:pt x="1635699" y="556851"/>
                  <a:pt x="1635699" y="566620"/>
                  <a:pt x="1645467" y="566620"/>
                </a:cubicBezTo>
                <a:cubicBezTo>
                  <a:pt x="1645467" y="566620"/>
                  <a:pt x="1655236" y="566620"/>
                  <a:pt x="1645467" y="556851"/>
                </a:cubicBezTo>
                <a:cubicBezTo>
                  <a:pt x="1655236" y="566620"/>
                  <a:pt x="1665005" y="566620"/>
                  <a:pt x="1674773" y="566620"/>
                </a:cubicBezTo>
                <a:cubicBezTo>
                  <a:pt x="1674773" y="556851"/>
                  <a:pt x="1694310" y="556851"/>
                  <a:pt x="1704079" y="566620"/>
                </a:cubicBezTo>
                <a:cubicBezTo>
                  <a:pt x="1704079" y="566620"/>
                  <a:pt x="1713848" y="566620"/>
                  <a:pt x="1723616" y="566620"/>
                </a:cubicBezTo>
                <a:cubicBezTo>
                  <a:pt x="1733385" y="566620"/>
                  <a:pt x="1743154" y="566620"/>
                  <a:pt x="1743154" y="566620"/>
                </a:cubicBezTo>
                <a:cubicBezTo>
                  <a:pt x="1743154" y="566620"/>
                  <a:pt x="1752922" y="576389"/>
                  <a:pt x="1762691" y="576389"/>
                </a:cubicBezTo>
                <a:cubicBezTo>
                  <a:pt x="1762691" y="576389"/>
                  <a:pt x="1772459" y="576389"/>
                  <a:pt x="1782228" y="576389"/>
                </a:cubicBezTo>
                <a:cubicBezTo>
                  <a:pt x="1791997" y="576389"/>
                  <a:pt x="1791997" y="576389"/>
                  <a:pt x="1782228" y="566620"/>
                </a:cubicBezTo>
                <a:cubicBezTo>
                  <a:pt x="1782228" y="566620"/>
                  <a:pt x="1791997" y="566620"/>
                  <a:pt x="1791997" y="566620"/>
                </a:cubicBezTo>
                <a:cubicBezTo>
                  <a:pt x="1801765" y="576389"/>
                  <a:pt x="1821302" y="576389"/>
                  <a:pt x="1821302" y="576389"/>
                </a:cubicBezTo>
                <a:cubicBezTo>
                  <a:pt x="1831071" y="576389"/>
                  <a:pt x="1831071" y="576389"/>
                  <a:pt x="1840840" y="576389"/>
                </a:cubicBezTo>
                <a:cubicBezTo>
                  <a:pt x="1840840" y="586159"/>
                  <a:pt x="1850608" y="586159"/>
                  <a:pt x="1860377" y="586159"/>
                </a:cubicBezTo>
                <a:cubicBezTo>
                  <a:pt x="1860377" y="586159"/>
                  <a:pt x="1860377" y="586159"/>
                  <a:pt x="1870145" y="586159"/>
                </a:cubicBezTo>
                <a:cubicBezTo>
                  <a:pt x="1879914" y="586159"/>
                  <a:pt x="1879914" y="586159"/>
                  <a:pt x="1879914" y="586159"/>
                </a:cubicBezTo>
                <a:cubicBezTo>
                  <a:pt x="1889683" y="586159"/>
                  <a:pt x="1889683" y="586159"/>
                  <a:pt x="1889683" y="576389"/>
                </a:cubicBezTo>
                <a:cubicBezTo>
                  <a:pt x="1899451" y="576389"/>
                  <a:pt x="1899451" y="576389"/>
                  <a:pt x="1909220" y="576389"/>
                </a:cubicBezTo>
                <a:cubicBezTo>
                  <a:pt x="1909220" y="586159"/>
                  <a:pt x="1918988" y="586159"/>
                  <a:pt x="1928757" y="586159"/>
                </a:cubicBezTo>
                <a:cubicBezTo>
                  <a:pt x="1928757" y="586159"/>
                  <a:pt x="1938526" y="586159"/>
                  <a:pt x="1948294" y="595928"/>
                </a:cubicBezTo>
                <a:cubicBezTo>
                  <a:pt x="1958063" y="595928"/>
                  <a:pt x="1958063" y="595928"/>
                  <a:pt x="1967832" y="595928"/>
                </a:cubicBezTo>
                <a:cubicBezTo>
                  <a:pt x="1977600" y="595928"/>
                  <a:pt x="1987369" y="595928"/>
                  <a:pt x="1987369" y="595928"/>
                </a:cubicBezTo>
                <a:cubicBezTo>
                  <a:pt x="1997137" y="605697"/>
                  <a:pt x="1997137" y="605697"/>
                  <a:pt x="1997137" y="605697"/>
                </a:cubicBezTo>
                <a:cubicBezTo>
                  <a:pt x="2006906" y="605697"/>
                  <a:pt x="2006906" y="605697"/>
                  <a:pt x="2006906" y="605697"/>
                </a:cubicBezTo>
                <a:cubicBezTo>
                  <a:pt x="2006906" y="605697"/>
                  <a:pt x="2006906" y="605697"/>
                  <a:pt x="2026443" y="605697"/>
                </a:cubicBezTo>
                <a:cubicBezTo>
                  <a:pt x="2036212" y="605697"/>
                  <a:pt x="2045980" y="615466"/>
                  <a:pt x="2055749" y="615466"/>
                </a:cubicBezTo>
                <a:cubicBezTo>
                  <a:pt x="2055749" y="615466"/>
                  <a:pt x="2065518" y="615466"/>
                  <a:pt x="2065518" y="615466"/>
                </a:cubicBezTo>
                <a:cubicBezTo>
                  <a:pt x="2065518" y="615466"/>
                  <a:pt x="2085055" y="625236"/>
                  <a:pt x="2094824" y="625236"/>
                </a:cubicBezTo>
                <a:cubicBezTo>
                  <a:pt x="2104592" y="625236"/>
                  <a:pt x="2124129" y="635005"/>
                  <a:pt x="2133898" y="635005"/>
                </a:cubicBezTo>
                <a:cubicBezTo>
                  <a:pt x="2153435" y="635005"/>
                  <a:pt x="2153435" y="635005"/>
                  <a:pt x="2153435" y="635005"/>
                </a:cubicBezTo>
                <a:cubicBezTo>
                  <a:pt x="2153435" y="635005"/>
                  <a:pt x="2153435" y="635005"/>
                  <a:pt x="2153435" y="625236"/>
                </a:cubicBezTo>
                <a:cubicBezTo>
                  <a:pt x="2153435" y="615466"/>
                  <a:pt x="2143667" y="615466"/>
                  <a:pt x="2133898" y="615466"/>
                </a:cubicBezTo>
                <a:cubicBezTo>
                  <a:pt x="2133898" y="615466"/>
                  <a:pt x="2124129" y="615466"/>
                  <a:pt x="2114361" y="615466"/>
                </a:cubicBezTo>
                <a:cubicBezTo>
                  <a:pt x="2114361" y="615466"/>
                  <a:pt x="2094824" y="605697"/>
                  <a:pt x="2085055" y="605697"/>
                </a:cubicBezTo>
                <a:cubicBezTo>
                  <a:pt x="2065518" y="605697"/>
                  <a:pt x="2045980" y="595928"/>
                  <a:pt x="2026443" y="595928"/>
                </a:cubicBezTo>
                <a:cubicBezTo>
                  <a:pt x="2016675" y="595928"/>
                  <a:pt x="1987369" y="586159"/>
                  <a:pt x="1958063" y="576389"/>
                </a:cubicBezTo>
                <a:cubicBezTo>
                  <a:pt x="1909220" y="566620"/>
                  <a:pt x="1899451" y="566620"/>
                  <a:pt x="1899451" y="566620"/>
                </a:cubicBezTo>
                <a:cubicBezTo>
                  <a:pt x="1909220" y="566620"/>
                  <a:pt x="1918988" y="566620"/>
                  <a:pt x="1938526" y="566620"/>
                </a:cubicBezTo>
                <a:cubicBezTo>
                  <a:pt x="1938526" y="566620"/>
                  <a:pt x="1948294" y="566620"/>
                  <a:pt x="1958063" y="566620"/>
                </a:cubicBezTo>
                <a:cubicBezTo>
                  <a:pt x="1958063" y="566620"/>
                  <a:pt x="1967832" y="576389"/>
                  <a:pt x="1987369" y="576389"/>
                </a:cubicBezTo>
                <a:cubicBezTo>
                  <a:pt x="1997137" y="576389"/>
                  <a:pt x="2006906" y="586159"/>
                  <a:pt x="2006906" y="586159"/>
                </a:cubicBezTo>
                <a:cubicBezTo>
                  <a:pt x="2006906" y="586159"/>
                  <a:pt x="2016675" y="586159"/>
                  <a:pt x="2016675" y="586159"/>
                </a:cubicBezTo>
                <a:cubicBezTo>
                  <a:pt x="2026443" y="586159"/>
                  <a:pt x="2026443" y="586159"/>
                  <a:pt x="2026443" y="586159"/>
                </a:cubicBezTo>
                <a:cubicBezTo>
                  <a:pt x="2036212" y="586159"/>
                  <a:pt x="2036212" y="586159"/>
                  <a:pt x="2036212" y="586159"/>
                </a:cubicBezTo>
                <a:cubicBezTo>
                  <a:pt x="2036212" y="595928"/>
                  <a:pt x="2045980" y="595928"/>
                  <a:pt x="2045980" y="586159"/>
                </a:cubicBezTo>
                <a:cubicBezTo>
                  <a:pt x="2055749" y="586159"/>
                  <a:pt x="2075286" y="586159"/>
                  <a:pt x="2075286" y="595928"/>
                </a:cubicBezTo>
                <a:cubicBezTo>
                  <a:pt x="2075286" y="595928"/>
                  <a:pt x="2085055" y="595928"/>
                  <a:pt x="2094824" y="595928"/>
                </a:cubicBezTo>
                <a:cubicBezTo>
                  <a:pt x="2124129" y="595928"/>
                  <a:pt x="2172972" y="615466"/>
                  <a:pt x="2212047" y="625236"/>
                </a:cubicBezTo>
                <a:cubicBezTo>
                  <a:pt x="2221815" y="625236"/>
                  <a:pt x="2241353" y="635005"/>
                  <a:pt x="2241353" y="635005"/>
                </a:cubicBezTo>
                <a:cubicBezTo>
                  <a:pt x="2241353" y="625236"/>
                  <a:pt x="2251121" y="635005"/>
                  <a:pt x="2251121" y="635005"/>
                </a:cubicBezTo>
                <a:cubicBezTo>
                  <a:pt x="2251121" y="635005"/>
                  <a:pt x="2260890" y="635005"/>
                  <a:pt x="2260890" y="635005"/>
                </a:cubicBezTo>
                <a:cubicBezTo>
                  <a:pt x="2270659" y="635005"/>
                  <a:pt x="2270659" y="635005"/>
                  <a:pt x="2299964" y="644774"/>
                </a:cubicBezTo>
                <a:lnTo>
                  <a:pt x="2319502" y="644774"/>
                </a:lnTo>
                <a:cubicBezTo>
                  <a:pt x="2319502" y="644774"/>
                  <a:pt x="2309733" y="635005"/>
                  <a:pt x="2299964" y="635005"/>
                </a:cubicBezTo>
                <a:cubicBezTo>
                  <a:pt x="2280427" y="635005"/>
                  <a:pt x="2270659" y="625236"/>
                  <a:pt x="2260890" y="625236"/>
                </a:cubicBezTo>
                <a:cubicBezTo>
                  <a:pt x="2260890" y="625236"/>
                  <a:pt x="2251121" y="625236"/>
                  <a:pt x="2251121" y="625236"/>
                </a:cubicBezTo>
                <a:cubicBezTo>
                  <a:pt x="2241353" y="625236"/>
                  <a:pt x="2231584" y="615466"/>
                  <a:pt x="2231584" y="615466"/>
                </a:cubicBezTo>
                <a:cubicBezTo>
                  <a:pt x="2212047" y="615466"/>
                  <a:pt x="2212047" y="615466"/>
                  <a:pt x="2212047" y="605697"/>
                </a:cubicBezTo>
                <a:cubicBezTo>
                  <a:pt x="2202278" y="605697"/>
                  <a:pt x="2192510" y="605697"/>
                  <a:pt x="2192510" y="605697"/>
                </a:cubicBezTo>
                <a:cubicBezTo>
                  <a:pt x="2192510" y="605697"/>
                  <a:pt x="2182741" y="595928"/>
                  <a:pt x="2172972" y="595928"/>
                </a:cubicBezTo>
                <a:cubicBezTo>
                  <a:pt x="2163204" y="595928"/>
                  <a:pt x="2143667" y="595928"/>
                  <a:pt x="2133898" y="595928"/>
                </a:cubicBezTo>
                <a:cubicBezTo>
                  <a:pt x="2124129" y="595928"/>
                  <a:pt x="2055749" y="576389"/>
                  <a:pt x="2045980" y="576389"/>
                </a:cubicBezTo>
                <a:cubicBezTo>
                  <a:pt x="2045980" y="576389"/>
                  <a:pt x="2036212" y="576389"/>
                  <a:pt x="2036212" y="576389"/>
                </a:cubicBezTo>
                <a:cubicBezTo>
                  <a:pt x="2026443" y="576389"/>
                  <a:pt x="2026443" y="576389"/>
                  <a:pt x="2016675" y="566620"/>
                </a:cubicBezTo>
                <a:cubicBezTo>
                  <a:pt x="2016675" y="566620"/>
                  <a:pt x="2006906" y="566620"/>
                  <a:pt x="2006906" y="566620"/>
                </a:cubicBezTo>
                <a:cubicBezTo>
                  <a:pt x="1997137" y="566620"/>
                  <a:pt x="1997137" y="566620"/>
                  <a:pt x="1997137" y="566620"/>
                </a:cubicBezTo>
                <a:cubicBezTo>
                  <a:pt x="1997137" y="566620"/>
                  <a:pt x="1977600" y="566620"/>
                  <a:pt x="1967832" y="566620"/>
                </a:cubicBezTo>
                <a:cubicBezTo>
                  <a:pt x="1928757" y="556851"/>
                  <a:pt x="1899451" y="556851"/>
                  <a:pt x="1899451" y="547081"/>
                </a:cubicBezTo>
                <a:cubicBezTo>
                  <a:pt x="1899451" y="547081"/>
                  <a:pt x="1879914" y="547081"/>
                  <a:pt x="1870145" y="547081"/>
                </a:cubicBezTo>
                <a:cubicBezTo>
                  <a:pt x="1850608" y="547081"/>
                  <a:pt x="1850608" y="547081"/>
                  <a:pt x="1860377" y="537312"/>
                </a:cubicBezTo>
                <a:cubicBezTo>
                  <a:pt x="1860377" y="537312"/>
                  <a:pt x="1860377" y="537312"/>
                  <a:pt x="1850608" y="527543"/>
                </a:cubicBezTo>
                <a:cubicBezTo>
                  <a:pt x="1840840" y="527543"/>
                  <a:pt x="1831071" y="527543"/>
                  <a:pt x="1831071" y="517773"/>
                </a:cubicBezTo>
                <a:cubicBezTo>
                  <a:pt x="1831071" y="517773"/>
                  <a:pt x="1831071" y="517773"/>
                  <a:pt x="1821302" y="517773"/>
                </a:cubicBezTo>
                <a:cubicBezTo>
                  <a:pt x="1821302" y="517773"/>
                  <a:pt x="1811534" y="517773"/>
                  <a:pt x="1811534" y="517773"/>
                </a:cubicBezTo>
                <a:cubicBezTo>
                  <a:pt x="1801765" y="508004"/>
                  <a:pt x="1782228" y="508004"/>
                  <a:pt x="1782228" y="498235"/>
                </a:cubicBezTo>
                <a:cubicBezTo>
                  <a:pt x="1772459" y="498235"/>
                  <a:pt x="1733385" y="488465"/>
                  <a:pt x="1704079" y="488465"/>
                </a:cubicBezTo>
                <a:cubicBezTo>
                  <a:pt x="1704079" y="498235"/>
                  <a:pt x="1713848" y="498235"/>
                  <a:pt x="1733385" y="498235"/>
                </a:cubicBezTo>
                <a:cubicBezTo>
                  <a:pt x="1733385" y="498235"/>
                  <a:pt x="1733385" y="498235"/>
                  <a:pt x="1743154" y="508004"/>
                </a:cubicBezTo>
                <a:cubicBezTo>
                  <a:pt x="1743154" y="517773"/>
                  <a:pt x="1743154" y="517773"/>
                  <a:pt x="1743154" y="517773"/>
                </a:cubicBezTo>
                <a:cubicBezTo>
                  <a:pt x="1733385" y="508004"/>
                  <a:pt x="1733385" y="508004"/>
                  <a:pt x="1733385" y="508004"/>
                </a:cubicBezTo>
                <a:cubicBezTo>
                  <a:pt x="1723616" y="508004"/>
                  <a:pt x="1713848" y="508004"/>
                  <a:pt x="1713848" y="508004"/>
                </a:cubicBezTo>
                <a:cubicBezTo>
                  <a:pt x="1713848" y="508004"/>
                  <a:pt x="1704079" y="498235"/>
                  <a:pt x="1694310" y="488465"/>
                </a:cubicBezTo>
                <a:cubicBezTo>
                  <a:pt x="1674773" y="478696"/>
                  <a:pt x="1674773" y="478696"/>
                  <a:pt x="1674773" y="478696"/>
                </a:cubicBezTo>
                <a:cubicBezTo>
                  <a:pt x="1635699" y="478696"/>
                  <a:pt x="1635699" y="478696"/>
                  <a:pt x="1635699" y="478696"/>
                </a:cubicBezTo>
                <a:cubicBezTo>
                  <a:pt x="1596624" y="478696"/>
                  <a:pt x="1577087" y="468927"/>
                  <a:pt x="1538013" y="468927"/>
                </a:cubicBezTo>
                <a:cubicBezTo>
                  <a:pt x="1528244" y="468927"/>
                  <a:pt x="1518475" y="468927"/>
                  <a:pt x="1508707" y="468927"/>
                </a:cubicBezTo>
                <a:cubicBezTo>
                  <a:pt x="1498938" y="468927"/>
                  <a:pt x="1498938" y="468927"/>
                  <a:pt x="1489170" y="468927"/>
                </a:cubicBezTo>
                <a:cubicBezTo>
                  <a:pt x="1479401" y="468927"/>
                  <a:pt x="1440327" y="459158"/>
                  <a:pt x="1440327" y="459158"/>
                </a:cubicBezTo>
                <a:cubicBezTo>
                  <a:pt x="1440327" y="459158"/>
                  <a:pt x="1450095" y="459158"/>
                  <a:pt x="1450095" y="459158"/>
                </a:cubicBezTo>
                <a:cubicBezTo>
                  <a:pt x="1459864" y="459158"/>
                  <a:pt x="1469632" y="459158"/>
                  <a:pt x="1479401" y="459158"/>
                </a:cubicBezTo>
                <a:cubicBezTo>
                  <a:pt x="1479401" y="459158"/>
                  <a:pt x="1489170" y="459158"/>
                  <a:pt x="1489170" y="459158"/>
                </a:cubicBezTo>
                <a:cubicBezTo>
                  <a:pt x="1489170" y="459158"/>
                  <a:pt x="1498938" y="459158"/>
                  <a:pt x="1508707" y="459158"/>
                </a:cubicBezTo>
                <a:cubicBezTo>
                  <a:pt x="1518475" y="459158"/>
                  <a:pt x="1528244" y="459158"/>
                  <a:pt x="1528244" y="459158"/>
                </a:cubicBezTo>
                <a:cubicBezTo>
                  <a:pt x="1538013" y="459158"/>
                  <a:pt x="1567319" y="468927"/>
                  <a:pt x="1577087" y="468927"/>
                </a:cubicBezTo>
                <a:cubicBezTo>
                  <a:pt x="1577087" y="468927"/>
                  <a:pt x="1586856" y="468927"/>
                  <a:pt x="1596624" y="468927"/>
                </a:cubicBezTo>
                <a:cubicBezTo>
                  <a:pt x="1606393" y="468927"/>
                  <a:pt x="1616162" y="468927"/>
                  <a:pt x="1616162" y="468927"/>
                </a:cubicBezTo>
                <a:cubicBezTo>
                  <a:pt x="1625930" y="468927"/>
                  <a:pt x="1625930" y="468927"/>
                  <a:pt x="1635699" y="468927"/>
                </a:cubicBezTo>
                <a:cubicBezTo>
                  <a:pt x="1635699" y="468927"/>
                  <a:pt x="1645467" y="468927"/>
                  <a:pt x="1645467" y="468927"/>
                </a:cubicBezTo>
                <a:cubicBezTo>
                  <a:pt x="1655236" y="468927"/>
                  <a:pt x="1655236" y="468927"/>
                  <a:pt x="1655236" y="468927"/>
                </a:cubicBezTo>
                <a:cubicBezTo>
                  <a:pt x="1655236" y="459158"/>
                  <a:pt x="1665005" y="459158"/>
                  <a:pt x="1674773" y="468927"/>
                </a:cubicBezTo>
                <a:cubicBezTo>
                  <a:pt x="1704079" y="478696"/>
                  <a:pt x="1723616" y="478696"/>
                  <a:pt x="1733385" y="478696"/>
                </a:cubicBezTo>
                <a:cubicBezTo>
                  <a:pt x="1743154" y="478696"/>
                  <a:pt x="1743154" y="478696"/>
                  <a:pt x="1743154" y="478696"/>
                </a:cubicBezTo>
                <a:cubicBezTo>
                  <a:pt x="1743154" y="478696"/>
                  <a:pt x="1791997" y="488465"/>
                  <a:pt x="1831071" y="498235"/>
                </a:cubicBezTo>
                <a:cubicBezTo>
                  <a:pt x="1831071" y="498235"/>
                  <a:pt x="1840840" y="498235"/>
                  <a:pt x="1840840" y="498235"/>
                </a:cubicBezTo>
                <a:cubicBezTo>
                  <a:pt x="1840840" y="498235"/>
                  <a:pt x="1889683" y="498235"/>
                  <a:pt x="1899451" y="508004"/>
                </a:cubicBezTo>
                <a:cubicBezTo>
                  <a:pt x="1899451" y="508004"/>
                  <a:pt x="1909220" y="508004"/>
                  <a:pt x="1918988" y="508004"/>
                </a:cubicBezTo>
                <a:lnTo>
                  <a:pt x="1938526" y="508004"/>
                </a:lnTo>
                <a:cubicBezTo>
                  <a:pt x="1938526" y="498235"/>
                  <a:pt x="1938526" y="498235"/>
                  <a:pt x="1928757" y="498235"/>
                </a:cubicBezTo>
                <a:cubicBezTo>
                  <a:pt x="1928757" y="498235"/>
                  <a:pt x="1918988" y="498235"/>
                  <a:pt x="1918988" y="498235"/>
                </a:cubicBezTo>
                <a:cubicBezTo>
                  <a:pt x="1909220" y="498235"/>
                  <a:pt x="1879914" y="488465"/>
                  <a:pt x="1860377" y="488465"/>
                </a:cubicBezTo>
                <a:cubicBezTo>
                  <a:pt x="1860377" y="488465"/>
                  <a:pt x="1840840" y="488465"/>
                  <a:pt x="1831071" y="478696"/>
                </a:cubicBezTo>
                <a:lnTo>
                  <a:pt x="1834734" y="478696"/>
                </a:lnTo>
                <a:cubicBezTo>
                  <a:pt x="1843282" y="478696"/>
                  <a:pt x="1850608" y="478696"/>
                  <a:pt x="1850608" y="478696"/>
                </a:cubicBezTo>
                <a:cubicBezTo>
                  <a:pt x="1850608" y="478696"/>
                  <a:pt x="1860377" y="478696"/>
                  <a:pt x="1870145" y="478696"/>
                </a:cubicBezTo>
                <a:cubicBezTo>
                  <a:pt x="1870145" y="478696"/>
                  <a:pt x="1879914" y="488465"/>
                  <a:pt x="1879914" y="488465"/>
                </a:cubicBezTo>
                <a:cubicBezTo>
                  <a:pt x="1879914" y="478696"/>
                  <a:pt x="1860377" y="468927"/>
                  <a:pt x="1850608" y="468927"/>
                </a:cubicBezTo>
                <a:cubicBezTo>
                  <a:pt x="1850608" y="468927"/>
                  <a:pt x="1821302" y="468927"/>
                  <a:pt x="1821302" y="468927"/>
                </a:cubicBezTo>
                <a:cubicBezTo>
                  <a:pt x="1821302" y="468927"/>
                  <a:pt x="1811534" y="468927"/>
                  <a:pt x="1811534" y="468927"/>
                </a:cubicBezTo>
                <a:cubicBezTo>
                  <a:pt x="1811534" y="468927"/>
                  <a:pt x="1801765" y="468927"/>
                  <a:pt x="1791997" y="468927"/>
                </a:cubicBezTo>
                <a:cubicBezTo>
                  <a:pt x="1782228" y="468927"/>
                  <a:pt x="1772459" y="459158"/>
                  <a:pt x="1772459" y="459158"/>
                </a:cubicBezTo>
                <a:cubicBezTo>
                  <a:pt x="1762691" y="459158"/>
                  <a:pt x="1752922" y="459158"/>
                  <a:pt x="1752922" y="459158"/>
                </a:cubicBezTo>
                <a:cubicBezTo>
                  <a:pt x="1752922" y="459158"/>
                  <a:pt x="1743154" y="459158"/>
                  <a:pt x="1733385" y="459158"/>
                </a:cubicBezTo>
                <a:cubicBezTo>
                  <a:pt x="1723616" y="459158"/>
                  <a:pt x="1704079" y="459158"/>
                  <a:pt x="1694310" y="459158"/>
                </a:cubicBezTo>
                <a:cubicBezTo>
                  <a:pt x="1684542" y="449388"/>
                  <a:pt x="1655236" y="449388"/>
                  <a:pt x="1635699" y="449388"/>
                </a:cubicBezTo>
                <a:cubicBezTo>
                  <a:pt x="1616162" y="449388"/>
                  <a:pt x="1596624" y="439619"/>
                  <a:pt x="1586856" y="439619"/>
                </a:cubicBezTo>
                <a:cubicBezTo>
                  <a:pt x="1577087" y="439619"/>
                  <a:pt x="1567319" y="439619"/>
                  <a:pt x="1557550" y="439619"/>
                </a:cubicBezTo>
                <a:cubicBezTo>
                  <a:pt x="1547781" y="439619"/>
                  <a:pt x="1538013" y="439619"/>
                  <a:pt x="1538013" y="439619"/>
                </a:cubicBezTo>
                <a:cubicBezTo>
                  <a:pt x="1528244" y="439619"/>
                  <a:pt x="1518475" y="429849"/>
                  <a:pt x="1508707" y="429849"/>
                </a:cubicBezTo>
                <a:cubicBezTo>
                  <a:pt x="1508707" y="429849"/>
                  <a:pt x="1518475" y="429849"/>
                  <a:pt x="1518475" y="429849"/>
                </a:cubicBezTo>
                <a:cubicBezTo>
                  <a:pt x="1528244" y="420080"/>
                  <a:pt x="1538013" y="429849"/>
                  <a:pt x="1538013" y="429849"/>
                </a:cubicBezTo>
                <a:cubicBezTo>
                  <a:pt x="1547781" y="429849"/>
                  <a:pt x="1557550" y="429849"/>
                  <a:pt x="1557550" y="429849"/>
                </a:cubicBezTo>
                <a:cubicBezTo>
                  <a:pt x="1567319" y="429849"/>
                  <a:pt x="1567319" y="429849"/>
                  <a:pt x="1577087" y="429849"/>
                </a:cubicBezTo>
                <a:cubicBezTo>
                  <a:pt x="1577087" y="429849"/>
                  <a:pt x="1586856" y="429849"/>
                  <a:pt x="1586856" y="429849"/>
                </a:cubicBezTo>
                <a:cubicBezTo>
                  <a:pt x="1596624" y="420080"/>
                  <a:pt x="1625930" y="429849"/>
                  <a:pt x="1625930" y="429849"/>
                </a:cubicBezTo>
                <a:cubicBezTo>
                  <a:pt x="1616162" y="429849"/>
                  <a:pt x="1616162" y="439619"/>
                  <a:pt x="1616162" y="439619"/>
                </a:cubicBezTo>
                <a:lnTo>
                  <a:pt x="1625930" y="439619"/>
                </a:lnTo>
                <a:cubicBezTo>
                  <a:pt x="1645467" y="439619"/>
                  <a:pt x="1645467" y="439619"/>
                  <a:pt x="1645467" y="439619"/>
                </a:cubicBezTo>
                <a:cubicBezTo>
                  <a:pt x="1645467" y="439619"/>
                  <a:pt x="1655236" y="439619"/>
                  <a:pt x="1655236" y="439619"/>
                </a:cubicBezTo>
                <a:cubicBezTo>
                  <a:pt x="1665005" y="439619"/>
                  <a:pt x="1665005" y="449388"/>
                  <a:pt x="1665005" y="449388"/>
                </a:cubicBezTo>
                <a:cubicBezTo>
                  <a:pt x="1674773" y="449388"/>
                  <a:pt x="1674773" y="449388"/>
                  <a:pt x="1674773" y="449388"/>
                </a:cubicBezTo>
                <a:cubicBezTo>
                  <a:pt x="1674773" y="449388"/>
                  <a:pt x="1674773" y="439619"/>
                  <a:pt x="1684542" y="439619"/>
                </a:cubicBezTo>
                <a:cubicBezTo>
                  <a:pt x="1684542" y="449388"/>
                  <a:pt x="1704079" y="449388"/>
                  <a:pt x="1713848" y="449388"/>
                </a:cubicBezTo>
                <a:cubicBezTo>
                  <a:pt x="1733385" y="449388"/>
                  <a:pt x="1743154" y="449388"/>
                  <a:pt x="1743154" y="449388"/>
                </a:cubicBezTo>
                <a:cubicBezTo>
                  <a:pt x="1743154" y="449388"/>
                  <a:pt x="1752922" y="449388"/>
                  <a:pt x="1752922" y="449388"/>
                </a:cubicBezTo>
                <a:cubicBezTo>
                  <a:pt x="1762691" y="449388"/>
                  <a:pt x="1772459" y="449388"/>
                  <a:pt x="1772459" y="449388"/>
                </a:cubicBezTo>
                <a:cubicBezTo>
                  <a:pt x="1772459" y="449388"/>
                  <a:pt x="1782228" y="449388"/>
                  <a:pt x="1782228" y="449388"/>
                </a:cubicBezTo>
                <a:cubicBezTo>
                  <a:pt x="1791997" y="449388"/>
                  <a:pt x="1801765" y="449388"/>
                  <a:pt x="1801765" y="449388"/>
                </a:cubicBezTo>
                <a:cubicBezTo>
                  <a:pt x="1801765" y="459158"/>
                  <a:pt x="1801765" y="459158"/>
                  <a:pt x="1801765" y="459158"/>
                </a:cubicBezTo>
                <a:cubicBezTo>
                  <a:pt x="1811534" y="459158"/>
                  <a:pt x="1811534" y="459158"/>
                  <a:pt x="1821302" y="459158"/>
                </a:cubicBezTo>
                <a:cubicBezTo>
                  <a:pt x="1831071" y="459158"/>
                  <a:pt x="1840840" y="459158"/>
                  <a:pt x="1840840" y="459158"/>
                </a:cubicBezTo>
                <a:cubicBezTo>
                  <a:pt x="1870145" y="459158"/>
                  <a:pt x="1879914" y="468927"/>
                  <a:pt x="1879914" y="468927"/>
                </a:cubicBezTo>
                <a:cubicBezTo>
                  <a:pt x="1879914" y="468927"/>
                  <a:pt x="1889683" y="468927"/>
                  <a:pt x="1889683" y="468927"/>
                </a:cubicBezTo>
                <a:cubicBezTo>
                  <a:pt x="1889683" y="468927"/>
                  <a:pt x="1899451" y="468927"/>
                  <a:pt x="1899451" y="468927"/>
                </a:cubicBezTo>
                <a:cubicBezTo>
                  <a:pt x="1909220" y="468927"/>
                  <a:pt x="1909220" y="468927"/>
                  <a:pt x="1918988" y="468927"/>
                </a:cubicBezTo>
                <a:cubicBezTo>
                  <a:pt x="1918988" y="468927"/>
                  <a:pt x="1928757" y="478696"/>
                  <a:pt x="1928757" y="478696"/>
                </a:cubicBezTo>
                <a:cubicBezTo>
                  <a:pt x="1928757" y="478696"/>
                  <a:pt x="1918988" y="478696"/>
                  <a:pt x="1909220" y="478696"/>
                </a:cubicBezTo>
                <a:lnTo>
                  <a:pt x="1899451" y="478696"/>
                </a:lnTo>
                <a:cubicBezTo>
                  <a:pt x="1899451" y="488465"/>
                  <a:pt x="1909220" y="488465"/>
                  <a:pt x="1918988" y="488465"/>
                </a:cubicBezTo>
                <a:cubicBezTo>
                  <a:pt x="1918988" y="488465"/>
                  <a:pt x="1928757" y="488465"/>
                  <a:pt x="1928757" y="478696"/>
                </a:cubicBezTo>
                <a:cubicBezTo>
                  <a:pt x="1928757" y="478696"/>
                  <a:pt x="1977600" y="488465"/>
                  <a:pt x="1987369" y="488465"/>
                </a:cubicBezTo>
                <a:cubicBezTo>
                  <a:pt x="1992253" y="488465"/>
                  <a:pt x="1999580" y="488465"/>
                  <a:pt x="2005685" y="488465"/>
                </a:cubicBezTo>
                <a:lnTo>
                  <a:pt x="2006906" y="488465"/>
                </a:lnTo>
                <a:cubicBezTo>
                  <a:pt x="2006906" y="488465"/>
                  <a:pt x="2006906" y="478696"/>
                  <a:pt x="1997137" y="478696"/>
                </a:cubicBezTo>
                <a:cubicBezTo>
                  <a:pt x="1987369" y="468927"/>
                  <a:pt x="1987369" y="468927"/>
                  <a:pt x="1977600" y="478696"/>
                </a:cubicBezTo>
                <a:cubicBezTo>
                  <a:pt x="1977600" y="478696"/>
                  <a:pt x="1967832" y="478696"/>
                  <a:pt x="1967832" y="478696"/>
                </a:cubicBezTo>
                <a:cubicBezTo>
                  <a:pt x="1967832" y="468927"/>
                  <a:pt x="1958063" y="468927"/>
                  <a:pt x="1938526" y="468927"/>
                </a:cubicBezTo>
                <a:cubicBezTo>
                  <a:pt x="1928757" y="468927"/>
                  <a:pt x="1918988" y="468927"/>
                  <a:pt x="1918988" y="459158"/>
                </a:cubicBezTo>
                <a:cubicBezTo>
                  <a:pt x="1918988" y="459158"/>
                  <a:pt x="1909220" y="459158"/>
                  <a:pt x="1899451" y="459158"/>
                </a:cubicBezTo>
                <a:cubicBezTo>
                  <a:pt x="1889683" y="459158"/>
                  <a:pt x="1870145" y="449388"/>
                  <a:pt x="1850608" y="449388"/>
                </a:cubicBezTo>
                <a:cubicBezTo>
                  <a:pt x="1840840" y="449388"/>
                  <a:pt x="1821302" y="449388"/>
                  <a:pt x="1821302" y="449388"/>
                </a:cubicBezTo>
                <a:cubicBezTo>
                  <a:pt x="1811534" y="449388"/>
                  <a:pt x="1801765" y="439619"/>
                  <a:pt x="1782228" y="439619"/>
                </a:cubicBezTo>
                <a:cubicBezTo>
                  <a:pt x="1772459" y="439619"/>
                  <a:pt x="1743154" y="429849"/>
                  <a:pt x="1733385" y="429849"/>
                </a:cubicBezTo>
                <a:cubicBezTo>
                  <a:pt x="1713848" y="429849"/>
                  <a:pt x="1684542" y="410311"/>
                  <a:pt x="1684542" y="410311"/>
                </a:cubicBezTo>
                <a:cubicBezTo>
                  <a:pt x="1694310" y="400542"/>
                  <a:pt x="1694310" y="400542"/>
                  <a:pt x="1684542" y="400542"/>
                </a:cubicBezTo>
                <a:cubicBezTo>
                  <a:pt x="1674773" y="400542"/>
                  <a:pt x="1674773" y="400542"/>
                  <a:pt x="1674773" y="400542"/>
                </a:cubicBezTo>
                <a:cubicBezTo>
                  <a:pt x="1665005" y="400542"/>
                  <a:pt x="1655236" y="410311"/>
                  <a:pt x="1665005" y="410311"/>
                </a:cubicBezTo>
                <a:cubicBezTo>
                  <a:pt x="1674773" y="420080"/>
                  <a:pt x="1665005" y="420080"/>
                  <a:pt x="1655236" y="420080"/>
                </a:cubicBezTo>
                <a:cubicBezTo>
                  <a:pt x="1655236" y="410311"/>
                  <a:pt x="1645467" y="410311"/>
                  <a:pt x="1635699" y="410311"/>
                </a:cubicBezTo>
                <a:cubicBezTo>
                  <a:pt x="1635699" y="410311"/>
                  <a:pt x="1625930" y="410311"/>
                  <a:pt x="1616162" y="410311"/>
                </a:cubicBezTo>
                <a:cubicBezTo>
                  <a:pt x="1616162" y="410311"/>
                  <a:pt x="1596624" y="410311"/>
                  <a:pt x="1596624" y="410311"/>
                </a:cubicBezTo>
                <a:lnTo>
                  <a:pt x="1586856" y="410311"/>
                </a:lnTo>
                <a:cubicBezTo>
                  <a:pt x="1596624" y="400542"/>
                  <a:pt x="1586856" y="390772"/>
                  <a:pt x="1567319" y="390772"/>
                </a:cubicBezTo>
                <a:cubicBezTo>
                  <a:pt x="1567319" y="390772"/>
                  <a:pt x="1586856" y="390772"/>
                  <a:pt x="1586856" y="390772"/>
                </a:cubicBezTo>
                <a:cubicBezTo>
                  <a:pt x="1596624" y="390772"/>
                  <a:pt x="1616162" y="390772"/>
                  <a:pt x="1625930" y="390772"/>
                </a:cubicBezTo>
                <a:cubicBezTo>
                  <a:pt x="1635699" y="390772"/>
                  <a:pt x="1655236" y="390772"/>
                  <a:pt x="1665005" y="390772"/>
                </a:cubicBezTo>
                <a:cubicBezTo>
                  <a:pt x="1674773" y="390772"/>
                  <a:pt x="1684542" y="390772"/>
                  <a:pt x="1694310" y="390772"/>
                </a:cubicBezTo>
                <a:cubicBezTo>
                  <a:pt x="1704079" y="390772"/>
                  <a:pt x="1723616" y="390772"/>
                  <a:pt x="1723616" y="390772"/>
                </a:cubicBezTo>
                <a:cubicBezTo>
                  <a:pt x="1733385" y="390772"/>
                  <a:pt x="1752922" y="390772"/>
                  <a:pt x="1752922" y="381003"/>
                </a:cubicBezTo>
                <a:cubicBezTo>
                  <a:pt x="1752922" y="381003"/>
                  <a:pt x="1762691" y="381003"/>
                  <a:pt x="1762691" y="371234"/>
                </a:cubicBezTo>
                <a:cubicBezTo>
                  <a:pt x="1762691" y="371234"/>
                  <a:pt x="1762691" y="371234"/>
                  <a:pt x="1772459" y="371234"/>
                </a:cubicBezTo>
                <a:cubicBezTo>
                  <a:pt x="1772459" y="371234"/>
                  <a:pt x="1782228" y="371234"/>
                  <a:pt x="1782228" y="371234"/>
                </a:cubicBezTo>
                <a:cubicBezTo>
                  <a:pt x="1782228" y="371234"/>
                  <a:pt x="1772459" y="361464"/>
                  <a:pt x="1762691" y="361464"/>
                </a:cubicBezTo>
                <a:cubicBezTo>
                  <a:pt x="1752922" y="361464"/>
                  <a:pt x="1743154" y="361464"/>
                  <a:pt x="1733385" y="361464"/>
                </a:cubicBezTo>
                <a:cubicBezTo>
                  <a:pt x="1733385" y="361464"/>
                  <a:pt x="1723616" y="351695"/>
                  <a:pt x="1723616" y="351695"/>
                </a:cubicBezTo>
                <a:cubicBezTo>
                  <a:pt x="1704079" y="351695"/>
                  <a:pt x="1684542" y="351695"/>
                  <a:pt x="1684542" y="351695"/>
                </a:cubicBezTo>
                <a:cubicBezTo>
                  <a:pt x="1684542" y="341926"/>
                  <a:pt x="1674773" y="341926"/>
                  <a:pt x="1665005" y="341926"/>
                </a:cubicBezTo>
                <a:cubicBezTo>
                  <a:pt x="1645467" y="341926"/>
                  <a:pt x="1635699" y="341926"/>
                  <a:pt x="1635699" y="341926"/>
                </a:cubicBezTo>
                <a:cubicBezTo>
                  <a:pt x="1635699" y="341926"/>
                  <a:pt x="1635699" y="332156"/>
                  <a:pt x="1625930" y="341926"/>
                </a:cubicBezTo>
                <a:cubicBezTo>
                  <a:pt x="1625930" y="341926"/>
                  <a:pt x="1625930" y="341926"/>
                  <a:pt x="1625930" y="332156"/>
                </a:cubicBezTo>
                <a:cubicBezTo>
                  <a:pt x="1625930" y="332156"/>
                  <a:pt x="1616162" y="332156"/>
                  <a:pt x="1616162" y="332156"/>
                </a:cubicBezTo>
                <a:cubicBezTo>
                  <a:pt x="1616162" y="332156"/>
                  <a:pt x="1606393" y="341926"/>
                  <a:pt x="1606393" y="332156"/>
                </a:cubicBezTo>
                <a:cubicBezTo>
                  <a:pt x="1596624" y="332156"/>
                  <a:pt x="1586856" y="332156"/>
                  <a:pt x="1586856" y="332156"/>
                </a:cubicBezTo>
                <a:cubicBezTo>
                  <a:pt x="1586856" y="322387"/>
                  <a:pt x="1577087" y="322387"/>
                  <a:pt x="1557550" y="312618"/>
                </a:cubicBezTo>
                <a:lnTo>
                  <a:pt x="1561213" y="312618"/>
                </a:lnTo>
                <a:cubicBezTo>
                  <a:pt x="1564876" y="312618"/>
                  <a:pt x="1567319" y="312618"/>
                  <a:pt x="1567319" y="312618"/>
                </a:cubicBezTo>
                <a:cubicBezTo>
                  <a:pt x="1567319" y="312618"/>
                  <a:pt x="1577087" y="312618"/>
                  <a:pt x="1577087" y="312618"/>
                </a:cubicBezTo>
                <a:cubicBezTo>
                  <a:pt x="1586856" y="322387"/>
                  <a:pt x="1625930" y="322387"/>
                  <a:pt x="1625930" y="322387"/>
                </a:cubicBezTo>
                <a:cubicBezTo>
                  <a:pt x="1635699" y="322387"/>
                  <a:pt x="1635699" y="322387"/>
                  <a:pt x="1635699" y="322387"/>
                </a:cubicBezTo>
                <a:cubicBezTo>
                  <a:pt x="1635699" y="322387"/>
                  <a:pt x="1645467" y="322387"/>
                  <a:pt x="1645467" y="322387"/>
                </a:cubicBezTo>
                <a:cubicBezTo>
                  <a:pt x="1645467" y="322387"/>
                  <a:pt x="1645467" y="322387"/>
                  <a:pt x="1655236" y="322387"/>
                </a:cubicBezTo>
                <a:cubicBezTo>
                  <a:pt x="1665005" y="322387"/>
                  <a:pt x="1674773" y="322387"/>
                  <a:pt x="1684542" y="332156"/>
                </a:cubicBezTo>
                <a:cubicBezTo>
                  <a:pt x="1684542" y="332156"/>
                  <a:pt x="1694310" y="332156"/>
                  <a:pt x="1694310" y="332156"/>
                </a:cubicBezTo>
                <a:cubicBezTo>
                  <a:pt x="1713848" y="332156"/>
                  <a:pt x="1713848" y="332156"/>
                  <a:pt x="1704079" y="322387"/>
                </a:cubicBezTo>
                <a:cubicBezTo>
                  <a:pt x="1704079" y="322387"/>
                  <a:pt x="1694310" y="322387"/>
                  <a:pt x="1694310" y="322387"/>
                </a:cubicBezTo>
                <a:cubicBezTo>
                  <a:pt x="1704079" y="312618"/>
                  <a:pt x="1713848" y="312618"/>
                  <a:pt x="1723616" y="312618"/>
                </a:cubicBezTo>
                <a:cubicBezTo>
                  <a:pt x="1733385" y="322387"/>
                  <a:pt x="1743154" y="322387"/>
                  <a:pt x="1743154" y="322387"/>
                </a:cubicBezTo>
                <a:cubicBezTo>
                  <a:pt x="1752922" y="312618"/>
                  <a:pt x="1752922" y="312618"/>
                  <a:pt x="1752922" y="312618"/>
                </a:cubicBezTo>
                <a:cubicBezTo>
                  <a:pt x="1752922" y="322387"/>
                  <a:pt x="1762691" y="312618"/>
                  <a:pt x="1762691" y="312618"/>
                </a:cubicBezTo>
                <a:cubicBezTo>
                  <a:pt x="1762691" y="312618"/>
                  <a:pt x="1772459" y="312618"/>
                  <a:pt x="1772459" y="312618"/>
                </a:cubicBezTo>
                <a:cubicBezTo>
                  <a:pt x="1772459" y="302849"/>
                  <a:pt x="1772459" y="302849"/>
                  <a:pt x="1762691" y="302849"/>
                </a:cubicBezTo>
                <a:cubicBezTo>
                  <a:pt x="1762691" y="302849"/>
                  <a:pt x="1762691" y="302849"/>
                  <a:pt x="1752922" y="302849"/>
                </a:cubicBezTo>
                <a:cubicBezTo>
                  <a:pt x="1752922" y="302849"/>
                  <a:pt x="1743154" y="302849"/>
                  <a:pt x="1743154" y="302849"/>
                </a:cubicBezTo>
                <a:cubicBezTo>
                  <a:pt x="1743154" y="302849"/>
                  <a:pt x="1733385" y="302849"/>
                  <a:pt x="1733385" y="302849"/>
                </a:cubicBezTo>
                <a:cubicBezTo>
                  <a:pt x="1723616" y="302849"/>
                  <a:pt x="1713848" y="302849"/>
                  <a:pt x="1713848" y="302849"/>
                </a:cubicBezTo>
                <a:cubicBezTo>
                  <a:pt x="1713848" y="302849"/>
                  <a:pt x="1713848" y="302849"/>
                  <a:pt x="1704079" y="302849"/>
                </a:cubicBezTo>
                <a:cubicBezTo>
                  <a:pt x="1694310" y="293079"/>
                  <a:pt x="1655236" y="283310"/>
                  <a:pt x="1655236" y="293079"/>
                </a:cubicBezTo>
                <a:cubicBezTo>
                  <a:pt x="1655236" y="293079"/>
                  <a:pt x="1645467" y="293079"/>
                  <a:pt x="1645467" y="283310"/>
                </a:cubicBezTo>
                <a:cubicBezTo>
                  <a:pt x="1645467" y="283310"/>
                  <a:pt x="1635699" y="283310"/>
                  <a:pt x="1635699" y="283310"/>
                </a:cubicBezTo>
                <a:cubicBezTo>
                  <a:pt x="1635699" y="293079"/>
                  <a:pt x="1625930" y="293079"/>
                  <a:pt x="1625930" y="283310"/>
                </a:cubicBezTo>
                <a:cubicBezTo>
                  <a:pt x="1625930" y="283310"/>
                  <a:pt x="1616162" y="283310"/>
                  <a:pt x="1616162" y="283310"/>
                </a:cubicBezTo>
                <a:cubicBezTo>
                  <a:pt x="1606393" y="283310"/>
                  <a:pt x="1596624" y="283310"/>
                  <a:pt x="1596624" y="283310"/>
                </a:cubicBezTo>
                <a:cubicBezTo>
                  <a:pt x="1586856" y="283310"/>
                  <a:pt x="1586856" y="283310"/>
                  <a:pt x="1577087" y="283310"/>
                </a:cubicBezTo>
                <a:cubicBezTo>
                  <a:pt x="1577087" y="283310"/>
                  <a:pt x="1577087" y="283310"/>
                  <a:pt x="1567319" y="283310"/>
                </a:cubicBezTo>
                <a:cubicBezTo>
                  <a:pt x="1567319" y="283310"/>
                  <a:pt x="1557550" y="273541"/>
                  <a:pt x="1547781" y="273541"/>
                </a:cubicBezTo>
                <a:cubicBezTo>
                  <a:pt x="1508707" y="273541"/>
                  <a:pt x="1508707" y="273541"/>
                  <a:pt x="1508707" y="263771"/>
                </a:cubicBezTo>
                <a:cubicBezTo>
                  <a:pt x="1498938" y="263771"/>
                  <a:pt x="1498938" y="263771"/>
                  <a:pt x="1508707" y="254002"/>
                </a:cubicBezTo>
                <a:cubicBezTo>
                  <a:pt x="1508707" y="254002"/>
                  <a:pt x="1508707" y="244233"/>
                  <a:pt x="1498938" y="244233"/>
                </a:cubicBezTo>
                <a:cubicBezTo>
                  <a:pt x="1498938" y="244233"/>
                  <a:pt x="1489170" y="234463"/>
                  <a:pt x="1489170" y="234463"/>
                </a:cubicBezTo>
                <a:cubicBezTo>
                  <a:pt x="1489170" y="234463"/>
                  <a:pt x="1489170" y="224694"/>
                  <a:pt x="1479401" y="224694"/>
                </a:cubicBezTo>
                <a:cubicBezTo>
                  <a:pt x="1498938" y="224694"/>
                  <a:pt x="1508707" y="224694"/>
                  <a:pt x="1538013" y="224694"/>
                </a:cubicBezTo>
                <a:cubicBezTo>
                  <a:pt x="1557550" y="224694"/>
                  <a:pt x="1577087" y="224694"/>
                  <a:pt x="1577087" y="224694"/>
                </a:cubicBezTo>
                <a:cubicBezTo>
                  <a:pt x="1577087" y="214925"/>
                  <a:pt x="1606393" y="214925"/>
                  <a:pt x="1616162" y="214925"/>
                </a:cubicBezTo>
                <a:cubicBezTo>
                  <a:pt x="1635699" y="224694"/>
                  <a:pt x="1655236" y="224694"/>
                  <a:pt x="1645467" y="214925"/>
                </a:cubicBezTo>
                <a:cubicBezTo>
                  <a:pt x="1645467" y="214925"/>
                  <a:pt x="1638141" y="214925"/>
                  <a:pt x="1628372" y="214925"/>
                </a:cubicBezTo>
                <a:lnTo>
                  <a:pt x="1616162" y="214925"/>
                </a:lnTo>
                <a:lnTo>
                  <a:pt x="1596624" y="214925"/>
                </a:lnTo>
                <a:cubicBezTo>
                  <a:pt x="1596624" y="214925"/>
                  <a:pt x="1586856" y="214925"/>
                  <a:pt x="1586856" y="205156"/>
                </a:cubicBezTo>
                <a:cubicBezTo>
                  <a:pt x="1586856" y="205156"/>
                  <a:pt x="1577087" y="205156"/>
                  <a:pt x="1567319" y="205156"/>
                </a:cubicBezTo>
                <a:cubicBezTo>
                  <a:pt x="1547781" y="205156"/>
                  <a:pt x="1547781" y="205156"/>
                  <a:pt x="1547781" y="205156"/>
                </a:cubicBezTo>
                <a:cubicBezTo>
                  <a:pt x="1547781" y="205156"/>
                  <a:pt x="1547781" y="195386"/>
                  <a:pt x="1547781" y="195386"/>
                </a:cubicBezTo>
                <a:cubicBezTo>
                  <a:pt x="1547781" y="195386"/>
                  <a:pt x="1538013" y="195386"/>
                  <a:pt x="1538013" y="195386"/>
                </a:cubicBezTo>
                <a:cubicBezTo>
                  <a:pt x="1528244" y="195386"/>
                  <a:pt x="1518475" y="185617"/>
                  <a:pt x="1508707" y="185617"/>
                </a:cubicBezTo>
                <a:cubicBezTo>
                  <a:pt x="1508707" y="185617"/>
                  <a:pt x="1508707" y="185617"/>
                  <a:pt x="1498938" y="185617"/>
                </a:cubicBezTo>
                <a:cubicBezTo>
                  <a:pt x="1498938" y="185617"/>
                  <a:pt x="1489170" y="185617"/>
                  <a:pt x="1469632" y="185617"/>
                </a:cubicBezTo>
                <a:cubicBezTo>
                  <a:pt x="1459864" y="185617"/>
                  <a:pt x="1430558" y="185617"/>
                  <a:pt x="1420789" y="185617"/>
                </a:cubicBezTo>
                <a:cubicBezTo>
                  <a:pt x="1411021" y="185617"/>
                  <a:pt x="1401252" y="185617"/>
                  <a:pt x="1401252" y="185617"/>
                </a:cubicBezTo>
                <a:cubicBezTo>
                  <a:pt x="1401252" y="185617"/>
                  <a:pt x="1362178" y="185617"/>
                  <a:pt x="1362178" y="175848"/>
                </a:cubicBezTo>
                <a:cubicBezTo>
                  <a:pt x="1362178" y="175848"/>
                  <a:pt x="1362178" y="175848"/>
                  <a:pt x="1352409" y="175848"/>
                </a:cubicBezTo>
                <a:cubicBezTo>
                  <a:pt x="1352409" y="185617"/>
                  <a:pt x="1323103" y="185617"/>
                  <a:pt x="1323103" y="175848"/>
                </a:cubicBezTo>
                <a:cubicBezTo>
                  <a:pt x="1323103" y="175848"/>
                  <a:pt x="1352409" y="175848"/>
                  <a:pt x="1362178" y="166078"/>
                </a:cubicBezTo>
                <a:cubicBezTo>
                  <a:pt x="1371946" y="166078"/>
                  <a:pt x="1371946" y="166078"/>
                  <a:pt x="1371946" y="166078"/>
                </a:cubicBezTo>
                <a:cubicBezTo>
                  <a:pt x="1371946" y="166078"/>
                  <a:pt x="1371946" y="166078"/>
                  <a:pt x="1381715" y="166078"/>
                </a:cubicBezTo>
                <a:cubicBezTo>
                  <a:pt x="1381715" y="166078"/>
                  <a:pt x="1391483" y="166078"/>
                  <a:pt x="1391483" y="166078"/>
                </a:cubicBezTo>
                <a:cubicBezTo>
                  <a:pt x="1401252" y="156309"/>
                  <a:pt x="1401252" y="166078"/>
                  <a:pt x="1401252" y="166078"/>
                </a:cubicBezTo>
                <a:cubicBezTo>
                  <a:pt x="1401252" y="166078"/>
                  <a:pt x="1411021" y="166078"/>
                  <a:pt x="1420789" y="166078"/>
                </a:cubicBezTo>
                <a:cubicBezTo>
                  <a:pt x="1420789" y="166078"/>
                  <a:pt x="1430558" y="166078"/>
                  <a:pt x="1440327" y="175848"/>
                </a:cubicBezTo>
                <a:cubicBezTo>
                  <a:pt x="1450095" y="175848"/>
                  <a:pt x="1450095" y="175848"/>
                  <a:pt x="1450095" y="175848"/>
                </a:cubicBezTo>
                <a:cubicBezTo>
                  <a:pt x="1459864" y="175848"/>
                  <a:pt x="1459864" y="175848"/>
                  <a:pt x="1459864" y="175848"/>
                </a:cubicBezTo>
                <a:cubicBezTo>
                  <a:pt x="1469632" y="175848"/>
                  <a:pt x="1479401" y="175848"/>
                  <a:pt x="1479401" y="166078"/>
                </a:cubicBezTo>
                <a:cubicBezTo>
                  <a:pt x="1479401" y="166078"/>
                  <a:pt x="1489170" y="166078"/>
                  <a:pt x="1508707" y="166078"/>
                </a:cubicBezTo>
                <a:cubicBezTo>
                  <a:pt x="1518475" y="166078"/>
                  <a:pt x="1528244" y="166078"/>
                  <a:pt x="1528244" y="166078"/>
                </a:cubicBezTo>
                <a:cubicBezTo>
                  <a:pt x="1528244" y="166078"/>
                  <a:pt x="1538013" y="166078"/>
                  <a:pt x="1538013" y="166078"/>
                </a:cubicBezTo>
                <a:cubicBezTo>
                  <a:pt x="1547781" y="166078"/>
                  <a:pt x="1547781" y="166078"/>
                  <a:pt x="1547781" y="166078"/>
                </a:cubicBezTo>
                <a:cubicBezTo>
                  <a:pt x="1547781" y="166078"/>
                  <a:pt x="1577087" y="156309"/>
                  <a:pt x="1577087" y="166078"/>
                </a:cubicBezTo>
                <a:cubicBezTo>
                  <a:pt x="1577087" y="166078"/>
                  <a:pt x="1586856" y="166078"/>
                  <a:pt x="1606393" y="166078"/>
                </a:cubicBezTo>
                <a:cubicBezTo>
                  <a:pt x="1635699" y="166078"/>
                  <a:pt x="1635699" y="166078"/>
                  <a:pt x="1665005" y="166078"/>
                </a:cubicBezTo>
                <a:cubicBezTo>
                  <a:pt x="1684542" y="175848"/>
                  <a:pt x="1704079" y="175848"/>
                  <a:pt x="1713848" y="175848"/>
                </a:cubicBezTo>
                <a:cubicBezTo>
                  <a:pt x="1723616" y="175848"/>
                  <a:pt x="1733385" y="175848"/>
                  <a:pt x="1743154" y="175848"/>
                </a:cubicBezTo>
                <a:cubicBezTo>
                  <a:pt x="1743154" y="175848"/>
                  <a:pt x="1752922" y="175848"/>
                  <a:pt x="1772459" y="175848"/>
                </a:cubicBezTo>
                <a:cubicBezTo>
                  <a:pt x="1791997" y="185617"/>
                  <a:pt x="1791997" y="175848"/>
                  <a:pt x="1791997" y="175848"/>
                </a:cubicBezTo>
                <a:cubicBezTo>
                  <a:pt x="1791997" y="175848"/>
                  <a:pt x="1782228" y="175848"/>
                  <a:pt x="1782228" y="175848"/>
                </a:cubicBezTo>
                <a:cubicBezTo>
                  <a:pt x="1782228" y="175848"/>
                  <a:pt x="1772459" y="175848"/>
                  <a:pt x="1772459" y="166078"/>
                </a:cubicBezTo>
                <a:cubicBezTo>
                  <a:pt x="1762691" y="166078"/>
                  <a:pt x="1752922" y="166078"/>
                  <a:pt x="1733385" y="166078"/>
                </a:cubicBezTo>
                <a:cubicBezTo>
                  <a:pt x="1733385" y="166078"/>
                  <a:pt x="1723616" y="166078"/>
                  <a:pt x="1704079" y="166078"/>
                </a:cubicBezTo>
                <a:cubicBezTo>
                  <a:pt x="1694310" y="156309"/>
                  <a:pt x="1674773" y="156309"/>
                  <a:pt x="1674773" y="156309"/>
                </a:cubicBezTo>
                <a:lnTo>
                  <a:pt x="1679658" y="156309"/>
                </a:lnTo>
                <a:cubicBezTo>
                  <a:pt x="1686984" y="156309"/>
                  <a:pt x="1694310" y="156309"/>
                  <a:pt x="1694310" y="156309"/>
                </a:cubicBezTo>
                <a:cubicBezTo>
                  <a:pt x="1694310" y="156309"/>
                  <a:pt x="1704079" y="156309"/>
                  <a:pt x="1704079" y="156309"/>
                </a:cubicBezTo>
                <a:cubicBezTo>
                  <a:pt x="1704079" y="156309"/>
                  <a:pt x="1713848" y="156309"/>
                  <a:pt x="1723616" y="156309"/>
                </a:cubicBezTo>
                <a:cubicBezTo>
                  <a:pt x="1723616" y="156309"/>
                  <a:pt x="1733385" y="156309"/>
                  <a:pt x="1733385" y="156309"/>
                </a:cubicBezTo>
                <a:cubicBezTo>
                  <a:pt x="1733385" y="156309"/>
                  <a:pt x="1733385" y="156309"/>
                  <a:pt x="1733385" y="146540"/>
                </a:cubicBezTo>
                <a:cubicBezTo>
                  <a:pt x="1723616" y="146540"/>
                  <a:pt x="1713848" y="146540"/>
                  <a:pt x="1713848" y="136770"/>
                </a:cubicBezTo>
                <a:lnTo>
                  <a:pt x="1723616" y="136770"/>
                </a:lnTo>
                <a:cubicBezTo>
                  <a:pt x="1730943" y="136770"/>
                  <a:pt x="1738269" y="136770"/>
                  <a:pt x="1743154" y="136770"/>
                </a:cubicBezTo>
                <a:cubicBezTo>
                  <a:pt x="1752922" y="136770"/>
                  <a:pt x="1752922" y="136770"/>
                  <a:pt x="1762691" y="146540"/>
                </a:cubicBezTo>
                <a:cubicBezTo>
                  <a:pt x="1762691" y="146540"/>
                  <a:pt x="1772459" y="146540"/>
                  <a:pt x="1772459" y="146540"/>
                </a:cubicBezTo>
                <a:cubicBezTo>
                  <a:pt x="1782228" y="146540"/>
                  <a:pt x="1791997" y="146540"/>
                  <a:pt x="1791997" y="146540"/>
                </a:cubicBezTo>
                <a:cubicBezTo>
                  <a:pt x="1791997" y="156309"/>
                  <a:pt x="1791997" y="156309"/>
                  <a:pt x="1801765" y="156309"/>
                </a:cubicBezTo>
                <a:cubicBezTo>
                  <a:pt x="1801765" y="156309"/>
                  <a:pt x="1801765" y="146540"/>
                  <a:pt x="1801765" y="146540"/>
                </a:cubicBezTo>
                <a:cubicBezTo>
                  <a:pt x="1811534" y="146540"/>
                  <a:pt x="1811534" y="146540"/>
                  <a:pt x="1811534" y="146540"/>
                </a:cubicBezTo>
                <a:cubicBezTo>
                  <a:pt x="1821302" y="156309"/>
                  <a:pt x="1821302" y="156309"/>
                  <a:pt x="1821302" y="156309"/>
                </a:cubicBezTo>
                <a:cubicBezTo>
                  <a:pt x="1831071" y="156309"/>
                  <a:pt x="1850608" y="166078"/>
                  <a:pt x="1850608" y="156309"/>
                </a:cubicBezTo>
                <a:cubicBezTo>
                  <a:pt x="1850608" y="156309"/>
                  <a:pt x="1850608" y="156309"/>
                  <a:pt x="1860377" y="156309"/>
                </a:cubicBezTo>
                <a:cubicBezTo>
                  <a:pt x="1860377" y="156309"/>
                  <a:pt x="1889683" y="156309"/>
                  <a:pt x="1889683" y="166078"/>
                </a:cubicBezTo>
                <a:cubicBezTo>
                  <a:pt x="1889683" y="166078"/>
                  <a:pt x="1909220" y="175848"/>
                  <a:pt x="1928757" y="175848"/>
                </a:cubicBezTo>
                <a:cubicBezTo>
                  <a:pt x="1938526" y="175848"/>
                  <a:pt x="1948294" y="175848"/>
                  <a:pt x="1948294" y="175848"/>
                </a:cubicBezTo>
                <a:cubicBezTo>
                  <a:pt x="1948294" y="175848"/>
                  <a:pt x="1948294" y="175848"/>
                  <a:pt x="1958063" y="175848"/>
                </a:cubicBezTo>
                <a:cubicBezTo>
                  <a:pt x="1967832" y="175848"/>
                  <a:pt x="1977600" y="185617"/>
                  <a:pt x="1987369" y="175848"/>
                </a:cubicBezTo>
                <a:cubicBezTo>
                  <a:pt x="1997137" y="175848"/>
                  <a:pt x="2006906" y="175848"/>
                  <a:pt x="2016675" y="175848"/>
                </a:cubicBezTo>
                <a:cubicBezTo>
                  <a:pt x="2016675" y="175848"/>
                  <a:pt x="2026443" y="185617"/>
                  <a:pt x="2026443" y="185617"/>
                </a:cubicBezTo>
                <a:cubicBezTo>
                  <a:pt x="2036212" y="185617"/>
                  <a:pt x="2045980" y="185617"/>
                  <a:pt x="2055749" y="195386"/>
                </a:cubicBezTo>
                <a:cubicBezTo>
                  <a:pt x="2065518" y="195386"/>
                  <a:pt x="2075286" y="195386"/>
                  <a:pt x="2075286" y="195386"/>
                </a:cubicBezTo>
                <a:cubicBezTo>
                  <a:pt x="2075286" y="195386"/>
                  <a:pt x="2085055" y="195386"/>
                  <a:pt x="2104592" y="195386"/>
                </a:cubicBezTo>
                <a:cubicBezTo>
                  <a:pt x="2133898" y="205156"/>
                  <a:pt x="2143667" y="205156"/>
                  <a:pt x="2143667" y="205156"/>
                </a:cubicBezTo>
                <a:cubicBezTo>
                  <a:pt x="2143667" y="205156"/>
                  <a:pt x="2163204" y="205156"/>
                  <a:pt x="2172972" y="205156"/>
                </a:cubicBezTo>
                <a:cubicBezTo>
                  <a:pt x="2172972" y="205156"/>
                  <a:pt x="2182741" y="214925"/>
                  <a:pt x="2182741" y="214925"/>
                </a:cubicBezTo>
                <a:cubicBezTo>
                  <a:pt x="2192510" y="214925"/>
                  <a:pt x="2192510" y="214925"/>
                  <a:pt x="2192510" y="214925"/>
                </a:cubicBezTo>
                <a:cubicBezTo>
                  <a:pt x="2202278" y="214925"/>
                  <a:pt x="2202278" y="205156"/>
                  <a:pt x="2202278" y="205156"/>
                </a:cubicBezTo>
                <a:cubicBezTo>
                  <a:pt x="2202278" y="205156"/>
                  <a:pt x="2202278" y="205156"/>
                  <a:pt x="2192510" y="195386"/>
                </a:cubicBezTo>
                <a:cubicBezTo>
                  <a:pt x="2202278" y="195386"/>
                  <a:pt x="2212047" y="195386"/>
                  <a:pt x="2221815" y="195386"/>
                </a:cubicBezTo>
                <a:cubicBezTo>
                  <a:pt x="2221815" y="195386"/>
                  <a:pt x="2231584" y="205156"/>
                  <a:pt x="2241353" y="205156"/>
                </a:cubicBezTo>
                <a:cubicBezTo>
                  <a:pt x="2241353" y="205156"/>
                  <a:pt x="2251121" y="205156"/>
                  <a:pt x="2260890" y="205156"/>
                </a:cubicBezTo>
                <a:cubicBezTo>
                  <a:pt x="2260890" y="205156"/>
                  <a:pt x="2260890" y="205156"/>
                  <a:pt x="2270659" y="214925"/>
                </a:cubicBezTo>
                <a:cubicBezTo>
                  <a:pt x="2280427" y="214925"/>
                  <a:pt x="2299964" y="214925"/>
                  <a:pt x="2309733" y="214925"/>
                </a:cubicBezTo>
                <a:cubicBezTo>
                  <a:pt x="2309733" y="214925"/>
                  <a:pt x="2319502" y="214925"/>
                  <a:pt x="2319502" y="214925"/>
                </a:cubicBezTo>
                <a:cubicBezTo>
                  <a:pt x="2319502" y="214925"/>
                  <a:pt x="2319502" y="214925"/>
                  <a:pt x="2329270" y="214925"/>
                </a:cubicBezTo>
                <a:cubicBezTo>
                  <a:pt x="2329270" y="214925"/>
                  <a:pt x="2348807" y="214925"/>
                  <a:pt x="2348807" y="214925"/>
                </a:cubicBezTo>
                <a:cubicBezTo>
                  <a:pt x="2353692" y="214925"/>
                  <a:pt x="2361018" y="214925"/>
                  <a:pt x="2367124" y="214925"/>
                </a:cubicBezTo>
                <a:lnTo>
                  <a:pt x="2368345" y="214925"/>
                </a:lnTo>
                <a:lnTo>
                  <a:pt x="2378113" y="214925"/>
                </a:lnTo>
                <a:cubicBezTo>
                  <a:pt x="2378113" y="214925"/>
                  <a:pt x="2387882" y="214925"/>
                  <a:pt x="2387882" y="214925"/>
                </a:cubicBezTo>
                <a:cubicBezTo>
                  <a:pt x="2387882" y="224694"/>
                  <a:pt x="2407419" y="224694"/>
                  <a:pt x="2407419" y="224694"/>
                </a:cubicBezTo>
                <a:cubicBezTo>
                  <a:pt x="2407419" y="214925"/>
                  <a:pt x="2407419" y="214925"/>
                  <a:pt x="2368345" y="205156"/>
                </a:cubicBezTo>
                <a:cubicBezTo>
                  <a:pt x="2358576" y="205156"/>
                  <a:pt x="2348807" y="205156"/>
                  <a:pt x="2329270" y="205156"/>
                </a:cubicBezTo>
                <a:cubicBezTo>
                  <a:pt x="2319502" y="195386"/>
                  <a:pt x="2309733" y="195386"/>
                  <a:pt x="2309733" y="195386"/>
                </a:cubicBezTo>
                <a:cubicBezTo>
                  <a:pt x="2309733" y="195386"/>
                  <a:pt x="2299964" y="195386"/>
                  <a:pt x="2290196" y="195386"/>
                </a:cubicBezTo>
                <a:cubicBezTo>
                  <a:pt x="2280427" y="195386"/>
                  <a:pt x="2270659" y="195386"/>
                  <a:pt x="2270659" y="195386"/>
                </a:cubicBezTo>
                <a:cubicBezTo>
                  <a:pt x="2270659" y="185617"/>
                  <a:pt x="2260890" y="185617"/>
                  <a:pt x="2251121" y="185617"/>
                </a:cubicBezTo>
                <a:cubicBezTo>
                  <a:pt x="2241353" y="185617"/>
                  <a:pt x="2241353" y="185617"/>
                  <a:pt x="2241353" y="185617"/>
                </a:cubicBezTo>
                <a:cubicBezTo>
                  <a:pt x="2241353" y="185617"/>
                  <a:pt x="2241353" y="185617"/>
                  <a:pt x="2231584" y="185617"/>
                </a:cubicBezTo>
                <a:cubicBezTo>
                  <a:pt x="2221815" y="185617"/>
                  <a:pt x="2212047" y="185617"/>
                  <a:pt x="2212047" y="175848"/>
                </a:cubicBezTo>
                <a:cubicBezTo>
                  <a:pt x="2202278" y="175848"/>
                  <a:pt x="2182741" y="175848"/>
                  <a:pt x="2172972" y="175848"/>
                </a:cubicBezTo>
                <a:cubicBezTo>
                  <a:pt x="2172972" y="175848"/>
                  <a:pt x="2163204" y="175848"/>
                  <a:pt x="2153435" y="166078"/>
                </a:cubicBezTo>
                <a:cubicBezTo>
                  <a:pt x="2153435" y="166078"/>
                  <a:pt x="2143667" y="166078"/>
                  <a:pt x="2143667" y="166078"/>
                </a:cubicBezTo>
                <a:cubicBezTo>
                  <a:pt x="2143667" y="166078"/>
                  <a:pt x="2133898" y="166078"/>
                  <a:pt x="2133898" y="166078"/>
                </a:cubicBezTo>
                <a:cubicBezTo>
                  <a:pt x="2133898" y="166078"/>
                  <a:pt x="2124129" y="166078"/>
                  <a:pt x="2094824" y="166078"/>
                </a:cubicBezTo>
                <a:cubicBezTo>
                  <a:pt x="2085055" y="166078"/>
                  <a:pt x="2075286" y="166078"/>
                  <a:pt x="2075286" y="156309"/>
                </a:cubicBezTo>
                <a:cubicBezTo>
                  <a:pt x="2065518" y="156309"/>
                  <a:pt x="2055749" y="156309"/>
                  <a:pt x="2045980" y="156309"/>
                </a:cubicBezTo>
                <a:cubicBezTo>
                  <a:pt x="2036212" y="156309"/>
                  <a:pt x="2006906" y="156309"/>
                  <a:pt x="1997137" y="146540"/>
                </a:cubicBezTo>
                <a:cubicBezTo>
                  <a:pt x="1997137" y="146540"/>
                  <a:pt x="1997137" y="146540"/>
                  <a:pt x="2016675" y="146540"/>
                </a:cubicBezTo>
                <a:cubicBezTo>
                  <a:pt x="2026443" y="156309"/>
                  <a:pt x="2036212" y="146540"/>
                  <a:pt x="2036212" y="146540"/>
                </a:cubicBezTo>
                <a:cubicBezTo>
                  <a:pt x="2036212" y="146540"/>
                  <a:pt x="2026443" y="146540"/>
                  <a:pt x="2026443" y="146540"/>
                </a:cubicBezTo>
                <a:cubicBezTo>
                  <a:pt x="2016675" y="146540"/>
                  <a:pt x="1987369" y="136770"/>
                  <a:pt x="1977600" y="136770"/>
                </a:cubicBezTo>
                <a:cubicBezTo>
                  <a:pt x="1977600" y="136770"/>
                  <a:pt x="2016675" y="136770"/>
                  <a:pt x="2026443" y="136770"/>
                </a:cubicBezTo>
                <a:cubicBezTo>
                  <a:pt x="2036212" y="146540"/>
                  <a:pt x="2036212" y="146540"/>
                  <a:pt x="2045980" y="146540"/>
                </a:cubicBezTo>
                <a:cubicBezTo>
                  <a:pt x="2045980" y="146540"/>
                  <a:pt x="2055749" y="146540"/>
                  <a:pt x="2065518" y="146540"/>
                </a:cubicBezTo>
                <a:cubicBezTo>
                  <a:pt x="2065518" y="146540"/>
                  <a:pt x="2075286" y="146540"/>
                  <a:pt x="2075286" y="136770"/>
                </a:cubicBezTo>
                <a:cubicBezTo>
                  <a:pt x="2075286" y="136770"/>
                  <a:pt x="2055749" y="136770"/>
                  <a:pt x="2036212" y="127001"/>
                </a:cubicBezTo>
                <a:cubicBezTo>
                  <a:pt x="2026443" y="127001"/>
                  <a:pt x="2006906" y="127001"/>
                  <a:pt x="1997137" y="127001"/>
                </a:cubicBezTo>
                <a:cubicBezTo>
                  <a:pt x="1997137" y="127001"/>
                  <a:pt x="1997137" y="117232"/>
                  <a:pt x="1987369" y="117232"/>
                </a:cubicBezTo>
                <a:lnTo>
                  <a:pt x="1997137" y="117232"/>
                </a:lnTo>
                <a:cubicBezTo>
                  <a:pt x="1997137" y="107462"/>
                  <a:pt x="1977600" y="107462"/>
                  <a:pt x="1977600" y="107462"/>
                </a:cubicBezTo>
                <a:cubicBezTo>
                  <a:pt x="1977600" y="107462"/>
                  <a:pt x="1967832" y="107462"/>
                  <a:pt x="1967832" y="107462"/>
                </a:cubicBezTo>
                <a:cubicBezTo>
                  <a:pt x="1958063" y="107462"/>
                  <a:pt x="1958063" y="107462"/>
                  <a:pt x="1948294" y="107462"/>
                </a:cubicBezTo>
                <a:cubicBezTo>
                  <a:pt x="1948294" y="107462"/>
                  <a:pt x="1948294" y="107462"/>
                  <a:pt x="1948294" y="97693"/>
                </a:cubicBezTo>
                <a:lnTo>
                  <a:pt x="1951958" y="97693"/>
                </a:lnTo>
                <a:cubicBezTo>
                  <a:pt x="1955621" y="97693"/>
                  <a:pt x="1958063" y="97693"/>
                  <a:pt x="1958063" y="97693"/>
                </a:cubicBezTo>
                <a:cubicBezTo>
                  <a:pt x="1958063" y="97693"/>
                  <a:pt x="1958063" y="97693"/>
                  <a:pt x="1967832" y="97693"/>
                </a:cubicBezTo>
                <a:cubicBezTo>
                  <a:pt x="1967832" y="97693"/>
                  <a:pt x="1967832" y="97693"/>
                  <a:pt x="1977600" y="97693"/>
                </a:cubicBezTo>
                <a:cubicBezTo>
                  <a:pt x="1977600" y="97693"/>
                  <a:pt x="1977600" y="97693"/>
                  <a:pt x="1987369" y="97693"/>
                </a:cubicBezTo>
                <a:cubicBezTo>
                  <a:pt x="1987369" y="107462"/>
                  <a:pt x="1997137" y="107462"/>
                  <a:pt x="1997137" y="97693"/>
                </a:cubicBezTo>
                <a:cubicBezTo>
                  <a:pt x="2006906" y="97693"/>
                  <a:pt x="1987369" y="87924"/>
                  <a:pt x="1977600" y="87924"/>
                </a:cubicBezTo>
                <a:cubicBezTo>
                  <a:pt x="1977600" y="87924"/>
                  <a:pt x="1967832" y="87924"/>
                  <a:pt x="1967832" y="87924"/>
                </a:cubicBezTo>
                <a:cubicBezTo>
                  <a:pt x="1958063" y="87924"/>
                  <a:pt x="1948294" y="87924"/>
                  <a:pt x="1938526" y="78155"/>
                </a:cubicBezTo>
                <a:cubicBezTo>
                  <a:pt x="1928757" y="78155"/>
                  <a:pt x="1918988" y="78155"/>
                  <a:pt x="1909220" y="78155"/>
                </a:cubicBezTo>
                <a:cubicBezTo>
                  <a:pt x="1899451" y="68385"/>
                  <a:pt x="1889683" y="68385"/>
                  <a:pt x="1889683" y="68385"/>
                </a:cubicBezTo>
                <a:cubicBezTo>
                  <a:pt x="1889683" y="68385"/>
                  <a:pt x="1889683" y="68385"/>
                  <a:pt x="1879914" y="68385"/>
                </a:cubicBezTo>
                <a:cubicBezTo>
                  <a:pt x="1879914" y="58616"/>
                  <a:pt x="1870145" y="58616"/>
                  <a:pt x="1870145" y="58616"/>
                </a:cubicBezTo>
                <a:cubicBezTo>
                  <a:pt x="1870145" y="58616"/>
                  <a:pt x="1879914" y="58616"/>
                  <a:pt x="1879914" y="58616"/>
                </a:cubicBezTo>
                <a:cubicBezTo>
                  <a:pt x="1889683" y="58616"/>
                  <a:pt x="1889683" y="58616"/>
                  <a:pt x="1889683" y="58616"/>
                </a:cubicBezTo>
                <a:cubicBezTo>
                  <a:pt x="1899451" y="58616"/>
                  <a:pt x="1899451" y="58616"/>
                  <a:pt x="1909220" y="68385"/>
                </a:cubicBezTo>
                <a:cubicBezTo>
                  <a:pt x="1909220" y="68385"/>
                  <a:pt x="1909220" y="68385"/>
                  <a:pt x="1918988" y="68385"/>
                </a:cubicBezTo>
                <a:cubicBezTo>
                  <a:pt x="1928757" y="68385"/>
                  <a:pt x="1928757" y="68385"/>
                  <a:pt x="1928757" y="68385"/>
                </a:cubicBezTo>
                <a:cubicBezTo>
                  <a:pt x="1928757" y="78155"/>
                  <a:pt x="1938526" y="68385"/>
                  <a:pt x="1938526" y="68385"/>
                </a:cubicBezTo>
                <a:cubicBezTo>
                  <a:pt x="1938526" y="68385"/>
                  <a:pt x="1938526" y="58616"/>
                  <a:pt x="1948294" y="68385"/>
                </a:cubicBezTo>
                <a:cubicBezTo>
                  <a:pt x="1948294" y="68385"/>
                  <a:pt x="1958063" y="68385"/>
                  <a:pt x="1958063" y="68385"/>
                </a:cubicBezTo>
                <a:cubicBezTo>
                  <a:pt x="1958063" y="68385"/>
                  <a:pt x="1958063" y="68385"/>
                  <a:pt x="1967832" y="68385"/>
                </a:cubicBezTo>
                <a:cubicBezTo>
                  <a:pt x="1967832" y="68385"/>
                  <a:pt x="1967832" y="68385"/>
                  <a:pt x="1977600" y="68385"/>
                </a:cubicBezTo>
                <a:cubicBezTo>
                  <a:pt x="1987369" y="68385"/>
                  <a:pt x="1987369" y="68385"/>
                  <a:pt x="1987369" y="68385"/>
                </a:cubicBezTo>
                <a:cubicBezTo>
                  <a:pt x="1987369" y="68385"/>
                  <a:pt x="1997137" y="68385"/>
                  <a:pt x="1997137" y="78155"/>
                </a:cubicBezTo>
                <a:cubicBezTo>
                  <a:pt x="1997137" y="78155"/>
                  <a:pt x="2006906" y="78155"/>
                  <a:pt x="2006906" y="78155"/>
                </a:cubicBezTo>
                <a:cubicBezTo>
                  <a:pt x="2016675" y="78155"/>
                  <a:pt x="2016675" y="78155"/>
                  <a:pt x="2026443" y="78155"/>
                </a:cubicBezTo>
                <a:cubicBezTo>
                  <a:pt x="2026443" y="78155"/>
                  <a:pt x="2036212" y="78155"/>
                  <a:pt x="2045980" y="78155"/>
                </a:cubicBezTo>
                <a:cubicBezTo>
                  <a:pt x="2055749" y="78155"/>
                  <a:pt x="2055749" y="78155"/>
                  <a:pt x="2065518" y="78155"/>
                </a:cubicBezTo>
                <a:cubicBezTo>
                  <a:pt x="2065518" y="78155"/>
                  <a:pt x="2075286" y="78155"/>
                  <a:pt x="2075286" y="87924"/>
                </a:cubicBezTo>
                <a:cubicBezTo>
                  <a:pt x="2085055" y="87924"/>
                  <a:pt x="2094824" y="87924"/>
                  <a:pt x="2104592" y="87924"/>
                </a:cubicBezTo>
                <a:cubicBezTo>
                  <a:pt x="2104592" y="87924"/>
                  <a:pt x="2114361" y="87924"/>
                  <a:pt x="2114361" y="87924"/>
                </a:cubicBezTo>
                <a:cubicBezTo>
                  <a:pt x="2114361" y="87924"/>
                  <a:pt x="2133898" y="97693"/>
                  <a:pt x="2153435" y="97693"/>
                </a:cubicBezTo>
                <a:cubicBezTo>
                  <a:pt x="2163204" y="97693"/>
                  <a:pt x="2163204" y="97693"/>
                  <a:pt x="2163204" y="97693"/>
                </a:cubicBezTo>
                <a:cubicBezTo>
                  <a:pt x="2163204" y="97693"/>
                  <a:pt x="2163204" y="97693"/>
                  <a:pt x="2172972" y="97693"/>
                </a:cubicBezTo>
                <a:cubicBezTo>
                  <a:pt x="2172972" y="97693"/>
                  <a:pt x="2172972" y="97693"/>
                  <a:pt x="2182741" y="97693"/>
                </a:cubicBezTo>
                <a:cubicBezTo>
                  <a:pt x="2192510" y="97693"/>
                  <a:pt x="2192510" y="97693"/>
                  <a:pt x="2192510" y="107462"/>
                </a:cubicBezTo>
                <a:cubicBezTo>
                  <a:pt x="2192510" y="117232"/>
                  <a:pt x="2192510" y="117232"/>
                  <a:pt x="2192510" y="117232"/>
                </a:cubicBezTo>
                <a:cubicBezTo>
                  <a:pt x="2192510" y="117232"/>
                  <a:pt x="2182741" y="117232"/>
                  <a:pt x="2182741" y="107462"/>
                </a:cubicBezTo>
                <a:cubicBezTo>
                  <a:pt x="2182741" y="107462"/>
                  <a:pt x="2172972" y="107462"/>
                  <a:pt x="2172972" y="107462"/>
                </a:cubicBezTo>
                <a:cubicBezTo>
                  <a:pt x="2172972" y="107462"/>
                  <a:pt x="2163204" y="107462"/>
                  <a:pt x="2153435" y="107462"/>
                </a:cubicBezTo>
                <a:cubicBezTo>
                  <a:pt x="2143667" y="107462"/>
                  <a:pt x="2133898" y="97693"/>
                  <a:pt x="2124129" y="97693"/>
                </a:cubicBezTo>
                <a:cubicBezTo>
                  <a:pt x="2124129" y="97693"/>
                  <a:pt x="2114361" y="97693"/>
                  <a:pt x="2114361" y="97693"/>
                </a:cubicBezTo>
                <a:cubicBezTo>
                  <a:pt x="2114361" y="107462"/>
                  <a:pt x="2114361" y="107462"/>
                  <a:pt x="2114361" y="107462"/>
                </a:cubicBezTo>
                <a:cubicBezTo>
                  <a:pt x="2104592" y="97693"/>
                  <a:pt x="2104592" y="97693"/>
                  <a:pt x="2094824" y="97693"/>
                </a:cubicBezTo>
                <a:cubicBezTo>
                  <a:pt x="2094824" y="97693"/>
                  <a:pt x="2085055" y="97693"/>
                  <a:pt x="2085055" y="97693"/>
                </a:cubicBezTo>
                <a:cubicBezTo>
                  <a:pt x="2085055" y="97693"/>
                  <a:pt x="2075286" y="97693"/>
                  <a:pt x="2075286" y="97693"/>
                </a:cubicBezTo>
                <a:cubicBezTo>
                  <a:pt x="2075286" y="97693"/>
                  <a:pt x="2065518" y="97693"/>
                  <a:pt x="2055749" y="87924"/>
                </a:cubicBezTo>
                <a:cubicBezTo>
                  <a:pt x="2045980" y="87924"/>
                  <a:pt x="2045980" y="87924"/>
                  <a:pt x="2036212" y="87924"/>
                </a:cubicBezTo>
                <a:cubicBezTo>
                  <a:pt x="2036212" y="87924"/>
                  <a:pt x="2045980" y="97693"/>
                  <a:pt x="2055749" y="97693"/>
                </a:cubicBezTo>
                <a:cubicBezTo>
                  <a:pt x="2065518" y="97693"/>
                  <a:pt x="2075286" y="97693"/>
                  <a:pt x="2075286" y="107462"/>
                </a:cubicBezTo>
                <a:cubicBezTo>
                  <a:pt x="2075286" y="107462"/>
                  <a:pt x="2075286" y="107462"/>
                  <a:pt x="2085055" y="107462"/>
                </a:cubicBezTo>
                <a:cubicBezTo>
                  <a:pt x="2085055" y="107462"/>
                  <a:pt x="2085055" y="107462"/>
                  <a:pt x="2094824" y="107462"/>
                </a:cubicBezTo>
                <a:cubicBezTo>
                  <a:pt x="2094824" y="107462"/>
                  <a:pt x="2104592" y="107462"/>
                  <a:pt x="2114361" y="107462"/>
                </a:cubicBezTo>
                <a:cubicBezTo>
                  <a:pt x="2133898" y="117232"/>
                  <a:pt x="2153435" y="127001"/>
                  <a:pt x="2163204" y="127001"/>
                </a:cubicBezTo>
                <a:cubicBezTo>
                  <a:pt x="2172972" y="127001"/>
                  <a:pt x="2182741" y="127001"/>
                  <a:pt x="2182741" y="127001"/>
                </a:cubicBezTo>
                <a:cubicBezTo>
                  <a:pt x="2192510" y="127001"/>
                  <a:pt x="2192510" y="127001"/>
                  <a:pt x="2192510" y="127001"/>
                </a:cubicBezTo>
                <a:cubicBezTo>
                  <a:pt x="2192510" y="136770"/>
                  <a:pt x="2202278" y="136770"/>
                  <a:pt x="2202278" y="136770"/>
                </a:cubicBezTo>
                <a:cubicBezTo>
                  <a:pt x="2212047" y="136770"/>
                  <a:pt x="2231584" y="136770"/>
                  <a:pt x="2251121" y="146540"/>
                </a:cubicBezTo>
                <a:cubicBezTo>
                  <a:pt x="2260890" y="146540"/>
                  <a:pt x="2270659" y="146540"/>
                  <a:pt x="2280427" y="146540"/>
                </a:cubicBezTo>
                <a:cubicBezTo>
                  <a:pt x="2280427" y="146540"/>
                  <a:pt x="2280427" y="146540"/>
                  <a:pt x="2290196" y="146540"/>
                </a:cubicBezTo>
                <a:cubicBezTo>
                  <a:pt x="2290196" y="146540"/>
                  <a:pt x="2299964" y="156309"/>
                  <a:pt x="2309733" y="156309"/>
                </a:cubicBezTo>
                <a:cubicBezTo>
                  <a:pt x="2309733" y="156309"/>
                  <a:pt x="2319502" y="156309"/>
                  <a:pt x="2329270" y="156309"/>
                </a:cubicBezTo>
                <a:cubicBezTo>
                  <a:pt x="2329270" y="156309"/>
                  <a:pt x="2329270" y="156309"/>
                  <a:pt x="2339039" y="156309"/>
                </a:cubicBezTo>
                <a:cubicBezTo>
                  <a:pt x="2339039" y="156309"/>
                  <a:pt x="2348807" y="166078"/>
                  <a:pt x="2348807" y="166078"/>
                </a:cubicBezTo>
                <a:cubicBezTo>
                  <a:pt x="2358576" y="166078"/>
                  <a:pt x="2368345" y="166078"/>
                  <a:pt x="2378113" y="175848"/>
                </a:cubicBezTo>
                <a:cubicBezTo>
                  <a:pt x="2387882" y="175848"/>
                  <a:pt x="2387882" y="175848"/>
                  <a:pt x="2397650" y="175848"/>
                </a:cubicBezTo>
                <a:cubicBezTo>
                  <a:pt x="2407419" y="175848"/>
                  <a:pt x="2407419" y="175848"/>
                  <a:pt x="2426956" y="185617"/>
                </a:cubicBezTo>
                <a:cubicBezTo>
                  <a:pt x="2436725" y="185617"/>
                  <a:pt x="2436725" y="185617"/>
                  <a:pt x="2446494" y="185617"/>
                </a:cubicBezTo>
                <a:cubicBezTo>
                  <a:pt x="2446494" y="185617"/>
                  <a:pt x="2456262" y="185617"/>
                  <a:pt x="2456262" y="185617"/>
                </a:cubicBezTo>
                <a:cubicBezTo>
                  <a:pt x="2466031" y="185617"/>
                  <a:pt x="2475799" y="185617"/>
                  <a:pt x="2475799" y="185617"/>
                </a:cubicBezTo>
                <a:cubicBezTo>
                  <a:pt x="2475799" y="175848"/>
                  <a:pt x="2466031" y="175848"/>
                  <a:pt x="2456262" y="175848"/>
                </a:cubicBezTo>
                <a:cubicBezTo>
                  <a:pt x="2446494" y="166078"/>
                  <a:pt x="2436725" y="166078"/>
                  <a:pt x="2436725" y="166078"/>
                </a:cubicBezTo>
                <a:cubicBezTo>
                  <a:pt x="2417188" y="166078"/>
                  <a:pt x="2378113" y="156309"/>
                  <a:pt x="2368345" y="146540"/>
                </a:cubicBezTo>
                <a:cubicBezTo>
                  <a:pt x="2339039" y="146540"/>
                  <a:pt x="2319502" y="136770"/>
                  <a:pt x="2329270" y="136770"/>
                </a:cubicBezTo>
                <a:cubicBezTo>
                  <a:pt x="2329270" y="136770"/>
                  <a:pt x="2329270" y="136770"/>
                  <a:pt x="2339039" y="136770"/>
                </a:cubicBezTo>
                <a:lnTo>
                  <a:pt x="2348807" y="136770"/>
                </a:lnTo>
                <a:cubicBezTo>
                  <a:pt x="2348807" y="136770"/>
                  <a:pt x="2339039" y="136770"/>
                  <a:pt x="2339039" y="127001"/>
                </a:cubicBezTo>
                <a:cubicBezTo>
                  <a:pt x="2339039" y="127001"/>
                  <a:pt x="2319502" y="117232"/>
                  <a:pt x="2309733" y="117232"/>
                </a:cubicBezTo>
                <a:cubicBezTo>
                  <a:pt x="2309733" y="107462"/>
                  <a:pt x="2319502" y="117232"/>
                  <a:pt x="2339039" y="117232"/>
                </a:cubicBezTo>
                <a:cubicBezTo>
                  <a:pt x="2348807" y="117232"/>
                  <a:pt x="2358576" y="117232"/>
                  <a:pt x="2358576" y="127001"/>
                </a:cubicBezTo>
                <a:cubicBezTo>
                  <a:pt x="2368345" y="127001"/>
                  <a:pt x="2378113" y="127001"/>
                  <a:pt x="2378113" y="127001"/>
                </a:cubicBezTo>
                <a:cubicBezTo>
                  <a:pt x="2387882" y="127001"/>
                  <a:pt x="2397650" y="127001"/>
                  <a:pt x="2397650" y="127001"/>
                </a:cubicBezTo>
                <a:cubicBezTo>
                  <a:pt x="2397650" y="136770"/>
                  <a:pt x="2407419" y="136770"/>
                  <a:pt x="2417188" y="136770"/>
                </a:cubicBezTo>
                <a:cubicBezTo>
                  <a:pt x="2426956" y="136770"/>
                  <a:pt x="2436725" y="146540"/>
                  <a:pt x="2436725" y="146540"/>
                </a:cubicBezTo>
                <a:cubicBezTo>
                  <a:pt x="2446494" y="146540"/>
                  <a:pt x="2446494" y="146540"/>
                  <a:pt x="2456262" y="146540"/>
                </a:cubicBezTo>
                <a:cubicBezTo>
                  <a:pt x="2456262" y="146540"/>
                  <a:pt x="2466031" y="146540"/>
                  <a:pt x="2466031" y="146540"/>
                </a:cubicBezTo>
                <a:cubicBezTo>
                  <a:pt x="2475799" y="156309"/>
                  <a:pt x="2485568" y="156309"/>
                  <a:pt x="2485568" y="156309"/>
                </a:cubicBezTo>
                <a:cubicBezTo>
                  <a:pt x="2495337" y="156309"/>
                  <a:pt x="2495337" y="156309"/>
                  <a:pt x="2495337" y="146540"/>
                </a:cubicBezTo>
                <a:cubicBezTo>
                  <a:pt x="2495337" y="146540"/>
                  <a:pt x="2495337" y="146540"/>
                  <a:pt x="2475799" y="136770"/>
                </a:cubicBezTo>
                <a:cubicBezTo>
                  <a:pt x="2426956" y="127001"/>
                  <a:pt x="2417188" y="127001"/>
                  <a:pt x="2397650" y="127001"/>
                </a:cubicBezTo>
                <a:cubicBezTo>
                  <a:pt x="2378113" y="117232"/>
                  <a:pt x="2368345" y="117232"/>
                  <a:pt x="2368345" y="117232"/>
                </a:cubicBezTo>
                <a:cubicBezTo>
                  <a:pt x="2368345" y="117232"/>
                  <a:pt x="2358576" y="117232"/>
                  <a:pt x="2358576" y="117232"/>
                </a:cubicBezTo>
                <a:cubicBezTo>
                  <a:pt x="2358576" y="117232"/>
                  <a:pt x="2348807" y="117232"/>
                  <a:pt x="2339039" y="107462"/>
                </a:cubicBezTo>
                <a:cubicBezTo>
                  <a:pt x="2329270" y="107462"/>
                  <a:pt x="2309733" y="107462"/>
                  <a:pt x="2309733" y="107462"/>
                </a:cubicBezTo>
                <a:cubicBezTo>
                  <a:pt x="2309733" y="107462"/>
                  <a:pt x="2299964" y="107462"/>
                  <a:pt x="2290196" y="107462"/>
                </a:cubicBezTo>
                <a:cubicBezTo>
                  <a:pt x="2280427" y="107462"/>
                  <a:pt x="2270659" y="107462"/>
                  <a:pt x="2270659" y="107462"/>
                </a:cubicBezTo>
                <a:cubicBezTo>
                  <a:pt x="2270659" y="107462"/>
                  <a:pt x="2260890" y="97693"/>
                  <a:pt x="2260890" y="97693"/>
                </a:cubicBezTo>
                <a:cubicBezTo>
                  <a:pt x="2260890" y="97693"/>
                  <a:pt x="2251121" y="97693"/>
                  <a:pt x="2251121" y="97693"/>
                </a:cubicBezTo>
                <a:cubicBezTo>
                  <a:pt x="2241353" y="97693"/>
                  <a:pt x="2231584" y="97693"/>
                  <a:pt x="2221815" y="97693"/>
                </a:cubicBezTo>
                <a:cubicBezTo>
                  <a:pt x="2212047" y="87924"/>
                  <a:pt x="2172972" y="78155"/>
                  <a:pt x="2143667" y="78155"/>
                </a:cubicBezTo>
                <a:cubicBezTo>
                  <a:pt x="2133898" y="78155"/>
                  <a:pt x="2124129" y="78155"/>
                  <a:pt x="2124129" y="68385"/>
                </a:cubicBezTo>
                <a:cubicBezTo>
                  <a:pt x="2114361" y="68385"/>
                  <a:pt x="2104592" y="68385"/>
                  <a:pt x="2104592" y="68385"/>
                </a:cubicBezTo>
                <a:cubicBezTo>
                  <a:pt x="2104592" y="68385"/>
                  <a:pt x="2094824" y="68385"/>
                  <a:pt x="2094824" y="68385"/>
                </a:cubicBezTo>
                <a:cubicBezTo>
                  <a:pt x="2094824" y="58616"/>
                  <a:pt x="2085055" y="58616"/>
                  <a:pt x="2085055" y="68385"/>
                </a:cubicBezTo>
                <a:cubicBezTo>
                  <a:pt x="2085055" y="68385"/>
                  <a:pt x="2085055" y="68385"/>
                  <a:pt x="2075286" y="58616"/>
                </a:cubicBezTo>
                <a:cubicBezTo>
                  <a:pt x="2065518" y="58616"/>
                  <a:pt x="2055749" y="58616"/>
                  <a:pt x="2045980" y="58616"/>
                </a:cubicBezTo>
                <a:cubicBezTo>
                  <a:pt x="2045980" y="58616"/>
                  <a:pt x="2026443" y="48846"/>
                  <a:pt x="2026443" y="48846"/>
                </a:cubicBezTo>
                <a:cubicBezTo>
                  <a:pt x="2006906" y="39077"/>
                  <a:pt x="1987369" y="39077"/>
                  <a:pt x="1977600" y="39077"/>
                </a:cubicBezTo>
                <a:cubicBezTo>
                  <a:pt x="1967832" y="39077"/>
                  <a:pt x="1958063" y="29308"/>
                  <a:pt x="1958063" y="29308"/>
                </a:cubicBezTo>
                <a:cubicBezTo>
                  <a:pt x="1948294" y="29308"/>
                  <a:pt x="1938526" y="29308"/>
                  <a:pt x="1938526" y="19539"/>
                </a:cubicBezTo>
                <a:cubicBezTo>
                  <a:pt x="1928757" y="19539"/>
                  <a:pt x="1918988" y="19539"/>
                  <a:pt x="1909220" y="19539"/>
                </a:cubicBezTo>
                <a:cubicBezTo>
                  <a:pt x="1899451" y="19539"/>
                  <a:pt x="1889683" y="19539"/>
                  <a:pt x="1889683" y="19539"/>
                </a:cubicBezTo>
                <a:cubicBezTo>
                  <a:pt x="1889683" y="9769"/>
                  <a:pt x="1879914" y="9769"/>
                  <a:pt x="1870145" y="9769"/>
                </a:cubicBezTo>
                <a:cubicBezTo>
                  <a:pt x="1870145" y="9769"/>
                  <a:pt x="1860377" y="9769"/>
                  <a:pt x="1860377" y="9769"/>
                </a:cubicBezTo>
                <a:cubicBezTo>
                  <a:pt x="1865261" y="4885"/>
                  <a:pt x="1870145" y="4885"/>
                  <a:pt x="1876251" y="6106"/>
                </a:cubicBezTo>
                <a:close/>
                <a:moveTo>
                  <a:pt x="1850608" y="0"/>
                </a:moveTo>
                <a:cubicBezTo>
                  <a:pt x="1850608" y="9769"/>
                  <a:pt x="1850608" y="9769"/>
                  <a:pt x="1860377" y="9769"/>
                </a:cubicBezTo>
                <a:cubicBezTo>
                  <a:pt x="1860377" y="9769"/>
                  <a:pt x="1850608" y="9769"/>
                  <a:pt x="1850608" y="9769"/>
                </a:cubicBezTo>
                <a:cubicBezTo>
                  <a:pt x="1840840" y="9769"/>
                  <a:pt x="1840840" y="9769"/>
                  <a:pt x="1840840" y="9769"/>
                </a:cubicBezTo>
                <a:cubicBezTo>
                  <a:pt x="1840840" y="9769"/>
                  <a:pt x="1840840" y="0"/>
                  <a:pt x="1850608" y="0"/>
                </a:cubicBezTo>
                <a:close/>
              </a:path>
            </a:pathLst>
          </a:custGeom>
          <a:solidFill>
            <a:schemeClr val="bg1"/>
          </a:solidFill>
        </p:spPr>
        <p:txBody>
          <a:bodyPr wrap="square" anchor="ctr">
            <a:noAutofit/>
          </a:bodyPr>
          <a:lstStyle>
            <a:lvl1pPr marL="0" indent="0" algn="ctr">
              <a:buNone/>
              <a:defRPr>
                <a:latin typeface="+mj-lt"/>
              </a:defRPr>
            </a:lvl1pPr>
          </a:lstStyle>
          <a:p>
            <a:r>
              <a:rPr lang="en-IE"/>
              <a:t>Insert your </a:t>
            </a:r>
            <a:br>
              <a:rPr lang="en-IE"/>
            </a:br>
            <a:r>
              <a:rPr lang="en-IE"/>
              <a:t>picture here</a:t>
            </a:r>
            <a:endParaRPr lang="en-US"/>
          </a:p>
        </p:txBody>
      </p:sp>
      <p:sp>
        <p:nvSpPr>
          <p:cNvPr id="10" name="Footer Placeholder 4">
            <a:extLst>
              <a:ext uri="{FF2B5EF4-FFF2-40B4-BE49-F238E27FC236}">
                <a16:creationId xmlns:a16="http://schemas.microsoft.com/office/drawing/2014/main" id="{4B741815-140C-AA4A-8B47-E52352C0BF20}"/>
              </a:ext>
            </a:extLst>
          </p:cNvPr>
          <p:cNvSpPr>
            <a:spLocks noGrp="1"/>
          </p:cNvSpPr>
          <p:nvPr>
            <p:ph type="ftr" sz="quarter" idx="3"/>
          </p:nvPr>
        </p:nvSpPr>
        <p:spPr>
          <a:xfrm rot="16200000">
            <a:off x="10494824" y="4724287"/>
            <a:ext cx="3086100" cy="100445"/>
          </a:xfrm>
          <a:prstGeom prst="rect">
            <a:avLst/>
          </a:prstGeom>
        </p:spPr>
        <p:txBody>
          <a:bodyPr vert="horz" lIns="0" tIns="0" rIns="0" bIns="45720" rtlCol="0" anchor="ctr"/>
          <a:lstStyle>
            <a:lvl1pPr algn="l">
              <a:defRPr sz="700" b="0" i="0">
                <a:solidFill>
                  <a:schemeClr val="bg1">
                    <a:lumMod val="65000"/>
                  </a:schemeClr>
                </a:solidFill>
                <a:latin typeface="+mj-lt"/>
              </a:defRPr>
            </a:lvl1pPr>
          </a:lstStyle>
          <a:p>
            <a:r>
              <a:rPr lang="en-US"/>
              <a:t>© Amadeus IT Group and its affiliates and subsidiaries</a:t>
            </a:r>
            <a:endParaRPr lang="en-GB"/>
          </a:p>
        </p:txBody>
      </p:sp>
      <p:sp>
        <p:nvSpPr>
          <p:cNvPr id="12" name="Marcador de número de diapositiva 32">
            <a:extLst>
              <a:ext uri="{FF2B5EF4-FFF2-40B4-BE49-F238E27FC236}">
                <a16:creationId xmlns:a16="http://schemas.microsoft.com/office/drawing/2014/main" id="{FE923791-723A-D449-AA31-C117D3D378AD}"/>
              </a:ext>
            </a:extLst>
          </p:cNvPr>
          <p:cNvSpPr>
            <a:spLocks noGrp="1"/>
          </p:cNvSpPr>
          <p:nvPr>
            <p:ph type="sldNum" sz="quarter" idx="4"/>
          </p:nvPr>
        </p:nvSpPr>
        <p:spPr>
          <a:xfrm>
            <a:off x="11876163" y="6510594"/>
            <a:ext cx="166672" cy="123111"/>
          </a:xfrm>
          <a:prstGeom prst="rect">
            <a:avLst/>
          </a:prstGeom>
        </p:spPr>
        <p:txBody>
          <a:bodyPr vert="horz" wrap="square" lIns="0" tIns="0" rIns="0" bIns="0" rtlCol="0" anchor="b">
            <a:noAutofit/>
          </a:bodyPr>
          <a:lstStyle>
            <a:lvl1pPr algn="r">
              <a:defRPr sz="700" b="0" i="0">
                <a:solidFill>
                  <a:schemeClr val="bg1">
                    <a:lumMod val="50000"/>
                  </a:schemeClr>
                </a:solidFill>
                <a:latin typeface="+mj-lt"/>
              </a:defRPr>
            </a:lvl1pPr>
          </a:lstStyle>
          <a:p>
            <a:fld id="{E57627FB-D816-4EA7-98E3-793F2D9BC93A}" type="slidenum">
              <a:rPr lang="en-GB" smtClean="0"/>
              <a:pPr/>
              <a:t>‹#›</a:t>
            </a:fld>
            <a:endParaRPr lang="en-GB"/>
          </a:p>
        </p:txBody>
      </p:sp>
      <p:sp>
        <p:nvSpPr>
          <p:cNvPr id="14" name="Title 1">
            <a:extLst>
              <a:ext uri="{FF2B5EF4-FFF2-40B4-BE49-F238E27FC236}">
                <a16:creationId xmlns:a16="http://schemas.microsoft.com/office/drawing/2014/main" id="{599C4E21-0686-FD45-98E2-797500DF6625}"/>
              </a:ext>
            </a:extLst>
          </p:cNvPr>
          <p:cNvSpPr>
            <a:spLocks noGrp="1"/>
          </p:cNvSpPr>
          <p:nvPr>
            <p:ph type="title" hasCustomPrompt="1"/>
          </p:nvPr>
        </p:nvSpPr>
        <p:spPr>
          <a:xfrm>
            <a:off x="1449579" y="418147"/>
            <a:ext cx="4653768" cy="1871004"/>
          </a:xfrm>
          <a:prstGeom prst="rect">
            <a:avLst/>
          </a:prstGeom>
        </p:spPr>
        <p:txBody>
          <a:bodyPr lIns="0" rIns="0" bIns="0" anchor="b">
            <a:noAutofit/>
          </a:bodyPr>
          <a:lstStyle>
            <a:lvl1pPr algn="l" defTabSz="914400" rtl="0" eaLnBrk="1" latinLnBrk="0" hangingPunct="1">
              <a:lnSpc>
                <a:spcPct val="100000"/>
              </a:lnSpc>
              <a:spcBef>
                <a:spcPct val="0"/>
              </a:spcBef>
              <a:buNone/>
              <a:defRPr lang="en-GB" sz="3200" b="0" i="0" kern="1200" noProof="0" dirty="0">
                <a:solidFill>
                  <a:schemeClr val="tx2"/>
                </a:solidFill>
                <a:latin typeface="+mj-lt"/>
                <a:ea typeface="+mj-ea"/>
                <a:cs typeface="+mj-cs"/>
              </a:defRPr>
            </a:lvl1pPr>
          </a:lstStyle>
          <a:p>
            <a:r>
              <a:rPr lang="en-US" noProof="0"/>
              <a:t>Click to add title</a:t>
            </a:r>
            <a:endParaRPr lang="en-GB" noProof="0"/>
          </a:p>
        </p:txBody>
      </p:sp>
      <p:sp>
        <p:nvSpPr>
          <p:cNvPr id="15" name="Text Placeholder 19">
            <a:extLst>
              <a:ext uri="{FF2B5EF4-FFF2-40B4-BE49-F238E27FC236}">
                <a16:creationId xmlns:a16="http://schemas.microsoft.com/office/drawing/2014/main" id="{AF7B8E83-3B12-C542-BCE0-EA537D8632E0}"/>
              </a:ext>
            </a:extLst>
          </p:cNvPr>
          <p:cNvSpPr>
            <a:spLocks noGrp="1"/>
          </p:cNvSpPr>
          <p:nvPr>
            <p:ph type="body" sz="quarter" idx="13" hasCustomPrompt="1"/>
          </p:nvPr>
        </p:nvSpPr>
        <p:spPr>
          <a:xfrm>
            <a:off x="1449580" y="2314168"/>
            <a:ext cx="4653768" cy="468000"/>
          </a:xfrm>
          <a:prstGeom prst="rect">
            <a:avLst/>
          </a:prstGeom>
        </p:spPr>
        <p:txBody>
          <a:bodyPr>
            <a:noAutofit/>
          </a:bodyPr>
          <a:lstStyle>
            <a:lvl1pPr marL="0" indent="0">
              <a:lnSpc>
                <a:spcPct val="100000"/>
              </a:lnSpc>
              <a:buNone/>
              <a:defRPr sz="2400" b="0" i="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add text</a:t>
            </a:r>
          </a:p>
        </p:txBody>
      </p:sp>
      <p:sp>
        <p:nvSpPr>
          <p:cNvPr id="16" name="Marcador de texto 23">
            <a:extLst>
              <a:ext uri="{FF2B5EF4-FFF2-40B4-BE49-F238E27FC236}">
                <a16:creationId xmlns:a16="http://schemas.microsoft.com/office/drawing/2014/main" id="{3CD801B3-44BB-0A44-8B68-84F38E4A5C47}"/>
              </a:ext>
            </a:extLst>
          </p:cNvPr>
          <p:cNvSpPr>
            <a:spLocks noGrp="1"/>
          </p:cNvSpPr>
          <p:nvPr>
            <p:ph type="body" sz="quarter" idx="20" hasCustomPrompt="1"/>
          </p:nvPr>
        </p:nvSpPr>
        <p:spPr>
          <a:xfrm>
            <a:off x="1449580" y="3257477"/>
            <a:ext cx="4876576" cy="2844742"/>
          </a:xfrm>
          <a:prstGeom prst="rect">
            <a:avLst/>
          </a:prstGeom>
        </p:spPr>
        <p:txBody>
          <a:bodyPr numCol="1" spcCol="504000" anchor="t"/>
          <a:lstStyle>
            <a:lvl1pPr marL="0" indent="0">
              <a:lnSpc>
                <a:spcPts val="2200"/>
              </a:lnSpc>
              <a:spcBef>
                <a:spcPts val="1600"/>
              </a:spcBef>
              <a:buNone/>
              <a:defRPr sz="2000" b="0" i="0">
                <a:solidFill>
                  <a:srgbClr val="323232"/>
                </a:solidFill>
                <a:latin typeface="+mj-lt"/>
              </a:defRPr>
            </a:lvl1pPr>
          </a:lstStyle>
          <a:p>
            <a:pPr lvl="0"/>
            <a:r>
              <a:rPr lang="en-US"/>
              <a:t>Click to add text</a:t>
            </a:r>
          </a:p>
        </p:txBody>
      </p:sp>
      <p:grpSp>
        <p:nvGrpSpPr>
          <p:cNvPr id="11" name="Grupo 35">
            <a:extLst>
              <a:ext uri="{FF2B5EF4-FFF2-40B4-BE49-F238E27FC236}">
                <a16:creationId xmlns:a16="http://schemas.microsoft.com/office/drawing/2014/main" id="{0FD74350-A32C-4CEA-B1E0-EF0FBD1BA718}"/>
              </a:ext>
            </a:extLst>
          </p:cNvPr>
          <p:cNvGrpSpPr/>
          <p:nvPr userDrawn="1"/>
        </p:nvGrpSpPr>
        <p:grpSpPr>
          <a:xfrm>
            <a:off x="438013" y="6534959"/>
            <a:ext cx="1322281" cy="98746"/>
            <a:chOff x="2744788" y="0"/>
            <a:chExt cx="2720976" cy="203200"/>
          </a:xfrm>
          <a:solidFill>
            <a:srgbClr val="363636"/>
          </a:solidFill>
        </p:grpSpPr>
        <p:sp>
          <p:nvSpPr>
            <p:cNvPr id="13" name="Freeform 177">
              <a:extLst>
                <a:ext uri="{FF2B5EF4-FFF2-40B4-BE49-F238E27FC236}">
                  <a16:creationId xmlns:a16="http://schemas.microsoft.com/office/drawing/2014/main" id="{89C71A64-2D33-4796-B66C-FBC1E1474738}"/>
                </a:ext>
              </a:extLst>
            </p:cNvPr>
            <p:cNvSpPr>
              <a:spLocks noEditPoints="1"/>
            </p:cNvSpPr>
            <p:nvPr/>
          </p:nvSpPr>
          <p:spPr bwMode="auto">
            <a:xfrm>
              <a:off x="2744788" y="6350"/>
              <a:ext cx="160338" cy="173038"/>
            </a:xfrm>
            <a:custGeom>
              <a:avLst/>
              <a:gdLst>
                <a:gd name="T0" fmla="*/ 24 w 87"/>
                <a:gd name="T1" fmla="*/ 90 h 95"/>
                <a:gd name="T2" fmla="*/ 19 w 87"/>
                <a:gd name="T3" fmla="*/ 94 h 95"/>
                <a:gd name="T4" fmla="*/ 3 w 87"/>
                <a:gd name="T5" fmla="*/ 94 h 95"/>
                <a:gd name="T6" fmla="*/ 1 w 87"/>
                <a:gd name="T7" fmla="*/ 91 h 95"/>
                <a:gd name="T8" fmla="*/ 29 w 87"/>
                <a:gd name="T9" fmla="*/ 4 h 95"/>
                <a:gd name="T10" fmla="*/ 35 w 87"/>
                <a:gd name="T11" fmla="*/ 0 h 95"/>
                <a:gd name="T12" fmla="*/ 53 w 87"/>
                <a:gd name="T13" fmla="*/ 0 h 95"/>
                <a:gd name="T14" fmla="*/ 58 w 87"/>
                <a:gd name="T15" fmla="*/ 5 h 95"/>
                <a:gd name="T16" fmla="*/ 86 w 87"/>
                <a:gd name="T17" fmla="*/ 92 h 95"/>
                <a:gd name="T18" fmla="*/ 84 w 87"/>
                <a:gd name="T19" fmla="*/ 95 h 95"/>
                <a:gd name="T20" fmla="*/ 67 w 87"/>
                <a:gd name="T21" fmla="*/ 95 h 95"/>
                <a:gd name="T22" fmla="*/ 62 w 87"/>
                <a:gd name="T23" fmla="*/ 90 h 95"/>
                <a:gd name="T24" fmla="*/ 57 w 87"/>
                <a:gd name="T25" fmla="*/ 73 h 95"/>
                <a:gd name="T26" fmla="*/ 29 w 87"/>
                <a:gd name="T27" fmla="*/ 73 h 95"/>
                <a:gd name="T28" fmla="*/ 24 w 87"/>
                <a:gd name="T29" fmla="*/ 90 h 95"/>
                <a:gd name="T30" fmla="*/ 49 w 87"/>
                <a:gd name="T31" fmla="*/ 40 h 95"/>
                <a:gd name="T32" fmla="*/ 44 w 87"/>
                <a:gd name="T33" fmla="*/ 23 h 95"/>
                <a:gd name="T34" fmla="*/ 43 w 87"/>
                <a:gd name="T35" fmla="*/ 23 h 95"/>
                <a:gd name="T36" fmla="*/ 39 w 87"/>
                <a:gd name="T37" fmla="*/ 40 h 95"/>
                <a:gd name="T38" fmla="*/ 34 w 87"/>
                <a:gd name="T39" fmla="*/ 56 h 95"/>
                <a:gd name="T40" fmla="*/ 53 w 87"/>
                <a:gd name="T41" fmla="*/ 56 h 95"/>
                <a:gd name="T42" fmla="*/ 49 w 87"/>
                <a:gd name="T43" fmla="*/ 4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5">
                  <a:moveTo>
                    <a:pt x="24" y="90"/>
                  </a:moveTo>
                  <a:cubicBezTo>
                    <a:pt x="23" y="93"/>
                    <a:pt x="22" y="94"/>
                    <a:pt x="19" y="94"/>
                  </a:cubicBezTo>
                  <a:cubicBezTo>
                    <a:pt x="3" y="94"/>
                    <a:pt x="3" y="94"/>
                    <a:pt x="3" y="94"/>
                  </a:cubicBezTo>
                  <a:cubicBezTo>
                    <a:pt x="1" y="94"/>
                    <a:pt x="0" y="94"/>
                    <a:pt x="1" y="91"/>
                  </a:cubicBezTo>
                  <a:cubicBezTo>
                    <a:pt x="29" y="4"/>
                    <a:pt x="29" y="4"/>
                    <a:pt x="29" y="4"/>
                  </a:cubicBezTo>
                  <a:cubicBezTo>
                    <a:pt x="30" y="2"/>
                    <a:pt x="31" y="0"/>
                    <a:pt x="35" y="0"/>
                  </a:cubicBezTo>
                  <a:cubicBezTo>
                    <a:pt x="53" y="0"/>
                    <a:pt x="53" y="0"/>
                    <a:pt x="53" y="0"/>
                  </a:cubicBezTo>
                  <a:cubicBezTo>
                    <a:pt x="57" y="0"/>
                    <a:pt x="57" y="2"/>
                    <a:pt x="58" y="5"/>
                  </a:cubicBezTo>
                  <a:cubicBezTo>
                    <a:pt x="86" y="92"/>
                    <a:pt x="86" y="92"/>
                    <a:pt x="86" y="92"/>
                  </a:cubicBezTo>
                  <a:cubicBezTo>
                    <a:pt x="87" y="94"/>
                    <a:pt x="86" y="95"/>
                    <a:pt x="84" y="95"/>
                  </a:cubicBezTo>
                  <a:cubicBezTo>
                    <a:pt x="67" y="95"/>
                    <a:pt x="67" y="95"/>
                    <a:pt x="67" y="95"/>
                  </a:cubicBezTo>
                  <a:cubicBezTo>
                    <a:pt x="64" y="95"/>
                    <a:pt x="63" y="93"/>
                    <a:pt x="62" y="90"/>
                  </a:cubicBezTo>
                  <a:cubicBezTo>
                    <a:pt x="57" y="73"/>
                    <a:pt x="57" y="73"/>
                    <a:pt x="57" y="73"/>
                  </a:cubicBezTo>
                  <a:cubicBezTo>
                    <a:pt x="29" y="73"/>
                    <a:pt x="29" y="73"/>
                    <a:pt x="29" y="73"/>
                  </a:cubicBezTo>
                  <a:lnTo>
                    <a:pt x="24" y="90"/>
                  </a:lnTo>
                  <a:close/>
                  <a:moveTo>
                    <a:pt x="49" y="40"/>
                  </a:moveTo>
                  <a:cubicBezTo>
                    <a:pt x="44" y="23"/>
                    <a:pt x="44" y="23"/>
                    <a:pt x="44" y="23"/>
                  </a:cubicBezTo>
                  <a:cubicBezTo>
                    <a:pt x="43" y="23"/>
                    <a:pt x="43" y="23"/>
                    <a:pt x="43" y="23"/>
                  </a:cubicBezTo>
                  <a:cubicBezTo>
                    <a:pt x="39" y="40"/>
                    <a:pt x="39" y="40"/>
                    <a:pt x="39" y="40"/>
                  </a:cubicBezTo>
                  <a:cubicBezTo>
                    <a:pt x="34" y="56"/>
                    <a:pt x="34" y="56"/>
                    <a:pt x="34" y="56"/>
                  </a:cubicBezTo>
                  <a:cubicBezTo>
                    <a:pt x="53" y="56"/>
                    <a:pt x="53" y="56"/>
                    <a:pt x="53" y="56"/>
                  </a:cubicBez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78">
              <a:extLst>
                <a:ext uri="{FF2B5EF4-FFF2-40B4-BE49-F238E27FC236}">
                  <a16:creationId xmlns:a16="http://schemas.microsoft.com/office/drawing/2014/main" id="{BE240E8E-113E-417A-97F8-E2801A265CEB}"/>
                </a:ext>
              </a:extLst>
            </p:cNvPr>
            <p:cNvSpPr>
              <a:spLocks/>
            </p:cNvSpPr>
            <p:nvPr/>
          </p:nvSpPr>
          <p:spPr bwMode="auto">
            <a:xfrm>
              <a:off x="2917826" y="49213"/>
              <a:ext cx="196850" cy="133350"/>
            </a:xfrm>
            <a:custGeom>
              <a:avLst/>
              <a:gdLst>
                <a:gd name="T0" fmla="*/ 103 w 107"/>
                <a:gd name="T1" fmla="*/ 72 h 72"/>
                <a:gd name="T2" fmla="*/ 88 w 107"/>
                <a:gd name="T3" fmla="*/ 72 h 72"/>
                <a:gd name="T4" fmla="*/ 85 w 107"/>
                <a:gd name="T5" fmla="*/ 69 h 72"/>
                <a:gd name="T6" fmla="*/ 85 w 107"/>
                <a:gd name="T7" fmla="*/ 32 h 72"/>
                <a:gd name="T8" fmla="*/ 77 w 107"/>
                <a:gd name="T9" fmla="*/ 21 h 72"/>
                <a:gd name="T10" fmla="*/ 64 w 107"/>
                <a:gd name="T11" fmla="*/ 25 h 72"/>
                <a:gd name="T12" fmla="*/ 64 w 107"/>
                <a:gd name="T13" fmla="*/ 69 h 72"/>
                <a:gd name="T14" fmla="*/ 61 w 107"/>
                <a:gd name="T15" fmla="*/ 72 h 72"/>
                <a:gd name="T16" fmla="*/ 45 w 107"/>
                <a:gd name="T17" fmla="*/ 71 h 72"/>
                <a:gd name="T18" fmla="*/ 43 w 107"/>
                <a:gd name="T19" fmla="*/ 68 h 72"/>
                <a:gd name="T20" fmla="*/ 43 w 107"/>
                <a:gd name="T21" fmla="*/ 31 h 72"/>
                <a:gd name="T22" fmla="*/ 35 w 107"/>
                <a:gd name="T23" fmla="*/ 20 h 72"/>
                <a:gd name="T24" fmla="*/ 22 w 107"/>
                <a:gd name="T25" fmla="*/ 24 h 72"/>
                <a:gd name="T26" fmla="*/ 22 w 107"/>
                <a:gd name="T27" fmla="*/ 68 h 72"/>
                <a:gd name="T28" fmla="*/ 19 w 107"/>
                <a:gd name="T29" fmla="*/ 71 h 72"/>
                <a:gd name="T30" fmla="*/ 3 w 107"/>
                <a:gd name="T31" fmla="*/ 71 h 72"/>
                <a:gd name="T32" fmla="*/ 0 w 107"/>
                <a:gd name="T33" fmla="*/ 68 h 72"/>
                <a:gd name="T34" fmla="*/ 1 w 107"/>
                <a:gd name="T35" fmla="*/ 4 h 72"/>
                <a:gd name="T36" fmla="*/ 4 w 107"/>
                <a:gd name="T37" fmla="*/ 1 h 72"/>
                <a:gd name="T38" fmla="*/ 20 w 107"/>
                <a:gd name="T39" fmla="*/ 1 h 72"/>
                <a:gd name="T40" fmla="*/ 23 w 107"/>
                <a:gd name="T41" fmla="*/ 4 h 72"/>
                <a:gd name="T42" fmla="*/ 23 w 107"/>
                <a:gd name="T43" fmla="*/ 8 h 72"/>
                <a:gd name="T44" fmla="*/ 23 w 107"/>
                <a:gd name="T45" fmla="*/ 8 h 72"/>
                <a:gd name="T46" fmla="*/ 44 w 107"/>
                <a:gd name="T47" fmla="*/ 0 h 72"/>
                <a:gd name="T48" fmla="*/ 62 w 107"/>
                <a:gd name="T49" fmla="*/ 10 h 72"/>
                <a:gd name="T50" fmla="*/ 86 w 107"/>
                <a:gd name="T51" fmla="*/ 1 h 72"/>
                <a:gd name="T52" fmla="*/ 107 w 107"/>
                <a:gd name="T53" fmla="*/ 29 h 72"/>
                <a:gd name="T54" fmla="*/ 106 w 107"/>
                <a:gd name="T55" fmla="*/ 69 h 72"/>
                <a:gd name="T56" fmla="*/ 103 w 107"/>
                <a:gd name="T5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7" h="72">
                  <a:moveTo>
                    <a:pt x="103" y="72"/>
                  </a:moveTo>
                  <a:cubicBezTo>
                    <a:pt x="88" y="72"/>
                    <a:pt x="88" y="72"/>
                    <a:pt x="88" y="72"/>
                  </a:cubicBezTo>
                  <a:cubicBezTo>
                    <a:pt x="85" y="72"/>
                    <a:pt x="85" y="71"/>
                    <a:pt x="85" y="69"/>
                  </a:cubicBezTo>
                  <a:cubicBezTo>
                    <a:pt x="85" y="32"/>
                    <a:pt x="85" y="32"/>
                    <a:pt x="85" y="32"/>
                  </a:cubicBezTo>
                  <a:cubicBezTo>
                    <a:pt x="85" y="23"/>
                    <a:pt x="82" y="21"/>
                    <a:pt x="77" y="21"/>
                  </a:cubicBezTo>
                  <a:cubicBezTo>
                    <a:pt x="74" y="21"/>
                    <a:pt x="68" y="23"/>
                    <a:pt x="64" y="25"/>
                  </a:cubicBezTo>
                  <a:cubicBezTo>
                    <a:pt x="64" y="69"/>
                    <a:pt x="64" y="69"/>
                    <a:pt x="64" y="69"/>
                  </a:cubicBezTo>
                  <a:cubicBezTo>
                    <a:pt x="64" y="70"/>
                    <a:pt x="64" y="72"/>
                    <a:pt x="61" y="72"/>
                  </a:cubicBezTo>
                  <a:cubicBezTo>
                    <a:pt x="45" y="71"/>
                    <a:pt x="45" y="71"/>
                    <a:pt x="45" y="71"/>
                  </a:cubicBezTo>
                  <a:cubicBezTo>
                    <a:pt x="43" y="71"/>
                    <a:pt x="42" y="70"/>
                    <a:pt x="43" y="68"/>
                  </a:cubicBezTo>
                  <a:cubicBezTo>
                    <a:pt x="43" y="31"/>
                    <a:pt x="43" y="31"/>
                    <a:pt x="43" y="31"/>
                  </a:cubicBezTo>
                  <a:cubicBezTo>
                    <a:pt x="43" y="23"/>
                    <a:pt x="40" y="20"/>
                    <a:pt x="35" y="20"/>
                  </a:cubicBezTo>
                  <a:cubicBezTo>
                    <a:pt x="32" y="20"/>
                    <a:pt x="26" y="22"/>
                    <a:pt x="22" y="24"/>
                  </a:cubicBezTo>
                  <a:cubicBezTo>
                    <a:pt x="22" y="68"/>
                    <a:pt x="22" y="68"/>
                    <a:pt x="22" y="68"/>
                  </a:cubicBezTo>
                  <a:cubicBezTo>
                    <a:pt x="22" y="70"/>
                    <a:pt x="21" y="71"/>
                    <a:pt x="19" y="71"/>
                  </a:cubicBezTo>
                  <a:cubicBezTo>
                    <a:pt x="3" y="71"/>
                    <a:pt x="3" y="71"/>
                    <a:pt x="3" y="71"/>
                  </a:cubicBezTo>
                  <a:cubicBezTo>
                    <a:pt x="1" y="71"/>
                    <a:pt x="0" y="70"/>
                    <a:pt x="0" y="68"/>
                  </a:cubicBezTo>
                  <a:cubicBezTo>
                    <a:pt x="1" y="4"/>
                    <a:pt x="1" y="4"/>
                    <a:pt x="1" y="4"/>
                  </a:cubicBezTo>
                  <a:cubicBezTo>
                    <a:pt x="1" y="2"/>
                    <a:pt x="2" y="1"/>
                    <a:pt x="4" y="1"/>
                  </a:cubicBezTo>
                  <a:cubicBezTo>
                    <a:pt x="20" y="1"/>
                    <a:pt x="20" y="1"/>
                    <a:pt x="20" y="1"/>
                  </a:cubicBezTo>
                  <a:cubicBezTo>
                    <a:pt x="22" y="1"/>
                    <a:pt x="23" y="3"/>
                    <a:pt x="23" y="4"/>
                  </a:cubicBezTo>
                  <a:cubicBezTo>
                    <a:pt x="23" y="8"/>
                    <a:pt x="23" y="8"/>
                    <a:pt x="23" y="8"/>
                  </a:cubicBezTo>
                  <a:cubicBezTo>
                    <a:pt x="23" y="8"/>
                    <a:pt x="23" y="8"/>
                    <a:pt x="23" y="8"/>
                  </a:cubicBezTo>
                  <a:cubicBezTo>
                    <a:pt x="29" y="3"/>
                    <a:pt x="36" y="0"/>
                    <a:pt x="44" y="0"/>
                  </a:cubicBezTo>
                  <a:cubicBezTo>
                    <a:pt x="52" y="0"/>
                    <a:pt x="59" y="3"/>
                    <a:pt x="62" y="10"/>
                  </a:cubicBezTo>
                  <a:cubicBezTo>
                    <a:pt x="69" y="5"/>
                    <a:pt x="77" y="1"/>
                    <a:pt x="86" y="1"/>
                  </a:cubicBezTo>
                  <a:cubicBezTo>
                    <a:pt x="106" y="1"/>
                    <a:pt x="107" y="15"/>
                    <a:pt x="107" y="29"/>
                  </a:cubicBezTo>
                  <a:cubicBezTo>
                    <a:pt x="106" y="69"/>
                    <a:pt x="106" y="69"/>
                    <a:pt x="106" y="69"/>
                  </a:cubicBezTo>
                  <a:cubicBezTo>
                    <a:pt x="106" y="70"/>
                    <a:pt x="106" y="72"/>
                    <a:pt x="10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79">
              <a:extLst>
                <a:ext uri="{FF2B5EF4-FFF2-40B4-BE49-F238E27FC236}">
                  <a16:creationId xmlns:a16="http://schemas.microsoft.com/office/drawing/2014/main" id="{BBD868EE-075D-493A-8A5D-B758361B0B37}"/>
                </a:ext>
              </a:extLst>
            </p:cNvPr>
            <p:cNvSpPr>
              <a:spLocks noEditPoints="1"/>
            </p:cNvSpPr>
            <p:nvPr/>
          </p:nvSpPr>
          <p:spPr bwMode="auto">
            <a:xfrm>
              <a:off x="3136901" y="50800"/>
              <a:ext cx="133350" cy="134938"/>
            </a:xfrm>
            <a:custGeom>
              <a:avLst/>
              <a:gdLst>
                <a:gd name="T0" fmla="*/ 45 w 73"/>
                <a:gd name="T1" fmla="*/ 63 h 73"/>
                <a:gd name="T2" fmla="*/ 20 w 73"/>
                <a:gd name="T3" fmla="*/ 72 h 73"/>
                <a:gd name="T4" fmla="*/ 0 w 73"/>
                <a:gd name="T5" fmla="*/ 51 h 73"/>
                <a:gd name="T6" fmla="*/ 27 w 73"/>
                <a:gd name="T7" fmla="*/ 28 h 73"/>
                <a:gd name="T8" fmla="*/ 44 w 73"/>
                <a:gd name="T9" fmla="*/ 28 h 73"/>
                <a:gd name="T10" fmla="*/ 44 w 73"/>
                <a:gd name="T11" fmla="*/ 26 h 73"/>
                <a:gd name="T12" fmla="*/ 31 w 73"/>
                <a:gd name="T13" fmla="*/ 18 h 73"/>
                <a:gd name="T14" fmla="*/ 13 w 73"/>
                <a:gd name="T15" fmla="*/ 19 h 73"/>
                <a:gd name="T16" fmla="*/ 7 w 73"/>
                <a:gd name="T17" fmla="*/ 16 h 73"/>
                <a:gd name="T18" fmla="*/ 6 w 73"/>
                <a:gd name="T19" fmla="*/ 9 h 73"/>
                <a:gd name="T20" fmla="*/ 10 w 73"/>
                <a:gd name="T21" fmla="*/ 3 h 73"/>
                <a:gd name="T22" fmla="*/ 35 w 73"/>
                <a:gd name="T23" fmla="*/ 0 h 73"/>
                <a:gd name="T24" fmla="*/ 65 w 73"/>
                <a:gd name="T25" fmla="*/ 27 h 73"/>
                <a:gd name="T26" fmla="*/ 65 w 73"/>
                <a:gd name="T27" fmla="*/ 50 h 73"/>
                <a:gd name="T28" fmla="*/ 70 w 73"/>
                <a:gd name="T29" fmla="*/ 56 h 73"/>
                <a:gd name="T30" fmla="*/ 73 w 73"/>
                <a:gd name="T31" fmla="*/ 59 h 73"/>
                <a:gd name="T32" fmla="*/ 73 w 73"/>
                <a:gd name="T33" fmla="*/ 68 h 73"/>
                <a:gd name="T34" fmla="*/ 69 w 73"/>
                <a:gd name="T35" fmla="*/ 72 h 73"/>
                <a:gd name="T36" fmla="*/ 60 w 73"/>
                <a:gd name="T37" fmla="*/ 73 h 73"/>
                <a:gd name="T38" fmla="*/ 45 w 73"/>
                <a:gd name="T39" fmla="*/ 63 h 73"/>
                <a:gd name="T40" fmla="*/ 43 w 73"/>
                <a:gd name="T41" fmla="*/ 42 h 73"/>
                <a:gd name="T42" fmla="*/ 30 w 73"/>
                <a:gd name="T43" fmla="*/ 42 h 73"/>
                <a:gd name="T44" fmla="*/ 22 w 73"/>
                <a:gd name="T45" fmla="*/ 50 h 73"/>
                <a:gd name="T46" fmla="*/ 28 w 73"/>
                <a:gd name="T47" fmla="*/ 56 h 73"/>
                <a:gd name="T48" fmla="*/ 43 w 73"/>
                <a:gd name="T49" fmla="*/ 52 h 73"/>
                <a:gd name="T50" fmla="*/ 43 w 73"/>
                <a:gd name="T51" fmla="*/ 4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73">
                  <a:moveTo>
                    <a:pt x="45" y="63"/>
                  </a:moveTo>
                  <a:cubicBezTo>
                    <a:pt x="38" y="70"/>
                    <a:pt x="27" y="73"/>
                    <a:pt x="20" y="72"/>
                  </a:cubicBezTo>
                  <a:cubicBezTo>
                    <a:pt x="3" y="72"/>
                    <a:pt x="0" y="62"/>
                    <a:pt x="0" y="51"/>
                  </a:cubicBezTo>
                  <a:cubicBezTo>
                    <a:pt x="0" y="34"/>
                    <a:pt x="11" y="28"/>
                    <a:pt x="27" y="28"/>
                  </a:cubicBezTo>
                  <a:cubicBezTo>
                    <a:pt x="44" y="28"/>
                    <a:pt x="44" y="28"/>
                    <a:pt x="44" y="28"/>
                  </a:cubicBezTo>
                  <a:cubicBezTo>
                    <a:pt x="44" y="26"/>
                    <a:pt x="44" y="26"/>
                    <a:pt x="44" y="26"/>
                  </a:cubicBezTo>
                  <a:cubicBezTo>
                    <a:pt x="44" y="20"/>
                    <a:pt x="42" y="18"/>
                    <a:pt x="31" y="18"/>
                  </a:cubicBezTo>
                  <a:cubicBezTo>
                    <a:pt x="27" y="17"/>
                    <a:pt x="18" y="18"/>
                    <a:pt x="13" y="19"/>
                  </a:cubicBezTo>
                  <a:cubicBezTo>
                    <a:pt x="9" y="19"/>
                    <a:pt x="8" y="19"/>
                    <a:pt x="7" y="16"/>
                  </a:cubicBezTo>
                  <a:cubicBezTo>
                    <a:pt x="6" y="9"/>
                    <a:pt x="6" y="9"/>
                    <a:pt x="6" y="9"/>
                  </a:cubicBezTo>
                  <a:cubicBezTo>
                    <a:pt x="5" y="6"/>
                    <a:pt x="6" y="5"/>
                    <a:pt x="10" y="3"/>
                  </a:cubicBezTo>
                  <a:cubicBezTo>
                    <a:pt x="17" y="1"/>
                    <a:pt x="28" y="0"/>
                    <a:pt x="35" y="0"/>
                  </a:cubicBezTo>
                  <a:cubicBezTo>
                    <a:pt x="62" y="0"/>
                    <a:pt x="65" y="10"/>
                    <a:pt x="65" y="27"/>
                  </a:cubicBezTo>
                  <a:cubicBezTo>
                    <a:pt x="65" y="50"/>
                    <a:pt x="65" y="50"/>
                    <a:pt x="65" y="50"/>
                  </a:cubicBezTo>
                  <a:cubicBezTo>
                    <a:pt x="65" y="56"/>
                    <a:pt x="66" y="56"/>
                    <a:pt x="70" y="56"/>
                  </a:cubicBezTo>
                  <a:cubicBezTo>
                    <a:pt x="72" y="57"/>
                    <a:pt x="73" y="57"/>
                    <a:pt x="73" y="59"/>
                  </a:cubicBezTo>
                  <a:cubicBezTo>
                    <a:pt x="73" y="68"/>
                    <a:pt x="73" y="68"/>
                    <a:pt x="73" y="68"/>
                  </a:cubicBezTo>
                  <a:cubicBezTo>
                    <a:pt x="73" y="70"/>
                    <a:pt x="71" y="71"/>
                    <a:pt x="69" y="72"/>
                  </a:cubicBezTo>
                  <a:cubicBezTo>
                    <a:pt x="66" y="72"/>
                    <a:pt x="63" y="73"/>
                    <a:pt x="60" y="73"/>
                  </a:cubicBezTo>
                  <a:cubicBezTo>
                    <a:pt x="53" y="72"/>
                    <a:pt x="47" y="71"/>
                    <a:pt x="45" y="63"/>
                  </a:cubicBezTo>
                  <a:close/>
                  <a:moveTo>
                    <a:pt x="43" y="42"/>
                  </a:moveTo>
                  <a:cubicBezTo>
                    <a:pt x="30" y="42"/>
                    <a:pt x="30" y="42"/>
                    <a:pt x="30" y="42"/>
                  </a:cubicBezTo>
                  <a:cubicBezTo>
                    <a:pt x="25" y="42"/>
                    <a:pt x="22" y="44"/>
                    <a:pt x="22" y="50"/>
                  </a:cubicBezTo>
                  <a:cubicBezTo>
                    <a:pt x="22" y="55"/>
                    <a:pt x="23" y="56"/>
                    <a:pt x="28" y="56"/>
                  </a:cubicBezTo>
                  <a:cubicBezTo>
                    <a:pt x="33" y="56"/>
                    <a:pt x="39" y="54"/>
                    <a:pt x="43" y="52"/>
                  </a:cubicBezTo>
                  <a:lnTo>
                    <a:pt x="4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80">
              <a:extLst>
                <a:ext uri="{FF2B5EF4-FFF2-40B4-BE49-F238E27FC236}">
                  <a16:creationId xmlns:a16="http://schemas.microsoft.com/office/drawing/2014/main" id="{CD1D8D9E-308F-446A-8802-742379769E70}"/>
                </a:ext>
              </a:extLst>
            </p:cNvPr>
            <p:cNvSpPr>
              <a:spLocks noEditPoints="1"/>
            </p:cNvSpPr>
            <p:nvPr/>
          </p:nvSpPr>
          <p:spPr bwMode="auto">
            <a:xfrm>
              <a:off x="3284538" y="0"/>
              <a:ext cx="123825" cy="185738"/>
            </a:xfrm>
            <a:custGeom>
              <a:avLst/>
              <a:gdLst>
                <a:gd name="T0" fmla="*/ 63 w 67"/>
                <a:gd name="T1" fmla="*/ 100 h 101"/>
                <a:gd name="T2" fmla="*/ 47 w 67"/>
                <a:gd name="T3" fmla="*/ 100 h 101"/>
                <a:gd name="T4" fmla="*/ 45 w 67"/>
                <a:gd name="T5" fmla="*/ 97 h 101"/>
                <a:gd name="T6" fmla="*/ 45 w 67"/>
                <a:gd name="T7" fmla="*/ 94 h 101"/>
                <a:gd name="T8" fmla="*/ 44 w 67"/>
                <a:gd name="T9" fmla="*/ 94 h 101"/>
                <a:gd name="T10" fmla="*/ 24 w 67"/>
                <a:gd name="T11" fmla="*/ 101 h 101"/>
                <a:gd name="T12" fmla="*/ 1 w 67"/>
                <a:gd name="T13" fmla="*/ 66 h 101"/>
                <a:gd name="T14" fmla="*/ 30 w 67"/>
                <a:gd name="T15" fmla="*/ 29 h 101"/>
                <a:gd name="T16" fmla="*/ 45 w 67"/>
                <a:gd name="T17" fmla="*/ 31 h 101"/>
                <a:gd name="T18" fmla="*/ 45 w 67"/>
                <a:gd name="T19" fmla="*/ 31 h 101"/>
                <a:gd name="T20" fmla="*/ 45 w 67"/>
                <a:gd name="T21" fmla="*/ 3 h 101"/>
                <a:gd name="T22" fmla="*/ 48 w 67"/>
                <a:gd name="T23" fmla="*/ 0 h 101"/>
                <a:gd name="T24" fmla="*/ 64 w 67"/>
                <a:gd name="T25" fmla="*/ 0 h 101"/>
                <a:gd name="T26" fmla="*/ 67 w 67"/>
                <a:gd name="T27" fmla="*/ 4 h 101"/>
                <a:gd name="T28" fmla="*/ 66 w 67"/>
                <a:gd name="T29" fmla="*/ 98 h 101"/>
                <a:gd name="T30" fmla="*/ 63 w 67"/>
                <a:gd name="T31" fmla="*/ 100 h 101"/>
                <a:gd name="T32" fmla="*/ 45 w 67"/>
                <a:gd name="T33" fmla="*/ 49 h 101"/>
                <a:gd name="T34" fmla="*/ 34 w 67"/>
                <a:gd name="T35" fmla="*/ 47 h 101"/>
                <a:gd name="T36" fmla="*/ 23 w 67"/>
                <a:gd name="T37" fmla="*/ 65 h 101"/>
                <a:gd name="T38" fmla="*/ 31 w 67"/>
                <a:gd name="T39" fmla="*/ 82 h 101"/>
                <a:gd name="T40" fmla="*/ 45 w 67"/>
                <a:gd name="T41" fmla="*/ 78 h 101"/>
                <a:gd name="T42" fmla="*/ 45 w 67"/>
                <a:gd name="T43" fmla="*/ 4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101">
                  <a:moveTo>
                    <a:pt x="63" y="100"/>
                  </a:moveTo>
                  <a:cubicBezTo>
                    <a:pt x="47" y="100"/>
                    <a:pt x="47" y="100"/>
                    <a:pt x="47" y="100"/>
                  </a:cubicBezTo>
                  <a:cubicBezTo>
                    <a:pt x="45" y="100"/>
                    <a:pt x="44" y="99"/>
                    <a:pt x="45" y="97"/>
                  </a:cubicBezTo>
                  <a:cubicBezTo>
                    <a:pt x="45" y="94"/>
                    <a:pt x="45" y="94"/>
                    <a:pt x="45" y="94"/>
                  </a:cubicBezTo>
                  <a:cubicBezTo>
                    <a:pt x="44" y="94"/>
                    <a:pt x="44" y="94"/>
                    <a:pt x="44" y="94"/>
                  </a:cubicBezTo>
                  <a:cubicBezTo>
                    <a:pt x="38" y="98"/>
                    <a:pt x="31" y="101"/>
                    <a:pt x="24" y="101"/>
                  </a:cubicBezTo>
                  <a:cubicBezTo>
                    <a:pt x="5" y="101"/>
                    <a:pt x="0" y="86"/>
                    <a:pt x="1" y="66"/>
                  </a:cubicBezTo>
                  <a:cubicBezTo>
                    <a:pt x="1" y="43"/>
                    <a:pt x="5" y="28"/>
                    <a:pt x="30" y="29"/>
                  </a:cubicBezTo>
                  <a:cubicBezTo>
                    <a:pt x="36" y="29"/>
                    <a:pt x="41" y="30"/>
                    <a:pt x="45" y="31"/>
                  </a:cubicBezTo>
                  <a:cubicBezTo>
                    <a:pt x="45" y="31"/>
                    <a:pt x="45" y="31"/>
                    <a:pt x="45" y="31"/>
                  </a:cubicBezTo>
                  <a:cubicBezTo>
                    <a:pt x="45" y="3"/>
                    <a:pt x="45" y="3"/>
                    <a:pt x="45" y="3"/>
                  </a:cubicBezTo>
                  <a:cubicBezTo>
                    <a:pt x="45" y="2"/>
                    <a:pt x="46" y="0"/>
                    <a:pt x="48" y="0"/>
                  </a:cubicBezTo>
                  <a:cubicBezTo>
                    <a:pt x="64" y="0"/>
                    <a:pt x="64" y="0"/>
                    <a:pt x="64" y="0"/>
                  </a:cubicBezTo>
                  <a:cubicBezTo>
                    <a:pt x="67" y="0"/>
                    <a:pt x="67" y="2"/>
                    <a:pt x="67" y="4"/>
                  </a:cubicBezTo>
                  <a:cubicBezTo>
                    <a:pt x="66" y="98"/>
                    <a:pt x="66" y="98"/>
                    <a:pt x="66" y="98"/>
                  </a:cubicBezTo>
                  <a:cubicBezTo>
                    <a:pt x="66" y="99"/>
                    <a:pt x="65" y="101"/>
                    <a:pt x="63" y="100"/>
                  </a:cubicBezTo>
                  <a:close/>
                  <a:moveTo>
                    <a:pt x="45" y="49"/>
                  </a:moveTo>
                  <a:cubicBezTo>
                    <a:pt x="40" y="48"/>
                    <a:pt x="37" y="47"/>
                    <a:pt x="34" y="47"/>
                  </a:cubicBezTo>
                  <a:cubicBezTo>
                    <a:pt x="26" y="47"/>
                    <a:pt x="23" y="51"/>
                    <a:pt x="23" y="65"/>
                  </a:cubicBezTo>
                  <a:cubicBezTo>
                    <a:pt x="22" y="79"/>
                    <a:pt x="25" y="82"/>
                    <a:pt x="31" y="82"/>
                  </a:cubicBezTo>
                  <a:cubicBezTo>
                    <a:pt x="35" y="82"/>
                    <a:pt x="41" y="79"/>
                    <a:pt x="45" y="78"/>
                  </a:cubicBezTo>
                  <a:lnTo>
                    <a:pt x="4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81">
              <a:extLst>
                <a:ext uri="{FF2B5EF4-FFF2-40B4-BE49-F238E27FC236}">
                  <a16:creationId xmlns:a16="http://schemas.microsoft.com/office/drawing/2014/main" id="{4FE39DC6-B113-4BDD-8749-0CBB16FB28CA}"/>
                </a:ext>
              </a:extLst>
            </p:cNvPr>
            <p:cNvSpPr>
              <a:spLocks noEditPoints="1"/>
            </p:cNvSpPr>
            <p:nvPr/>
          </p:nvSpPr>
          <p:spPr bwMode="auto">
            <a:xfrm>
              <a:off x="3430588" y="53975"/>
              <a:ext cx="119063" cy="133350"/>
            </a:xfrm>
            <a:custGeom>
              <a:avLst/>
              <a:gdLst>
                <a:gd name="T0" fmla="*/ 22 w 65"/>
                <a:gd name="T1" fmla="*/ 42 h 73"/>
                <a:gd name="T2" fmla="*/ 38 w 65"/>
                <a:gd name="T3" fmla="*/ 55 h 73"/>
                <a:gd name="T4" fmla="*/ 54 w 65"/>
                <a:gd name="T5" fmla="*/ 54 h 73"/>
                <a:gd name="T6" fmla="*/ 59 w 65"/>
                <a:gd name="T7" fmla="*/ 57 h 73"/>
                <a:gd name="T8" fmla="*/ 60 w 65"/>
                <a:gd name="T9" fmla="*/ 64 h 73"/>
                <a:gd name="T10" fmla="*/ 56 w 65"/>
                <a:gd name="T11" fmla="*/ 70 h 73"/>
                <a:gd name="T12" fmla="*/ 34 w 65"/>
                <a:gd name="T13" fmla="*/ 73 h 73"/>
                <a:gd name="T14" fmla="*/ 0 w 65"/>
                <a:gd name="T15" fmla="*/ 37 h 73"/>
                <a:gd name="T16" fmla="*/ 33 w 65"/>
                <a:gd name="T17" fmla="*/ 1 h 73"/>
                <a:gd name="T18" fmla="*/ 65 w 65"/>
                <a:gd name="T19" fmla="*/ 33 h 73"/>
                <a:gd name="T20" fmla="*/ 57 w 65"/>
                <a:gd name="T21" fmla="*/ 42 h 73"/>
                <a:gd name="T22" fmla="*/ 22 w 65"/>
                <a:gd name="T23" fmla="*/ 42 h 73"/>
                <a:gd name="T24" fmla="*/ 23 w 65"/>
                <a:gd name="T25" fmla="*/ 29 h 73"/>
                <a:gd name="T26" fmla="*/ 43 w 65"/>
                <a:gd name="T27" fmla="*/ 29 h 73"/>
                <a:gd name="T28" fmla="*/ 33 w 65"/>
                <a:gd name="T29" fmla="*/ 17 h 73"/>
                <a:gd name="T30" fmla="*/ 23 w 65"/>
                <a:gd name="T31" fmla="*/ 2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73">
                  <a:moveTo>
                    <a:pt x="22" y="42"/>
                  </a:moveTo>
                  <a:cubicBezTo>
                    <a:pt x="23" y="53"/>
                    <a:pt x="28" y="55"/>
                    <a:pt x="38" y="55"/>
                  </a:cubicBezTo>
                  <a:cubicBezTo>
                    <a:pt x="42" y="55"/>
                    <a:pt x="49" y="55"/>
                    <a:pt x="54" y="54"/>
                  </a:cubicBezTo>
                  <a:cubicBezTo>
                    <a:pt x="58" y="54"/>
                    <a:pt x="58" y="54"/>
                    <a:pt x="59" y="57"/>
                  </a:cubicBezTo>
                  <a:cubicBezTo>
                    <a:pt x="60" y="64"/>
                    <a:pt x="60" y="64"/>
                    <a:pt x="60" y="64"/>
                  </a:cubicBezTo>
                  <a:cubicBezTo>
                    <a:pt x="61" y="67"/>
                    <a:pt x="61" y="69"/>
                    <a:pt x="56" y="70"/>
                  </a:cubicBezTo>
                  <a:cubicBezTo>
                    <a:pt x="51" y="72"/>
                    <a:pt x="40" y="73"/>
                    <a:pt x="34" y="73"/>
                  </a:cubicBezTo>
                  <a:cubicBezTo>
                    <a:pt x="5" y="73"/>
                    <a:pt x="0" y="56"/>
                    <a:pt x="0" y="37"/>
                  </a:cubicBezTo>
                  <a:cubicBezTo>
                    <a:pt x="0" y="24"/>
                    <a:pt x="3" y="0"/>
                    <a:pt x="33" y="1"/>
                  </a:cubicBezTo>
                  <a:cubicBezTo>
                    <a:pt x="60" y="1"/>
                    <a:pt x="65" y="18"/>
                    <a:pt x="65" y="33"/>
                  </a:cubicBezTo>
                  <a:cubicBezTo>
                    <a:pt x="65" y="39"/>
                    <a:pt x="63" y="42"/>
                    <a:pt x="57" y="42"/>
                  </a:cubicBezTo>
                  <a:lnTo>
                    <a:pt x="22" y="42"/>
                  </a:lnTo>
                  <a:close/>
                  <a:moveTo>
                    <a:pt x="23" y="29"/>
                  </a:moveTo>
                  <a:cubicBezTo>
                    <a:pt x="43" y="29"/>
                    <a:pt x="43" y="29"/>
                    <a:pt x="43" y="29"/>
                  </a:cubicBezTo>
                  <a:cubicBezTo>
                    <a:pt x="43" y="23"/>
                    <a:pt x="40" y="17"/>
                    <a:pt x="33" y="17"/>
                  </a:cubicBezTo>
                  <a:cubicBezTo>
                    <a:pt x="26" y="17"/>
                    <a:pt x="23" y="21"/>
                    <a:pt x="2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82">
              <a:extLst>
                <a:ext uri="{FF2B5EF4-FFF2-40B4-BE49-F238E27FC236}">
                  <a16:creationId xmlns:a16="http://schemas.microsoft.com/office/drawing/2014/main" id="{9BE00651-4302-4DA6-96DC-4972C4C59789}"/>
                </a:ext>
              </a:extLst>
            </p:cNvPr>
            <p:cNvSpPr>
              <a:spLocks/>
            </p:cNvSpPr>
            <p:nvPr/>
          </p:nvSpPr>
          <p:spPr bwMode="auto">
            <a:xfrm>
              <a:off x="3570288" y="57150"/>
              <a:ext cx="120650" cy="131763"/>
            </a:xfrm>
            <a:custGeom>
              <a:avLst/>
              <a:gdLst>
                <a:gd name="T0" fmla="*/ 62 w 66"/>
                <a:gd name="T1" fmla="*/ 71 h 72"/>
                <a:gd name="T2" fmla="*/ 47 w 66"/>
                <a:gd name="T3" fmla="*/ 71 h 72"/>
                <a:gd name="T4" fmla="*/ 44 w 66"/>
                <a:gd name="T5" fmla="*/ 68 h 72"/>
                <a:gd name="T6" fmla="*/ 44 w 66"/>
                <a:gd name="T7" fmla="*/ 64 h 72"/>
                <a:gd name="T8" fmla="*/ 44 w 66"/>
                <a:gd name="T9" fmla="*/ 64 h 72"/>
                <a:gd name="T10" fmla="*/ 21 w 66"/>
                <a:gd name="T11" fmla="*/ 72 h 72"/>
                <a:gd name="T12" fmla="*/ 0 w 66"/>
                <a:gd name="T13" fmla="*/ 44 h 72"/>
                <a:gd name="T14" fmla="*/ 1 w 66"/>
                <a:gd name="T15" fmla="*/ 4 h 72"/>
                <a:gd name="T16" fmla="*/ 4 w 66"/>
                <a:gd name="T17" fmla="*/ 0 h 72"/>
                <a:gd name="T18" fmla="*/ 19 w 66"/>
                <a:gd name="T19" fmla="*/ 1 h 72"/>
                <a:gd name="T20" fmla="*/ 22 w 66"/>
                <a:gd name="T21" fmla="*/ 4 h 72"/>
                <a:gd name="T22" fmla="*/ 22 w 66"/>
                <a:gd name="T23" fmla="*/ 41 h 72"/>
                <a:gd name="T24" fmla="*/ 31 w 66"/>
                <a:gd name="T25" fmla="*/ 52 h 72"/>
                <a:gd name="T26" fmla="*/ 44 w 66"/>
                <a:gd name="T27" fmla="*/ 48 h 72"/>
                <a:gd name="T28" fmla="*/ 44 w 66"/>
                <a:gd name="T29" fmla="*/ 4 h 72"/>
                <a:gd name="T30" fmla="*/ 47 w 66"/>
                <a:gd name="T31" fmla="*/ 1 h 72"/>
                <a:gd name="T32" fmla="*/ 63 w 66"/>
                <a:gd name="T33" fmla="*/ 1 h 72"/>
                <a:gd name="T34" fmla="*/ 66 w 66"/>
                <a:gd name="T35" fmla="*/ 4 h 72"/>
                <a:gd name="T36" fmla="*/ 66 w 66"/>
                <a:gd name="T37" fmla="*/ 68 h 72"/>
                <a:gd name="T38" fmla="*/ 62 w 66"/>
                <a:gd name="T39"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2">
                  <a:moveTo>
                    <a:pt x="62" y="71"/>
                  </a:moveTo>
                  <a:cubicBezTo>
                    <a:pt x="47" y="71"/>
                    <a:pt x="47" y="71"/>
                    <a:pt x="47" y="71"/>
                  </a:cubicBezTo>
                  <a:cubicBezTo>
                    <a:pt x="44" y="71"/>
                    <a:pt x="44" y="69"/>
                    <a:pt x="44" y="68"/>
                  </a:cubicBezTo>
                  <a:cubicBezTo>
                    <a:pt x="44" y="64"/>
                    <a:pt x="44" y="64"/>
                    <a:pt x="44" y="64"/>
                  </a:cubicBezTo>
                  <a:cubicBezTo>
                    <a:pt x="44" y="64"/>
                    <a:pt x="44" y="64"/>
                    <a:pt x="44" y="64"/>
                  </a:cubicBezTo>
                  <a:cubicBezTo>
                    <a:pt x="37" y="69"/>
                    <a:pt x="28" y="72"/>
                    <a:pt x="21" y="72"/>
                  </a:cubicBezTo>
                  <a:cubicBezTo>
                    <a:pt x="1" y="71"/>
                    <a:pt x="0" y="59"/>
                    <a:pt x="0" y="44"/>
                  </a:cubicBezTo>
                  <a:cubicBezTo>
                    <a:pt x="1" y="4"/>
                    <a:pt x="1" y="4"/>
                    <a:pt x="1" y="4"/>
                  </a:cubicBezTo>
                  <a:cubicBezTo>
                    <a:pt x="1" y="2"/>
                    <a:pt x="1" y="0"/>
                    <a:pt x="4" y="0"/>
                  </a:cubicBezTo>
                  <a:cubicBezTo>
                    <a:pt x="19" y="1"/>
                    <a:pt x="19" y="1"/>
                    <a:pt x="19" y="1"/>
                  </a:cubicBezTo>
                  <a:cubicBezTo>
                    <a:pt x="22" y="1"/>
                    <a:pt x="22" y="2"/>
                    <a:pt x="22" y="4"/>
                  </a:cubicBezTo>
                  <a:cubicBezTo>
                    <a:pt x="22" y="41"/>
                    <a:pt x="22" y="41"/>
                    <a:pt x="22" y="41"/>
                  </a:cubicBezTo>
                  <a:cubicBezTo>
                    <a:pt x="22" y="48"/>
                    <a:pt x="24" y="52"/>
                    <a:pt x="31" y="52"/>
                  </a:cubicBezTo>
                  <a:cubicBezTo>
                    <a:pt x="35" y="52"/>
                    <a:pt x="41" y="49"/>
                    <a:pt x="44" y="48"/>
                  </a:cubicBezTo>
                  <a:cubicBezTo>
                    <a:pt x="44" y="4"/>
                    <a:pt x="44" y="4"/>
                    <a:pt x="44" y="4"/>
                  </a:cubicBezTo>
                  <a:cubicBezTo>
                    <a:pt x="44" y="2"/>
                    <a:pt x="45" y="1"/>
                    <a:pt x="47" y="1"/>
                  </a:cubicBezTo>
                  <a:cubicBezTo>
                    <a:pt x="63" y="1"/>
                    <a:pt x="63" y="1"/>
                    <a:pt x="63" y="1"/>
                  </a:cubicBezTo>
                  <a:cubicBezTo>
                    <a:pt x="65" y="1"/>
                    <a:pt x="66" y="2"/>
                    <a:pt x="66" y="4"/>
                  </a:cubicBezTo>
                  <a:cubicBezTo>
                    <a:pt x="66" y="68"/>
                    <a:pt x="66" y="68"/>
                    <a:pt x="66" y="68"/>
                  </a:cubicBezTo>
                  <a:cubicBezTo>
                    <a:pt x="66" y="70"/>
                    <a:pt x="65" y="71"/>
                    <a:pt x="6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83">
              <a:extLst>
                <a:ext uri="{FF2B5EF4-FFF2-40B4-BE49-F238E27FC236}">
                  <a16:creationId xmlns:a16="http://schemas.microsoft.com/office/drawing/2014/main" id="{634D43C0-F985-4CE2-8188-6BDE760F300E}"/>
                </a:ext>
              </a:extLst>
            </p:cNvPr>
            <p:cNvSpPr>
              <a:spLocks/>
            </p:cNvSpPr>
            <p:nvPr/>
          </p:nvSpPr>
          <p:spPr bwMode="auto">
            <a:xfrm>
              <a:off x="3711576" y="57150"/>
              <a:ext cx="109538" cy="133350"/>
            </a:xfrm>
            <a:custGeom>
              <a:avLst/>
              <a:gdLst>
                <a:gd name="T0" fmla="*/ 28 w 60"/>
                <a:gd name="T1" fmla="*/ 73 h 73"/>
                <a:gd name="T2" fmla="*/ 6 w 60"/>
                <a:gd name="T3" fmla="*/ 69 h 73"/>
                <a:gd name="T4" fmla="*/ 1 w 60"/>
                <a:gd name="T5" fmla="*/ 62 h 73"/>
                <a:gd name="T6" fmla="*/ 3 w 60"/>
                <a:gd name="T7" fmla="*/ 56 h 73"/>
                <a:gd name="T8" fmla="*/ 7 w 60"/>
                <a:gd name="T9" fmla="*/ 53 h 73"/>
                <a:gd name="T10" fmla="*/ 28 w 60"/>
                <a:gd name="T11" fmla="*/ 55 h 73"/>
                <a:gd name="T12" fmla="*/ 38 w 60"/>
                <a:gd name="T13" fmla="*/ 50 h 73"/>
                <a:gd name="T14" fmla="*/ 30 w 60"/>
                <a:gd name="T15" fmla="*/ 44 h 73"/>
                <a:gd name="T16" fmla="*/ 2 w 60"/>
                <a:gd name="T17" fmla="*/ 22 h 73"/>
                <a:gd name="T18" fmla="*/ 31 w 60"/>
                <a:gd name="T19" fmla="*/ 0 h 73"/>
                <a:gd name="T20" fmla="*/ 53 w 60"/>
                <a:gd name="T21" fmla="*/ 3 h 73"/>
                <a:gd name="T22" fmla="*/ 58 w 60"/>
                <a:gd name="T23" fmla="*/ 9 h 73"/>
                <a:gd name="T24" fmla="*/ 56 w 60"/>
                <a:gd name="T25" fmla="*/ 16 h 73"/>
                <a:gd name="T26" fmla="*/ 52 w 60"/>
                <a:gd name="T27" fmla="*/ 19 h 73"/>
                <a:gd name="T28" fmla="*/ 32 w 60"/>
                <a:gd name="T29" fmla="*/ 17 h 73"/>
                <a:gd name="T30" fmla="*/ 24 w 60"/>
                <a:gd name="T31" fmla="*/ 22 h 73"/>
                <a:gd name="T32" fmla="*/ 32 w 60"/>
                <a:gd name="T33" fmla="*/ 27 h 73"/>
                <a:gd name="T34" fmla="*/ 60 w 60"/>
                <a:gd name="T35" fmla="*/ 49 h 73"/>
                <a:gd name="T36" fmla="*/ 28 w 60"/>
                <a:gd name="T3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73">
                  <a:moveTo>
                    <a:pt x="28" y="73"/>
                  </a:moveTo>
                  <a:cubicBezTo>
                    <a:pt x="21" y="73"/>
                    <a:pt x="12" y="71"/>
                    <a:pt x="6" y="69"/>
                  </a:cubicBezTo>
                  <a:cubicBezTo>
                    <a:pt x="1" y="68"/>
                    <a:pt x="0" y="66"/>
                    <a:pt x="1" y="62"/>
                  </a:cubicBezTo>
                  <a:cubicBezTo>
                    <a:pt x="3" y="56"/>
                    <a:pt x="3" y="56"/>
                    <a:pt x="3" y="56"/>
                  </a:cubicBezTo>
                  <a:cubicBezTo>
                    <a:pt x="3" y="53"/>
                    <a:pt x="4" y="53"/>
                    <a:pt x="7" y="53"/>
                  </a:cubicBezTo>
                  <a:cubicBezTo>
                    <a:pt x="14" y="54"/>
                    <a:pt x="23" y="55"/>
                    <a:pt x="28" y="55"/>
                  </a:cubicBezTo>
                  <a:cubicBezTo>
                    <a:pt x="35" y="55"/>
                    <a:pt x="38" y="54"/>
                    <a:pt x="38" y="50"/>
                  </a:cubicBezTo>
                  <a:cubicBezTo>
                    <a:pt x="38" y="46"/>
                    <a:pt x="36" y="45"/>
                    <a:pt x="30" y="44"/>
                  </a:cubicBezTo>
                  <a:cubicBezTo>
                    <a:pt x="14" y="42"/>
                    <a:pt x="2" y="39"/>
                    <a:pt x="2" y="22"/>
                  </a:cubicBezTo>
                  <a:cubicBezTo>
                    <a:pt x="2" y="7"/>
                    <a:pt x="14" y="0"/>
                    <a:pt x="31" y="0"/>
                  </a:cubicBezTo>
                  <a:cubicBezTo>
                    <a:pt x="37" y="0"/>
                    <a:pt x="47" y="1"/>
                    <a:pt x="53" y="3"/>
                  </a:cubicBezTo>
                  <a:cubicBezTo>
                    <a:pt x="57" y="5"/>
                    <a:pt x="59" y="6"/>
                    <a:pt x="58" y="9"/>
                  </a:cubicBezTo>
                  <a:cubicBezTo>
                    <a:pt x="56" y="16"/>
                    <a:pt x="56" y="16"/>
                    <a:pt x="56" y="16"/>
                  </a:cubicBezTo>
                  <a:cubicBezTo>
                    <a:pt x="55" y="19"/>
                    <a:pt x="55" y="19"/>
                    <a:pt x="52" y="19"/>
                  </a:cubicBezTo>
                  <a:cubicBezTo>
                    <a:pt x="46" y="18"/>
                    <a:pt x="36" y="17"/>
                    <a:pt x="32" y="17"/>
                  </a:cubicBezTo>
                  <a:cubicBezTo>
                    <a:pt x="25" y="17"/>
                    <a:pt x="24" y="19"/>
                    <a:pt x="24" y="22"/>
                  </a:cubicBezTo>
                  <a:cubicBezTo>
                    <a:pt x="24" y="25"/>
                    <a:pt x="27" y="26"/>
                    <a:pt x="32" y="27"/>
                  </a:cubicBezTo>
                  <a:cubicBezTo>
                    <a:pt x="47" y="29"/>
                    <a:pt x="60" y="32"/>
                    <a:pt x="60" y="49"/>
                  </a:cubicBezTo>
                  <a:cubicBezTo>
                    <a:pt x="60" y="67"/>
                    <a:pt x="44" y="73"/>
                    <a:pt x="2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84">
              <a:extLst>
                <a:ext uri="{FF2B5EF4-FFF2-40B4-BE49-F238E27FC236}">
                  <a16:creationId xmlns:a16="http://schemas.microsoft.com/office/drawing/2014/main" id="{F69AF3CA-0DD6-4213-B37A-C443443D3E95}"/>
                </a:ext>
              </a:extLst>
            </p:cNvPr>
            <p:cNvSpPr>
              <a:spLocks noEditPoints="1"/>
            </p:cNvSpPr>
            <p:nvPr/>
          </p:nvSpPr>
          <p:spPr bwMode="auto">
            <a:xfrm>
              <a:off x="3911601" y="15875"/>
              <a:ext cx="128588" cy="174625"/>
            </a:xfrm>
            <a:custGeom>
              <a:avLst/>
              <a:gdLst>
                <a:gd name="T0" fmla="*/ 63 w 70"/>
                <a:gd name="T1" fmla="*/ 95 h 95"/>
                <a:gd name="T2" fmla="*/ 61 w 70"/>
                <a:gd name="T3" fmla="*/ 93 h 95"/>
                <a:gd name="T4" fmla="*/ 54 w 70"/>
                <a:gd name="T5" fmla="*/ 69 h 95"/>
                <a:gd name="T6" fmla="*/ 16 w 70"/>
                <a:gd name="T7" fmla="*/ 68 h 95"/>
                <a:gd name="T8" fmla="*/ 8 w 70"/>
                <a:gd name="T9" fmla="*/ 92 h 95"/>
                <a:gd name="T10" fmla="*/ 5 w 70"/>
                <a:gd name="T11" fmla="*/ 94 h 95"/>
                <a:gd name="T12" fmla="*/ 1 w 70"/>
                <a:gd name="T13" fmla="*/ 94 h 95"/>
                <a:gd name="T14" fmla="*/ 1 w 70"/>
                <a:gd name="T15" fmla="*/ 92 h 95"/>
                <a:gd name="T16" fmla="*/ 31 w 70"/>
                <a:gd name="T17" fmla="*/ 2 h 95"/>
                <a:gd name="T18" fmla="*/ 33 w 70"/>
                <a:gd name="T19" fmla="*/ 0 h 95"/>
                <a:gd name="T20" fmla="*/ 39 w 70"/>
                <a:gd name="T21" fmla="*/ 0 h 95"/>
                <a:gd name="T22" fmla="*/ 41 w 70"/>
                <a:gd name="T23" fmla="*/ 2 h 95"/>
                <a:gd name="T24" fmla="*/ 70 w 70"/>
                <a:gd name="T25" fmla="*/ 93 h 95"/>
                <a:gd name="T26" fmla="*/ 69 w 70"/>
                <a:gd name="T27" fmla="*/ 95 h 95"/>
                <a:gd name="T28" fmla="*/ 63 w 70"/>
                <a:gd name="T29" fmla="*/ 95 h 95"/>
                <a:gd name="T30" fmla="*/ 40 w 70"/>
                <a:gd name="T31" fmla="*/ 22 h 95"/>
                <a:gd name="T32" fmla="*/ 36 w 70"/>
                <a:gd name="T33" fmla="*/ 8 h 95"/>
                <a:gd name="T34" fmla="*/ 36 w 70"/>
                <a:gd name="T35" fmla="*/ 8 h 95"/>
                <a:gd name="T36" fmla="*/ 31 w 70"/>
                <a:gd name="T37" fmla="*/ 21 h 95"/>
                <a:gd name="T38" fmla="*/ 19 w 70"/>
                <a:gd name="T39" fmla="*/ 61 h 95"/>
                <a:gd name="T40" fmla="*/ 52 w 70"/>
                <a:gd name="T41" fmla="*/ 61 h 95"/>
                <a:gd name="T42" fmla="*/ 40 w 70"/>
                <a:gd name="T43"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95">
                  <a:moveTo>
                    <a:pt x="63" y="95"/>
                  </a:moveTo>
                  <a:cubicBezTo>
                    <a:pt x="62" y="95"/>
                    <a:pt x="62" y="94"/>
                    <a:pt x="61" y="93"/>
                  </a:cubicBezTo>
                  <a:cubicBezTo>
                    <a:pt x="54" y="69"/>
                    <a:pt x="54" y="69"/>
                    <a:pt x="54" y="69"/>
                  </a:cubicBezTo>
                  <a:cubicBezTo>
                    <a:pt x="16" y="68"/>
                    <a:pt x="16" y="68"/>
                    <a:pt x="16" y="68"/>
                  </a:cubicBezTo>
                  <a:cubicBezTo>
                    <a:pt x="8" y="92"/>
                    <a:pt x="8" y="92"/>
                    <a:pt x="8" y="92"/>
                  </a:cubicBezTo>
                  <a:cubicBezTo>
                    <a:pt x="8" y="94"/>
                    <a:pt x="7" y="94"/>
                    <a:pt x="5" y="94"/>
                  </a:cubicBezTo>
                  <a:cubicBezTo>
                    <a:pt x="1" y="94"/>
                    <a:pt x="1" y="94"/>
                    <a:pt x="1" y="94"/>
                  </a:cubicBezTo>
                  <a:cubicBezTo>
                    <a:pt x="0" y="94"/>
                    <a:pt x="0" y="94"/>
                    <a:pt x="1" y="92"/>
                  </a:cubicBezTo>
                  <a:cubicBezTo>
                    <a:pt x="31" y="2"/>
                    <a:pt x="31" y="2"/>
                    <a:pt x="31" y="2"/>
                  </a:cubicBezTo>
                  <a:cubicBezTo>
                    <a:pt x="31" y="1"/>
                    <a:pt x="31" y="0"/>
                    <a:pt x="33" y="0"/>
                  </a:cubicBezTo>
                  <a:cubicBezTo>
                    <a:pt x="39" y="0"/>
                    <a:pt x="39" y="0"/>
                    <a:pt x="39" y="0"/>
                  </a:cubicBezTo>
                  <a:cubicBezTo>
                    <a:pt x="40" y="0"/>
                    <a:pt x="41" y="1"/>
                    <a:pt x="41" y="2"/>
                  </a:cubicBezTo>
                  <a:cubicBezTo>
                    <a:pt x="70" y="93"/>
                    <a:pt x="70" y="93"/>
                    <a:pt x="70" y="93"/>
                  </a:cubicBezTo>
                  <a:cubicBezTo>
                    <a:pt x="70" y="94"/>
                    <a:pt x="70" y="95"/>
                    <a:pt x="69" y="95"/>
                  </a:cubicBezTo>
                  <a:lnTo>
                    <a:pt x="63" y="95"/>
                  </a:lnTo>
                  <a:close/>
                  <a:moveTo>
                    <a:pt x="40" y="22"/>
                  </a:moveTo>
                  <a:cubicBezTo>
                    <a:pt x="36" y="10"/>
                    <a:pt x="37" y="13"/>
                    <a:pt x="36" y="8"/>
                  </a:cubicBezTo>
                  <a:cubicBezTo>
                    <a:pt x="36" y="8"/>
                    <a:pt x="36" y="8"/>
                    <a:pt x="36" y="8"/>
                  </a:cubicBezTo>
                  <a:cubicBezTo>
                    <a:pt x="34" y="12"/>
                    <a:pt x="35" y="10"/>
                    <a:pt x="31" y="21"/>
                  </a:cubicBezTo>
                  <a:cubicBezTo>
                    <a:pt x="19" y="61"/>
                    <a:pt x="19" y="61"/>
                    <a:pt x="19" y="61"/>
                  </a:cubicBezTo>
                  <a:cubicBezTo>
                    <a:pt x="52" y="61"/>
                    <a:pt x="52" y="61"/>
                    <a:pt x="52" y="61"/>
                  </a:cubicBezTo>
                  <a:lnTo>
                    <a:pt x="4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5">
              <a:extLst>
                <a:ext uri="{FF2B5EF4-FFF2-40B4-BE49-F238E27FC236}">
                  <a16:creationId xmlns:a16="http://schemas.microsoft.com/office/drawing/2014/main" id="{1E94F8FD-2C9C-4FAC-B465-2A181EE0F9C4}"/>
                </a:ext>
              </a:extLst>
            </p:cNvPr>
            <p:cNvSpPr>
              <a:spLocks noEditPoints="1"/>
            </p:cNvSpPr>
            <p:nvPr/>
          </p:nvSpPr>
          <p:spPr bwMode="auto">
            <a:xfrm>
              <a:off x="4065588" y="23813"/>
              <a:ext cx="15875" cy="166688"/>
            </a:xfrm>
            <a:custGeom>
              <a:avLst/>
              <a:gdLst>
                <a:gd name="T0" fmla="*/ 5 w 9"/>
                <a:gd name="T1" fmla="*/ 10 h 91"/>
                <a:gd name="T2" fmla="*/ 0 w 9"/>
                <a:gd name="T3" fmla="*/ 5 h 91"/>
                <a:gd name="T4" fmla="*/ 5 w 9"/>
                <a:gd name="T5" fmla="*/ 0 h 91"/>
                <a:gd name="T6" fmla="*/ 9 w 9"/>
                <a:gd name="T7" fmla="*/ 5 h 91"/>
                <a:gd name="T8" fmla="*/ 5 w 9"/>
                <a:gd name="T9" fmla="*/ 10 h 91"/>
                <a:gd name="T10" fmla="*/ 3 w 9"/>
                <a:gd name="T11" fmla="*/ 22 h 91"/>
                <a:gd name="T12" fmla="*/ 6 w 9"/>
                <a:gd name="T13" fmla="*/ 22 h 91"/>
                <a:gd name="T14" fmla="*/ 8 w 9"/>
                <a:gd name="T15" fmla="*/ 24 h 91"/>
                <a:gd name="T16" fmla="*/ 7 w 9"/>
                <a:gd name="T17" fmla="*/ 89 h 91"/>
                <a:gd name="T18" fmla="*/ 6 w 9"/>
                <a:gd name="T19" fmla="*/ 91 h 91"/>
                <a:gd name="T20" fmla="*/ 2 w 9"/>
                <a:gd name="T21" fmla="*/ 91 h 91"/>
                <a:gd name="T22" fmla="*/ 0 w 9"/>
                <a:gd name="T23" fmla="*/ 89 h 91"/>
                <a:gd name="T24" fmla="*/ 1 w 9"/>
                <a:gd name="T25" fmla="*/ 24 h 91"/>
                <a:gd name="T26" fmla="*/ 3 w 9"/>
                <a:gd name="T27"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1">
                  <a:moveTo>
                    <a:pt x="5" y="10"/>
                  </a:moveTo>
                  <a:cubicBezTo>
                    <a:pt x="0" y="10"/>
                    <a:pt x="0" y="8"/>
                    <a:pt x="0" y="5"/>
                  </a:cubicBezTo>
                  <a:cubicBezTo>
                    <a:pt x="0" y="2"/>
                    <a:pt x="1" y="0"/>
                    <a:pt x="5" y="0"/>
                  </a:cubicBezTo>
                  <a:cubicBezTo>
                    <a:pt x="9" y="0"/>
                    <a:pt x="9" y="2"/>
                    <a:pt x="9" y="5"/>
                  </a:cubicBezTo>
                  <a:cubicBezTo>
                    <a:pt x="9" y="8"/>
                    <a:pt x="9" y="10"/>
                    <a:pt x="5" y="10"/>
                  </a:cubicBezTo>
                  <a:close/>
                  <a:moveTo>
                    <a:pt x="3" y="22"/>
                  </a:moveTo>
                  <a:cubicBezTo>
                    <a:pt x="6" y="22"/>
                    <a:pt x="6" y="22"/>
                    <a:pt x="6" y="22"/>
                  </a:cubicBezTo>
                  <a:cubicBezTo>
                    <a:pt x="8" y="22"/>
                    <a:pt x="8" y="22"/>
                    <a:pt x="8" y="24"/>
                  </a:cubicBezTo>
                  <a:cubicBezTo>
                    <a:pt x="7" y="89"/>
                    <a:pt x="7" y="89"/>
                    <a:pt x="7" y="89"/>
                  </a:cubicBezTo>
                  <a:cubicBezTo>
                    <a:pt x="7" y="90"/>
                    <a:pt x="7" y="91"/>
                    <a:pt x="6" y="91"/>
                  </a:cubicBezTo>
                  <a:cubicBezTo>
                    <a:pt x="2" y="91"/>
                    <a:pt x="2" y="91"/>
                    <a:pt x="2" y="91"/>
                  </a:cubicBezTo>
                  <a:cubicBezTo>
                    <a:pt x="1" y="91"/>
                    <a:pt x="0" y="90"/>
                    <a:pt x="0" y="89"/>
                  </a:cubicBezTo>
                  <a:cubicBezTo>
                    <a:pt x="1" y="24"/>
                    <a:pt x="1" y="24"/>
                    <a:pt x="1" y="24"/>
                  </a:cubicBezTo>
                  <a:cubicBezTo>
                    <a:pt x="1" y="22"/>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86">
              <a:extLst>
                <a:ext uri="{FF2B5EF4-FFF2-40B4-BE49-F238E27FC236}">
                  <a16:creationId xmlns:a16="http://schemas.microsoft.com/office/drawing/2014/main" id="{CDB15E15-F6CF-47F8-9A93-E92B5CB7830B}"/>
                </a:ext>
              </a:extLst>
            </p:cNvPr>
            <p:cNvSpPr>
              <a:spLocks/>
            </p:cNvSpPr>
            <p:nvPr/>
          </p:nvSpPr>
          <p:spPr bwMode="auto">
            <a:xfrm>
              <a:off x="4119563" y="61913"/>
              <a:ext cx="50800" cy="128588"/>
            </a:xfrm>
            <a:custGeom>
              <a:avLst/>
              <a:gdLst>
                <a:gd name="T0" fmla="*/ 8 w 28"/>
                <a:gd name="T1" fmla="*/ 15 h 70"/>
                <a:gd name="T2" fmla="*/ 7 w 28"/>
                <a:gd name="T3" fmla="*/ 68 h 70"/>
                <a:gd name="T4" fmla="*/ 5 w 28"/>
                <a:gd name="T5" fmla="*/ 70 h 70"/>
                <a:gd name="T6" fmla="*/ 1 w 28"/>
                <a:gd name="T7" fmla="*/ 70 h 70"/>
                <a:gd name="T8" fmla="*/ 0 w 28"/>
                <a:gd name="T9" fmla="*/ 68 h 70"/>
                <a:gd name="T10" fmla="*/ 0 w 28"/>
                <a:gd name="T11" fmla="*/ 3 h 70"/>
                <a:gd name="T12" fmla="*/ 2 w 28"/>
                <a:gd name="T13" fmla="*/ 1 h 70"/>
                <a:gd name="T14" fmla="*/ 6 w 28"/>
                <a:gd name="T15" fmla="*/ 1 h 70"/>
                <a:gd name="T16" fmla="*/ 8 w 28"/>
                <a:gd name="T17" fmla="*/ 3 h 70"/>
                <a:gd name="T18" fmla="*/ 8 w 28"/>
                <a:gd name="T19" fmla="*/ 9 h 70"/>
                <a:gd name="T20" fmla="*/ 26 w 28"/>
                <a:gd name="T21" fmla="*/ 1 h 70"/>
                <a:gd name="T22" fmla="*/ 27 w 28"/>
                <a:gd name="T23" fmla="*/ 2 h 70"/>
                <a:gd name="T24" fmla="*/ 28 w 28"/>
                <a:gd name="T25" fmla="*/ 6 h 70"/>
                <a:gd name="T26" fmla="*/ 27 w 28"/>
                <a:gd name="T27" fmla="*/ 8 h 70"/>
                <a:gd name="T28" fmla="*/ 8 w 28"/>
                <a:gd name="T2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0">
                  <a:moveTo>
                    <a:pt x="8" y="15"/>
                  </a:moveTo>
                  <a:cubicBezTo>
                    <a:pt x="7" y="68"/>
                    <a:pt x="7" y="68"/>
                    <a:pt x="7" y="68"/>
                  </a:cubicBezTo>
                  <a:cubicBezTo>
                    <a:pt x="7" y="70"/>
                    <a:pt x="7" y="70"/>
                    <a:pt x="5" y="70"/>
                  </a:cubicBezTo>
                  <a:cubicBezTo>
                    <a:pt x="1" y="70"/>
                    <a:pt x="1" y="70"/>
                    <a:pt x="1" y="70"/>
                  </a:cubicBezTo>
                  <a:cubicBezTo>
                    <a:pt x="0" y="70"/>
                    <a:pt x="0" y="70"/>
                    <a:pt x="0" y="68"/>
                  </a:cubicBezTo>
                  <a:cubicBezTo>
                    <a:pt x="0" y="3"/>
                    <a:pt x="0" y="3"/>
                    <a:pt x="0" y="3"/>
                  </a:cubicBezTo>
                  <a:cubicBezTo>
                    <a:pt x="0" y="2"/>
                    <a:pt x="1" y="1"/>
                    <a:pt x="2" y="1"/>
                  </a:cubicBezTo>
                  <a:cubicBezTo>
                    <a:pt x="6" y="1"/>
                    <a:pt x="6" y="1"/>
                    <a:pt x="6" y="1"/>
                  </a:cubicBezTo>
                  <a:cubicBezTo>
                    <a:pt x="7" y="1"/>
                    <a:pt x="8" y="1"/>
                    <a:pt x="8" y="3"/>
                  </a:cubicBezTo>
                  <a:cubicBezTo>
                    <a:pt x="8" y="9"/>
                    <a:pt x="8" y="9"/>
                    <a:pt x="8" y="9"/>
                  </a:cubicBezTo>
                  <a:cubicBezTo>
                    <a:pt x="11" y="7"/>
                    <a:pt x="19" y="2"/>
                    <a:pt x="26" y="1"/>
                  </a:cubicBezTo>
                  <a:cubicBezTo>
                    <a:pt x="27" y="0"/>
                    <a:pt x="27" y="1"/>
                    <a:pt x="27" y="2"/>
                  </a:cubicBezTo>
                  <a:cubicBezTo>
                    <a:pt x="28" y="6"/>
                    <a:pt x="28" y="6"/>
                    <a:pt x="28" y="6"/>
                  </a:cubicBezTo>
                  <a:cubicBezTo>
                    <a:pt x="28" y="7"/>
                    <a:pt x="28" y="8"/>
                    <a:pt x="27" y="8"/>
                  </a:cubicBezTo>
                  <a:cubicBezTo>
                    <a:pt x="19" y="10"/>
                    <a:pt x="11" y="14"/>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87">
              <a:extLst>
                <a:ext uri="{FF2B5EF4-FFF2-40B4-BE49-F238E27FC236}">
                  <a16:creationId xmlns:a16="http://schemas.microsoft.com/office/drawing/2014/main" id="{DC1866D6-FB65-4E2D-B377-A089E68A835C}"/>
                </a:ext>
              </a:extLst>
            </p:cNvPr>
            <p:cNvSpPr>
              <a:spLocks/>
            </p:cNvSpPr>
            <p:nvPr/>
          </p:nvSpPr>
          <p:spPr bwMode="auto">
            <a:xfrm>
              <a:off x="4192588" y="9525"/>
              <a:ext cx="31750" cy="184150"/>
            </a:xfrm>
            <a:custGeom>
              <a:avLst/>
              <a:gdLst>
                <a:gd name="T0" fmla="*/ 17 w 17"/>
                <a:gd name="T1" fmla="*/ 97 h 100"/>
                <a:gd name="T2" fmla="*/ 15 w 17"/>
                <a:gd name="T3" fmla="*/ 99 h 100"/>
                <a:gd name="T4" fmla="*/ 9 w 17"/>
                <a:gd name="T5" fmla="*/ 100 h 100"/>
                <a:gd name="T6" fmla="*/ 0 w 17"/>
                <a:gd name="T7" fmla="*/ 91 h 100"/>
                <a:gd name="T8" fmla="*/ 1 w 17"/>
                <a:gd name="T9" fmla="*/ 1 h 100"/>
                <a:gd name="T10" fmla="*/ 2 w 17"/>
                <a:gd name="T11" fmla="*/ 0 h 100"/>
                <a:gd name="T12" fmla="*/ 7 w 17"/>
                <a:gd name="T13" fmla="*/ 0 h 100"/>
                <a:gd name="T14" fmla="*/ 8 w 17"/>
                <a:gd name="T15" fmla="*/ 1 h 100"/>
                <a:gd name="T16" fmla="*/ 8 w 17"/>
                <a:gd name="T17" fmla="*/ 88 h 100"/>
                <a:gd name="T18" fmla="*/ 14 w 17"/>
                <a:gd name="T19" fmla="*/ 93 h 100"/>
                <a:gd name="T20" fmla="*/ 16 w 17"/>
                <a:gd name="T21" fmla="*/ 94 h 100"/>
                <a:gd name="T22" fmla="*/ 17 w 17"/>
                <a:gd name="T23" fmla="*/ 9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00">
                  <a:moveTo>
                    <a:pt x="17" y="97"/>
                  </a:moveTo>
                  <a:cubicBezTo>
                    <a:pt x="17" y="98"/>
                    <a:pt x="17" y="99"/>
                    <a:pt x="15" y="99"/>
                  </a:cubicBezTo>
                  <a:cubicBezTo>
                    <a:pt x="13" y="100"/>
                    <a:pt x="11" y="100"/>
                    <a:pt x="9" y="100"/>
                  </a:cubicBezTo>
                  <a:cubicBezTo>
                    <a:pt x="2" y="100"/>
                    <a:pt x="0" y="97"/>
                    <a:pt x="0" y="91"/>
                  </a:cubicBezTo>
                  <a:cubicBezTo>
                    <a:pt x="1" y="1"/>
                    <a:pt x="1" y="1"/>
                    <a:pt x="1" y="1"/>
                  </a:cubicBezTo>
                  <a:cubicBezTo>
                    <a:pt x="1" y="0"/>
                    <a:pt x="1" y="0"/>
                    <a:pt x="2" y="0"/>
                  </a:cubicBezTo>
                  <a:cubicBezTo>
                    <a:pt x="7" y="0"/>
                    <a:pt x="7" y="0"/>
                    <a:pt x="7" y="0"/>
                  </a:cubicBezTo>
                  <a:cubicBezTo>
                    <a:pt x="8" y="0"/>
                    <a:pt x="8" y="0"/>
                    <a:pt x="8" y="1"/>
                  </a:cubicBezTo>
                  <a:cubicBezTo>
                    <a:pt x="8" y="88"/>
                    <a:pt x="8" y="88"/>
                    <a:pt x="8" y="88"/>
                  </a:cubicBezTo>
                  <a:cubicBezTo>
                    <a:pt x="8" y="93"/>
                    <a:pt x="9" y="93"/>
                    <a:pt x="14" y="93"/>
                  </a:cubicBezTo>
                  <a:cubicBezTo>
                    <a:pt x="16" y="93"/>
                    <a:pt x="16" y="93"/>
                    <a:pt x="16" y="94"/>
                  </a:cubicBezTo>
                  <a:lnTo>
                    <a:pt x="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88">
              <a:extLst>
                <a:ext uri="{FF2B5EF4-FFF2-40B4-BE49-F238E27FC236}">
                  <a16:creationId xmlns:a16="http://schemas.microsoft.com/office/drawing/2014/main" id="{90C62F2D-BB28-49A5-A92D-8AB4D0F14907}"/>
                </a:ext>
              </a:extLst>
            </p:cNvPr>
            <p:cNvSpPr>
              <a:spLocks noEditPoints="1"/>
            </p:cNvSpPr>
            <p:nvPr/>
          </p:nvSpPr>
          <p:spPr bwMode="auto">
            <a:xfrm>
              <a:off x="4249738" y="25400"/>
              <a:ext cx="17463" cy="168275"/>
            </a:xfrm>
            <a:custGeom>
              <a:avLst/>
              <a:gdLst>
                <a:gd name="T0" fmla="*/ 5 w 10"/>
                <a:gd name="T1" fmla="*/ 10 h 91"/>
                <a:gd name="T2" fmla="*/ 0 w 10"/>
                <a:gd name="T3" fmla="*/ 5 h 91"/>
                <a:gd name="T4" fmla="*/ 5 w 10"/>
                <a:gd name="T5" fmla="*/ 0 h 91"/>
                <a:gd name="T6" fmla="*/ 10 w 10"/>
                <a:gd name="T7" fmla="*/ 5 h 91"/>
                <a:gd name="T8" fmla="*/ 5 w 10"/>
                <a:gd name="T9" fmla="*/ 10 h 91"/>
                <a:gd name="T10" fmla="*/ 3 w 10"/>
                <a:gd name="T11" fmla="*/ 22 h 91"/>
                <a:gd name="T12" fmla="*/ 7 w 10"/>
                <a:gd name="T13" fmla="*/ 22 h 91"/>
                <a:gd name="T14" fmla="*/ 9 w 10"/>
                <a:gd name="T15" fmla="*/ 24 h 91"/>
                <a:gd name="T16" fmla="*/ 8 w 10"/>
                <a:gd name="T17" fmla="*/ 89 h 91"/>
                <a:gd name="T18" fmla="*/ 6 w 10"/>
                <a:gd name="T19" fmla="*/ 91 h 91"/>
                <a:gd name="T20" fmla="*/ 3 w 10"/>
                <a:gd name="T21" fmla="*/ 91 h 91"/>
                <a:gd name="T22" fmla="*/ 0 w 10"/>
                <a:gd name="T23" fmla="*/ 89 h 91"/>
                <a:gd name="T24" fmla="*/ 1 w 10"/>
                <a:gd name="T25" fmla="*/ 24 h 91"/>
                <a:gd name="T26" fmla="*/ 3 w 10"/>
                <a:gd name="T27"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1">
                  <a:moveTo>
                    <a:pt x="5" y="10"/>
                  </a:moveTo>
                  <a:cubicBezTo>
                    <a:pt x="1" y="10"/>
                    <a:pt x="0" y="7"/>
                    <a:pt x="0" y="5"/>
                  </a:cubicBezTo>
                  <a:cubicBezTo>
                    <a:pt x="0" y="2"/>
                    <a:pt x="1" y="0"/>
                    <a:pt x="5" y="0"/>
                  </a:cubicBezTo>
                  <a:cubicBezTo>
                    <a:pt x="9" y="0"/>
                    <a:pt x="10" y="2"/>
                    <a:pt x="10" y="5"/>
                  </a:cubicBezTo>
                  <a:cubicBezTo>
                    <a:pt x="10" y="8"/>
                    <a:pt x="9" y="10"/>
                    <a:pt x="5" y="10"/>
                  </a:cubicBezTo>
                  <a:close/>
                  <a:moveTo>
                    <a:pt x="3" y="22"/>
                  </a:moveTo>
                  <a:cubicBezTo>
                    <a:pt x="7" y="22"/>
                    <a:pt x="7" y="22"/>
                    <a:pt x="7" y="22"/>
                  </a:cubicBezTo>
                  <a:cubicBezTo>
                    <a:pt x="8" y="22"/>
                    <a:pt x="9" y="22"/>
                    <a:pt x="9" y="24"/>
                  </a:cubicBezTo>
                  <a:cubicBezTo>
                    <a:pt x="8" y="89"/>
                    <a:pt x="8" y="89"/>
                    <a:pt x="8" y="89"/>
                  </a:cubicBezTo>
                  <a:cubicBezTo>
                    <a:pt x="8" y="90"/>
                    <a:pt x="8" y="91"/>
                    <a:pt x="6" y="91"/>
                  </a:cubicBezTo>
                  <a:cubicBezTo>
                    <a:pt x="3" y="91"/>
                    <a:pt x="3" y="91"/>
                    <a:pt x="3" y="91"/>
                  </a:cubicBezTo>
                  <a:cubicBezTo>
                    <a:pt x="1" y="91"/>
                    <a:pt x="0" y="90"/>
                    <a:pt x="0" y="89"/>
                  </a:cubicBezTo>
                  <a:cubicBezTo>
                    <a:pt x="1" y="24"/>
                    <a:pt x="1" y="24"/>
                    <a:pt x="1" y="24"/>
                  </a:cubicBezTo>
                  <a:cubicBezTo>
                    <a:pt x="1" y="22"/>
                    <a:pt x="2"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89">
              <a:extLst>
                <a:ext uri="{FF2B5EF4-FFF2-40B4-BE49-F238E27FC236}">
                  <a16:creationId xmlns:a16="http://schemas.microsoft.com/office/drawing/2014/main" id="{4816DDD3-6E88-4BF2-B387-1CB6E48BEA29}"/>
                </a:ext>
              </a:extLst>
            </p:cNvPr>
            <p:cNvSpPr>
              <a:spLocks/>
            </p:cNvSpPr>
            <p:nvPr/>
          </p:nvSpPr>
          <p:spPr bwMode="auto">
            <a:xfrm>
              <a:off x="4297363" y="65088"/>
              <a:ext cx="98425" cy="128588"/>
            </a:xfrm>
            <a:custGeom>
              <a:avLst/>
              <a:gdLst>
                <a:gd name="T0" fmla="*/ 34 w 54"/>
                <a:gd name="T1" fmla="*/ 7 h 70"/>
                <a:gd name="T2" fmla="*/ 8 w 54"/>
                <a:gd name="T3" fmla="*/ 15 h 70"/>
                <a:gd name="T4" fmla="*/ 8 w 54"/>
                <a:gd name="T5" fmla="*/ 68 h 70"/>
                <a:gd name="T6" fmla="*/ 6 w 54"/>
                <a:gd name="T7" fmla="*/ 70 h 70"/>
                <a:gd name="T8" fmla="*/ 2 w 54"/>
                <a:gd name="T9" fmla="*/ 70 h 70"/>
                <a:gd name="T10" fmla="*/ 0 w 54"/>
                <a:gd name="T11" fmla="*/ 68 h 70"/>
                <a:gd name="T12" fmla="*/ 1 w 54"/>
                <a:gd name="T13" fmla="*/ 3 h 70"/>
                <a:gd name="T14" fmla="*/ 3 w 54"/>
                <a:gd name="T15" fmla="*/ 1 h 70"/>
                <a:gd name="T16" fmla="*/ 6 w 54"/>
                <a:gd name="T17" fmla="*/ 1 h 70"/>
                <a:gd name="T18" fmla="*/ 8 w 54"/>
                <a:gd name="T19" fmla="*/ 3 h 70"/>
                <a:gd name="T20" fmla="*/ 8 w 54"/>
                <a:gd name="T21" fmla="*/ 9 h 70"/>
                <a:gd name="T22" fmla="*/ 35 w 54"/>
                <a:gd name="T23" fmla="*/ 0 h 70"/>
                <a:gd name="T24" fmla="*/ 54 w 54"/>
                <a:gd name="T25" fmla="*/ 25 h 70"/>
                <a:gd name="T26" fmla="*/ 54 w 54"/>
                <a:gd name="T27" fmla="*/ 68 h 70"/>
                <a:gd name="T28" fmla="*/ 52 w 54"/>
                <a:gd name="T29" fmla="*/ 70 h 70"/>
                <a:gd name="T30" fmla="*/ 48 w 54"/>
                <a:gd name="T31" fmla="*/ 70 h 70"/>
                <a:gd name="T32" fmla="*/ 46 w 54"/>
                <a:gd name="T33" fmla="*/ 68 h 70"/>
                <a:gd name="T34" fmla="*/ 47 w 54"/>
                <a:gd name="T35" fmla="*/ 27 h 70"/>
                <a:gd name="T36" fmla="*/ 34 w 54"/>
                <a:gd name="T37"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70">
                  <a:moveTo>
                    <a:pt x="34" y="7"/>
                  </a:moveTo>
                  <a:cubicBezTo>
                    <a:pt x="26" y="7"/>
                    <a:pt x="12" y="13"/>
                    <a:pt x="8" y="15"/>
                  </a:cubicBezTo>
                  <a:cubicBezTo>
                    <a:pt x="8" y="68"/>
                    <a:pt x="8" y="68"/>
                    <a:pt x="8" y="68"/>
                  </a:cubicBezTo>
                  <a:cubicBezTo>
                    <a:pt x="8" y="69"/>
                    <a:pt x="7" y="70"/>
                    <a:pt x="6" y="70"/>
                  </a:cubicBezTo>
                  <a:cubicBezTo>
                    <a:pt x="2" y="70"/>
                    <a:pt x="2" y="70"/>
                    <a:pt x="2" y="70"/>
                  </a:cubicBezTo>
                  <a:cubicBezTo>
                    <a:pt x="1" y="70"/>
                    <a:pt x="0" y="70"/>
                    <a:pt x="0" y="68"/>
                  </a:cubicBezTo>
                  <a:cubicBezTo>
                    <a:pt x="1" y="3"/>
                    <a:pt x="1" y="3"/>
                    <a:pt x="1" y="3"/>
                  </a:cubicBezTo>
                  <a:cubicBezTo>
                    <a:pt x="1" y="1"/>
                    <a:pt x="1" y="1"/>
                    <a:pt x="3" y="1"/>
                  </a:cubicBezTo>
                  <a:cubicBezTo>
                    <a:pt x="6" y="1"/>
                    <a:pt x="6" y="1"/>
                    <a:pt x="6" y="1"/>
                  </a:cubicBezTo>
                  <a:cubicBezTo>
                    <a:pt x="8" y="1"/>
                    <a:pt x="8" y="1"/>
                    <a:pt x="8" y="3"/>
                  </a:cubicBezTo>
                  <a:cubicBezTo>
                    <a:pt x="8" y="9"/>
                    <a:pt x="8" y="9"/>
                    <a:pt x="8" y="9"/>
                  </a:cubicBezTo>
                  <a:cubicBezTo>
                    <a:pt x="12" y="7"/>
                    <a:pt x="24" y="0"/>
                    <a:pt x="35" y="0"/>
                  </a:cubicBezTo>
                  <a:cubicBezTo>
                    <a:pt x="52" y="0"/>
                    <a:pt x="54" y="10"/>
                    <a:pt x="54" y="25"/>
                  </a:cubicBezTo>
                  <a:cubicBezTo>
                    <a:pt x="54" y="68"/>
                    <a:pt x="54" y="68"/>
                    <a:pt x="54" y="68"/>
                  </a:cubicBezTo>
                  <a:cubicBezTo>
                    <a:pt x="54" y="70"/>
                    <a:pt x="53" y="70"/>
                    <a:pt x="52" y="70"/>
                  </a:cubicBezTo>
                  <a:cubicBezTo>
                    <a:pt x="48" y="70"/>
                    <a:pt x="48" y="70"/>
                    <a:pt x="48" y="70"/>
                  </a:cubicBezTo>
                  <a:cubicBezTo>
                    <a:pt x="47" y="70"/>
                    <a:pt x="46" y="70"/>
                    <a:pt x="46" y="68"/>
                  </a:cubicBezTo>
                  <a:cubicBezTo>
                    <a:pt x="47" y="27"/>
                    <a:pt x="47" y="27"/>
                    <a:pt x="47" y="27"/>
                  </a:cubicBezTo>
                  <a:cubicBezTo>
                    <a:pt x="47" y="11"/>
                    <a:pt x="45" y="7"/>
                    <a:pt x="3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90">
              <a:extLst>
                <a:ext uri="{FF2B5EF4-FFF2-40B4-BE49-F238E27FC236}">
                  <a16:creationId xmlns:a16="http://schemas.microsoft.com/office/drawing/2014/main" id="{A149BA2D-4A9F-4666-A862-DF87DB71F426}"/>
                </a:ext>
              </a:extLst>
            </p:cNvPr>
            <p:cNvSpPr>
              <a:spLocks noEditPoints="1"/>
            </p:cNvSpPr>
            <p:nvPr/>
          </p:nvSpPr>
          <p:spPr bwMode="auto">
            <a:xfrm>
              <a:off x="4422776" y="65088"/>
              <a:ext cx="101600" cy="131763"/>
            </a:xfrm>
            <a:custGeom>
              <a:avLst/>
              <a:gdLst>
                <a:gd name="T0" fmla="*/ 56 w 56"/>
                <a:gd name="T1" fmla="*/ 32 h 72"/>
                <a:gd name="T2" fmla="*/ 50 w 56"/>
                <a:gd name="T3" fmla="*/ 39 h 72"/>
                <a:gd name="T4" fmla="*/ 8 w 56"/>
                <a:gd name="T5" fmla="*/ 38 h 72"/>
                <a:gd name="T6" fmla="*/ 28 w 56"/>
                <a:gd name="T7" fmla="*/ 65 h 72"/>
                <a:gd name="T8" fmla="*/ 50 w 56"/>
                <a:gd name="T9" fmla="*/ 63 h 72"/>
                <a:gd name="T10" fmla="*/ 51 w 56"/>
                <a:gd name="T11" fmla="*/ 64 h 72"/>
                <a:gd name="T12" fmla="*/ 52 w 56"/>
                <a:gd name="T13" fmla="*/ 66 h 72"/>
                <a:gd name="T14" fmla="*/ 50 w 56"/>
                <a:gd name="T15" fmla="*/ 69 h 72"/>
                <a:gd name="T16" fmla="*/ 27 w 56"/>
                <a:gd name="T17" fmla="*/ 72 h 72"/>
                <a:gd name="T18" fmla="*/ 0 w 56"/>
                <a:gd name="T19" fmla="*/ 36 h 72"/>
                <a:gd name="T20" fmla="*/ 28 w 56"/>
                <a:gd name="T21" fmla="*/ 0 h 72"/>
                <a:gd name="T22" fmla="*/ 56 w 56"/>
                <a:gd name="T23" fmla="*/ 32 h 72"/>
                <a:gd name="T24" fmla="*/ 8 w 56"/>
                <a:gd name="T25" fmla="*/ 32 h 72"/>
                <a:gd name="T26" fmla="*/ 48 w 56"/>
                <a:gd name="T27" fmla="*/ 32 h 72"/>
                <a:gd name="T28" fmla="*/ 28 w 56"/>
                <a:gd name="T29" fmla="*/ 7 h 72"/>
                <a:gd name="T30" fmla="*/ 8 w 56"/>
                <a:gd name="T3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2">
                  <a:moveTo>
                    <a:pt x="56" y="32"/>
                  </a:moveTo>
                  <a:cubicBezTo>
                    <a:pt x="56" y="36"/>
                    <a:pt x="55" y="39"/>
                    <a:pt x="50" y="39"/>
                  </a:cubicBezTo>
                  <a:cubicBezTo>
                    <a:pt x="8" y="38"/>
                    <a:pt x="8" y="38"/>
                    <a:pt x="8" y="38"/>
                  </a:cubicBezTo>
                  <a:cubicBezTo>
                    <a:pt x="9" y="57"/>
                    <a:pt x="11" y="64"/>
                    <a:pt x="28" y="65"/>
                  </a:cubicBezTo>
                  <a:cubicBezTo>
                    <a:pt x="33" y="65"/>
                    <a:pt x="45" y="63"/>
                    <a:pt x="50" y="63"/>
                  </a:cubicBezTo>
                  <a:cubicBezTo>
                    <a:pt x="51" y="63"/>
                    <a:pt x="51" y="63"/>
                    <a:pt x="51" y="64"/>
                  </a:cubicBezTo>
                  <a:cubicBezTo>
                    <a:pt x="52" y="66"/>
                    <a:pt x="52" y="66"/>
                    <a:pt x="52" y="66"/>
                  </a:cubicBezTo>
                  <a:cubicBezTo>
                    <a:pt x="52" y="67"/>
                    <a:pt x="52" y="68"/>
                    <a:pt x="50" y="69"/>
                  </a:cubicBezTo>
                  <a:cubicBezTo>
                    <a:pt x="46" y="70"/>
                    <a:pt x="34" y="72"/>
                    <a:pt x="27" y="72"/>
                  </a:cubicBezTo>
                  <a:cubicBezTo>
                    <a:pt x="2" y="72"/>
                    <a:pt x="0" y="55"/>
                    <a:pt x="0" y="36"/>
                  </a:cubicBezTo>
                  <a:cubicBezTo>
                    <a:pt x="0" y="19"/>
                    <a:pt x="2" y="0"/>
                    <a:pt x="28" y="0"/>
                  </a:cubicBezTo>
                  <a:cubicBezTo>
                    <a:pt x="52" y="1"/>
                    <a:pt x="56" y="16"/>
                    <a:pt x="56" y="32"/>
                  </a:cubicBezTo>
                  <a:close/>
                  <a:moveTo>
                    <a:pt x="8" y="32"/>
                  </a:moveTo>
                  <a:cubicBezTo>
                    <a:pt x="48" y="32"/>
                    <a:pt x="48" y="32"/>
                    <a:pt x="48" y="32"/>
                  </a:cubicBezTo>
                  <a:cubicBezTo>
                    <a:pt x="48" y="20"/>
                    <a:pt x="46" y="8"/>
                    <a:pt x="28" y="7"/>
                  </a:cubicBezTo>
                  <a:cubicBezTo>
                    <a:pt x="11" y="7"/>
                    <a:pt x="9" y="16"/>
                    <a:pt x="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91">
              <a:extLst>
                <a:ext uri="{FF2B5EF4-FFF2-40B4-BE49-F238E27FC236}">
                  <a16:creationId xmlns:a16="http://schemas.microsoft.com/office/drawing/2014/main" id="{16D5D48B-481C-4B6E-A954-27AB2B48D6E1}"/>
                </a:ext>
              </a:extLst>
            </p:cNvPr>
            <p:cNvSpPr>
              <a:spLocks noEditPoints="1"/>
            </p:cNvSpPr>
            <p:nvPr/>
          </p:nvSpPr>
          <p:spPr bwMode="auto">
            <a:xfrm>
              <a:off x="4618038" y="23813"/>
              <a:ext cx="106363" cy="173038"/>
            </a:xfrm>
            <a:custGeom>
              <a:avLst/>
              <a:gdLst>
                <a:gd name="T0" fmla="*/ 30 w 58"/>
                <a:gd name="T1" fmla="*/ 54 h 94"/>
                <a:gd name="T2" fmla="*/ 9 w 58"/>
                <a:gd name="T3" fmla="*/ 54 h 94"/>
                <a:gd name="T4" fmla="*/ 8 w 58"/>
                <a:gd name="T5" fmla="*/ 92 h 94"/>
                <a:gd name="T6" fmla="*/ 6 w 58"/>
                <a:gd name="T7" fmla="*/ 94 h 94"/>
                <a:gd name="T8" fmla="*/ 2 w 58"/>
                <a:gd name="T9" fmla="*/ 94 h 94"/>
                <a:gd name="T10" fmla="*/ 0 w 58"/>
                <a:gd name="T11" fmla="*/ 91 h 94"/>
                <a:gd name="T12" fmla="*/ 1 w 58"/>
                <a:gd name="T13" fmla="*/ 1 h 94"/>
                <a:gd name="T14" fmla="*/ 3 w 58"/>
                <a:gd name="T15" fmla="*/ 0 h 94"/>
                <a:gd name="T16" fmla="*/ 30 w 58"/>
                <a:gd name="T17" fmla="*/ 0 h 94"/>
                <a:gd name="T18" fmla="*/ 58 w 58"/>
                <a:gd name="T19" fmla="*/ 27 h 94"/>
                <a:gd name="T20" fmla="*/ 30 w 58"/>
                <a:gd name="T21" fmla="*/ 54 h 94"/>
                <a:gd name="T22" fmla="*/ 28 w 58"/>
                <a:gd name="T23" fmla="*/ 7 h 94"/>
                <a:gd name="T24" fmla="*/ 9 w 58"/>
                <a:gd name="T25" fmla="*/ 7 h 94"/>
                <a:gd name="T26" fmla="*/ 9 w 58"/>
                <a:gd name="T27" fmla="*/ 47 h 94"/>
                <a:gd name="T28" fmla="*/ 30 w 58"/>
                <a:gd name="T29" fmla="*/ 48 h 94"/>
                <a:gd name="T30" fmla="*/ 49 w 58"/>
                <a:gd name="T31" fmla="*/ 27 h 94"/>
                <a:gd name="T32" fmla="*/ 28 w 58"/>
                <a:gd name="T3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94">
                  <a:moveTo>
                    <a:pt x="30" y="54"/>
                  </a:moveTo>
                  <a:cubicBezTo>
                    <a:pt x="9" y="54"/>
                    <a:pt x="9" y="54"/>
                    <a:pt x="9" y="54"/>
                  </a:cubicBezTo>
                  <a:cubicBezTo>
                    <a:pt x="8" y="92"/>
                    <a:pt x="8" y="92"/>
                    <a:pt x="8" y="92"/>
                  </a:cubicBezTo>
                  <a:cubicBezTo>
                    <a:pt x="8" y="93"/>
                    <a:pt x="8" y="94"/>
                    <a:pt x="6" y="94"/>
                  </a:cubicBezTo>
                  <a:cubicBezTo>
                    <a:pt x="2" y="94"/>
                    <a:pt x="2" y="94"/>
                    <a:pt x="2" y="94"/>
                  </a:cubicBezTo>
                  <a:cubicBezTo>
                    <a:pt x="1" y="94"/>
                    <a:pt x="0" y="93"/>
                    <a:pt x="0" y="91"/>
                  </a:cubicBezTo>
                  <a:cubicBezTo>
                    <a:pt x="1" y="1"/>
                    <a:pt x="1" y="1"/>
                    <a:pt x="1" y="1"/>
                  </a:cubicBezTo>
                  <a:cubicBezTo>
                    <a:pt x="1" y="0"/>
                    <a:pt x="2" y="0"/>
                    <a:pt x="3" y="0"/>
                  </a:cubicBezTo>
                  <a:cubicBezTo>
                    <a:pt x="30" y="0"/>
                    <a:pt x="30" y="0"/>
                    <a:pt x="30" y="0"/>
                  </a:cubicBezTo>
                  <a:cubicBezTo>
                    <a:pt x="46" y="0"/>
                    <a:pt x="58" y="9"/>
                    <a:pt x="58" y="27"/>
                  </a:cubicBezTo>
                  <a:cubicBezTo>
                    <a:pt x="57" y="40"/>
                    <a:pt x="49" y="55"/>
                    <a:pt x="30" y="54"/>
                  </a:cubicBezTo>
                  <a:close/>
                  <a:moveTo>
                    <a:pt x="28" y="7"/>
                  </a:moveTo>
                  <a:cubicBezTo>
                    <a:pt x="9" y="7"/>
                    <a:pt x="9" y="7"/>
                    <a:pt x="9" y="7"/>
                  </a:cubicBezTo>
                  <a:cubicBezTo>
                    <a:pt x="9" y="47"/>
                    <a:pt x="9" y="47"/>
                    <a:pt x="9" y="47"/>
                  </a:cubicBezTo>
                  <a:cubicBezTo>
                    <a:pt x="30" y="48"/>
                    <a:pt x="30" y="48"/>
                    <a:pt x="30" y="48"/>
                  </a:cubicBezTo>
                  <a:cubicBezTo>
                    <a:pt x="34" y="48"/>
                    <a:pt x="49" y="45"/>
                    <a:pt x="49" y="27"/>
                  </a:cubicBezTo>
                  <a:cubicBezTo>
                    <a:pt x="49" y="13"/>
                    <a:pt x="41" y="7"/>
                    <a:pt x="2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92">
              <a:extLst>
                <a:ext uri="{FF2B5EF4-FFF2-40B4-BE49-F238E27FC236}">
                  <a16:creationId xmlns:a16="http://schemas.microsoft.com/office/drawing/2014/main" id="{15397894-580E-4EF5-B039-F998393A9B71}"/>
                </a:ext>
              </a:extLst>
            </p:cNvPr>
            <p:cNvSpPr>
              <a:spLocks/>
            </p:cNvSpPr>
            <p:nvPr/>
          </p:nvSpPr>
          <p:spPr bwMode="auto">
            <a:xfrm>
              <a:off x="4748213" y="14288"/>
              <a:ext cx="31750" cy="184150"/>
            </a:xfrm>
            <a:custGeom>
              <a:avLst/>
              <a:gdLst>
                <a:gd name="T0" fmla="*/ 17 w 17"/>
                <a:gd name="T1" fmla="*/ 97 h 100"/>
                <a:gd name="T2" fmla="*/ 15 w 17"/>
                <a:gd name="T3" fmla="*/ 99 h 100"/>
                <a:gd name="T4" fmla="*/ 9 w 17"/>
                <a:gd name="T5" fmla="*/ 100 h 100"/>
                <a:gd name="T6" fmla="*/ 0 w 17"/>
                <a:gd name="T7" fmla="*/ 91 h 100"/>
                <a:gd name="T8" fmla="*/ 0 w 17"/>
                <a:gd name="T9" fmla="*/ 1 h 100"/>
                <a:gd name="T10" fmla="*/ 2 w 17"/>
                <a:gd name="T11" fmla="*/ 0 h 100"/>
                <a:gd name="T12" fmla="*/ 7 w 17"/>
                <a:gd name="T13" fmla="*/ 0 h 100"/>
                <a:gd name="T14" fmla="*/ 8 w 17"/>
                <a:gd name="T15" fmla="*/ 1 h 100"/>
                <a:gd name="T16" fmla="*/ 7 w 17"/>
                <a:gd name="T17" fmla="*/ 88 h 100"/>
                <a:gd name="T18" fmla="*/ 14 w 17"/>
                <a:gd name="T19" fmla="*/ 93 h 100"/>
                <a:gd name="T20" fmla="*/ 16 w 17"/>
                <a:gd name="T21" fmla="*/ 94 h 100"/>
                <a:gd name="T22" fmla="*/ 17 w 17"/>
                <a:gd name="T23" fmla="*/ 9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00">
                  <a:moveTo>
                    <a:pt x="17" y="97"/>
                  </a:moveTo>
                  <a:cubicBezTo>
                    <a:pt x="17" y="98"/>
                    <a:pt x="16" y="99"/>
                    <a:pt x="15" y="99"/>
                  </a:cubicBezTo>
                  <a:cubicBezTo>
                    <a:pt x="13" y="100"/>
                    <a:pt x="11" y="100"/>
                    <a:pt x="9" y="100"/>
                  </a:cubicBezTo>
                  <a:cubicBezTo>
                    <a:pt x="2" y="100"/>
                    <a:pt x="0" y="97"/>
                    <a:pt x="0" y="91"/>
                  </a:cubicBezTo>
                  <a:cubicBezTo>
                    <a:pt x="0" y="1"/>
                    <a:pt x="0" y="1"/>
                    <a:pt x="0" y="1"/>
                  </a:cubicBezTo>
                  <a:cubicBezTo>
                    <a:pt x="0" y="0"/>
                    <a:pt x="1" y="0"/>
                    <a:pt x="2" y="0"/>
                  </a:cubicBezTo>
                  <a:cubicBezTo>
                    <a:pt x="7" y="0"/>
                    <a:pt x="7" y="0"/>
                    <a:pt x="7" y="0"/>
                  </a:cubicBezTo>
                  <a:cubicBezTo>
                    <a:pt x="8" y="0"/>
                    <a:pt x="8" y="0"/>
                    <a:pt x="8" y="1"/>
                  </a:cubicBezTo>
                  <a:cubicBezTo>
                    <a:pt x="7" y="88"/>
                    <a:pt x="7" y="88"/>
                    <a:pt x="7" y="88"/>
                  </a:cubicBezTo>
                  <a:cubicBezTo>
                    <a:pt x="7" y="93"/>
                    <a:pt x="8" y="93"/>
                    <a:pt x="14" y="93"/>
                  </a:cubicBezTo>
                  <a:cubicBezTo>
                    <a:pt x="15" y="93"/>
                    <a:pt x="16" y="93"/>
                    <a:pt x="16" y="94"/>
                  </a:cubicBezTo>
                  <a:lnTo>
                    <a:pt x="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93">
              <a:extLst>
                <a:ext uri="{FF2B5EF4-FFF2-40B4-BE49-F238E27FC236}">
                  <a16:creationId xmlns:a16="http://schemas.microsoft.com/office/drawing/2014/main" id="{176477E6-E844-4452-85F9-5E85834A05D4}"/>
                </a:ext>
              </a:extLst>
            </p:cNvPr>
            <p:cNvSpPr>
              <a:spLocks noEditPoints="1"/>
            </p:cNvSpPr>
            <p:nvPr/>
          </p:nvSpPr>
          <p:spPr bwMode="auto">
            <a:xfrm>
              <a:off x="4799013" y="68263"/>
              <a:ext cx="115888" cy="131763"/>
            </a:xfrm>
            <a:custGeom>
              <a:avLst/>
              <a:gdLst>
                <a:gd name="T0" fmla="*/ 47 w 63"/>
                <a:gd name="T1" fmla="*/ 63 h 72"/>
                <a:gd name="T2" fmla="*/ 18 w 63"/>
                <a:gd name="T3" fmla="*/ 72 h 72"/>
                <a:gd name="T4" fmla="*/ 0 w 63"/>
                <a:gd name="T5" fmla="*/ 53 h 72"/>
                <a:gd name="T6" fmla="*/ 25 w 63"/>
                <a:gd name="T7" fmla="*/ 30 h 72"/>
                <a:gd name="T8" fmla="*/ 47 w 63"/>
                <a:gd name="T9" fmla="*/ 30 h 72"/>
                <a:gd name="T10" fmla="*/ 47 w 63"/>
                <a:gd name="T11" fmla="*/ 23 h 72"/>
                <a:gd name="T12" fmla="*/ 29 w 63"/>
                <a:gd name="T13" fmla="*/ 7 h 72"/>
                <a:gd name="T14" fmla="*/ 9 w 63"/>
                <a:gd name="T15" fmla="*/ 9 h 72"/>
                <a:gd name="T16" fmla="*/ 7 w 63"/>
                <a:gd name="T17" fmla="*/ 8 h 72"/>
                <a:gd name="T18" fmla="*/ 6 w 63"/>
                <a:gd name="T19" fmla="*/ 5 h 72"/>
                <a:gd name="T20" fmla="*/ 8 w 63"/>
                <a:gd name="T21" fmla="*/ 3 h 72"/>
                <a:gd name="T22" fmla="*/ 30 w 63"/>
                <a:gd name="T23" fmla="*/ 0 h 72"/>
                <a:gd name="T24" fmla="*/ 55 w 63"/>
                <a:gd name="T25" fmla="*/ 25 h 72"/>
                <a:gd name="T26" fmla="*/ 55 w 63"/>
                <a:gd name="T27" fmla="*/ 60 h 72"/>
                <a:gd name="T28" fmla="*/ 61 w 63"/>
                <a:gd name="T29" fmla="*/ 66 h 72"/>
                <a:gd name="T30" fmla="*/ 62 w 63"/>
                <a:gd name="T31" fmla="*/ 67 h 72"/>
                <a:gd name="T32" fmla="*/ 62 w 63"/>
                <a:gd name="T33" fmla="*/ 70 h 72"/>
                <a:gd name="T34" fmla="*/ 60 w 63"/>
                <a:gd name="T35" fmla="*/ 71 h 72"/>
                <a:gd name="T36" fmla="*/ 47 w 63"/>
                <a:gd name="T37" fmla="*/ 63 h 72"/>
                <a:gd name="T38" fmla="*/ 47 w 63"/>
                <a:gd name="T39" fmla="*/ 37 h 72"/>
                <a:gd name="T40" fmla="*/ 24 w 63"/>
                <a:gd name="T41" fmla="*/ 36 h 72"/>
                <a:gd name="T42" fmla="*/ 8 w 63"/>
                <a:gd name="T43" fmla="*/ 52 h 72"/>
                <a:gd name="T44" fmla="*/ 21 w 63"/>
                <a:gd name="T45" fmla="*/ 65 h 72"/>
                <a:gd name="T46" fmla="*/ 47 w 63"/>
                <a:gd name="T47" fmla="*/ 56 h 72"/>
                <a:gd name="T48" fmla="*/ 47 w 63"/>
                <a:gd name="T49"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72">
                  <a:moveTo>
                    <a:pt x="47" y="63"/>
                  </a:moveTo>
                  <a:cubicBezTo>
                    <a:pt x="39" y="68"/>
                    <a:pt x="30" y="72"/>
                    <a:pt x="18" y="72"/>
                  </a:cubicBezTo>
                  <a:cubicBezTo>
                    <a:pt x="5" y="72"/>
                    <a:pt x="0" y="65"/>
                    <a:pt x="0" y="53"/>
                  </a:cubicBezTo>
                  <a:cubicBezTo>
                    <a:pt x="0" y="37"/>
                    <a:pt x="8" y="29"/>
                    <a:pt x="25" y="30"/>
                  </a:cubicBezTo>
                  <a:cubicBezTo>
                    <a:pt x="47" y="30"/>
                    <a:pt x="47" y="30"/>
                    <a:pt x="47" y="30"/>
                  </a:cubicBezTo>
                  <a:cubicBezTo>
                    <a:pt x="47" y="23"/>
                    <a:pt x="47" y="23"/>
                    <a:pt x="47" y="23"/>
                  </a:cubicBezTo>
                  <a:cubicBezTo>
                    <a:pt x="48" y="12"/>
                    <a:pt x="44" y="7"/>
                    <a:pt x="29" y="7"/>
                  </a:cubicBezTo>
                  <a:cubicBezTo>
                    <a:pt x="23" y="7"/>
                    <a:pt x="15" y="8"/>
                    <a:pt x="9" y="9"/>
                  </a:cubicBezTo>
                  <a:cubicBezTo>
                    <a:pt x="7" y="9"/>
                    <a:pt x="7" y="9"/>
                    <a:pt x="7" y="8"/>
                  </a:cubicBezTo>
                  <a:cubicBezTo>
                    <a:pt x="6" y="5"/>
                    <a:pt x="6" y="5"/>
                    <a:pt x="6" y="5"/>
                  </a:cubicBezTo>
                  <a:cubicBezTo>
                    <a:pt x="6" y="4"/>
                    <a:pt x="6" y="3"/>
                    <a:pt x="8" y="3"/>
                  </a:cubicBezTo>
                  <a:cubicBezTo>
                    <a:pt x="14" y="1"/>
                    <a:pt x="24" y="0"/>
                    <a:pt x="30" y="0"/>
                  </a:cubicBezTo>
                  <a:cubicBezTo>
                    <a:pt x="51" y="0"/>
                    <a:pt x="56" y="8"/>
                    <a:pt x="55" y="25"/>
                  </a:cubicBezTo>
                  <a:cubicBezTo>
                    <a:pt x="55" y="60"/>
                    <a:pt x="55" y="60"/>
                    <a:pt x="55" y="60"/>
                  </a:cubicBezTo>
                  <a:cubicBezTo>
                    <a:pt x="55" y="65"/>
                    <a:pt x="56" y="65"/>
                    <a:pt x="61" y="66"/>
                  </a:cubicBezTo>
                  <a:cubicBezTo>
                    <a:pt x="62" y="66"/>
                    <a:pt x="63" y="66"/>
                    <a:pt x="62" y="67"/>
                  </a:cubicBezTo>
                  <a:cubicBezTo>
                    <a:pt x="62" y="70"/>
                    <a:pt x="62" y="70"/>
                    <a:pt x="62" y="70"/>
                  </a:cubicBezTo>
                  <a:cubicBezTo>
                    <a:pt x="62" y="71"/>
                    <a:pt x="62" y="71"/>
                    <a:pt x="60" y="71"/>
                  </a:cubicBezTo>
                  <a:cubicBezTo>
                    <a:pt x="51" y="72"/>
                    <a:pt x="48" y="71"/>
                    <a:pt x="47" y="63"/>
                  </a:cubicBezTo>
                  <a:close/>
                  <a:moveTo>
                    <a:pt x="47" y="37"/>
                  </a:moveTo>
                  <a:cubicBezTo>
                    <a:pt x="24" y="36"/>
                    <a:pt x="24" y="36"/>
                    <a:pt x="24" y="36"/>
                  </a:cubicBezTo>
                  <a:cubicBezTo>
                    <a:pt x="15" y="36"/>
                    <a:pt x="8" y="40"/>
                    <a:pt x="8" y="52"/>
                  </a:cubicBezTo>
                  <a:cubicBezTo>
                    <a:pt x="8" y="62"/>
                    <a:pt x="11" y="65"/>
                    <a:pt x="21" y="65"/>
                  </a:cubicBezTo>
                  <a:cubicBezTo>
                    <a:pt x="29" y="65"/>
                    <a:pt x="42" y="59"/>
                    <a:pt x="47" y="56"/>
                  </a:cubicBezTo>
                  <a:lnTo>
                    <a:pt x="4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94">
              <a:extLst>
                <a:ext uri="{FF2B5EF4-FFF2-40B4-BE49-F238E27FC236}">
                  <a16:creationId xmlns:a16="http://schemas.microsoft.com/office/drawing/2014/main" id="{A02C62DD-2CAA-4D94-B5EB-0EFFF1457272}"/>
                </a:ext>
              </a:extLst>
            </p:cNvPr>
            <p:cNvSpPr>
              <a:spLocks/>
            </p:cNvSpPr>
            <p:nvPr/>
          </p:nvSpPr>
          <p:spPr bwMode="auto">
            <a:xfrm>
              <a:off x="4927601" y="36513"/>
              <a:ext cx="69850" cy="165100"/>
            </a:xfrm>
            <a:custGeom>
              <a:avLst/>
              <a:gdLst>
                <a:gd name="T0" fmla="*/ 38 w 38"/>
                <a:gd name="T1" fmla="*/ 85 h 90"/>
                <a:gd name="T2" fmla="*/ 37 w 38"/>
                <a:gd name="T3" fmla="*/ 87 h 90"/>
                <a:gd name="T4" fmla="*/ 23 w 38"/>
                <a:gd name="T5" fmla="*/ 90 h 90"/>
                <a:gd name="T6" fmla="*/ 9 w 38"/>
                <a:gd name="T7" fmla="*/ 75 h 90"/>
                <a:gd name="T8" fmla="*/ 10 w 38"/>
                <a:gd name="T9" fmla="*/ 26 h 90"/>
                <a:gd name="T10" fmla="*/ 1 w 38"/>
                <a:gd name="T11" fmla="*/ 25 h 90"/>
                <a:gd name="T12" fmla="*/ 0 w 38"/>
                <a:gd name="T13" fmla="*/ 24 h 90"/>
                <a:gd name="T14" fmla="*/ 0 w 38"/>
                <a:gd name="T15" fmla="*/ 21 h 90"/>
                <a:gd name="T16" fmla="*/ 2 w 38"/>
                <a:gd name="T17" fmla="*/ 19 h 90"/>
                <a:gd name="T18" fmla="*/ 10 w 38"/>
                <a:gd name="T19" fmla="*/ 19 h 90"/>
                <a:gd name="T20" fmla="*/ 10 w 38"/>
                <a:gd name="T21" fmla="*/ 3 h 90"/>
                <a:gd name="T22" fmla="*/ 12 w 38"/>
                <a:gd name="T23" fmla="*/ 1 h 90"/>
                <a:gd name="T24" fmla="*/ 16 w 38"/>
                <a:gd name="T25" fmla="*/ 0 h 90"/>
                <a:gd name="T26" fmla="*/ 18 w 38"/>
                <a:gd name="T27" fmla="*/ 2 h 90"/>
                <a:gd name="T28" fmla="*/ 18 w 38"/>
                <a:gd name="T29" fmla="*/ 19 h 90"/>
                <a:gd name="T30" fmla="*/ 33 w 38"/>
                <a:gd name="T31" fmla="*/ 19 h 90"/>
                <a:gd name="T32" fmla="*/ 35 w 38"/>
                <a:gd name="T33" fmla="*/ 21 h 90"/>
                <a:gd name="T34" fmla="*/ 35 w 38"/>
                <a:gd name="T35" fmla="*/ 24 h 90"/>
                <a:gd name="T36" fmla="*/ 33 w 38"/>
                <a:gd name="T37" fmla="*/ 26 h 90"/>
                <a:gd name="T38" fmla="*/ 17 w 38"/>
                <a:gd name="T39" fmla="*/ 26 h 90"/>
                <a:gd name="T40" fmla="*/ 17 w 38"/>
                <a:gd name="T41" fmla="*/ 73 h 90"/>
                <a:gd name="T42" fmla="*/ 26 w 38"/>
                <a:gd name="T43" fmla="*/ 82 h 90"/>
                <a:gd name="T44" fmla="*/ 36 w 38"/>
                <a:gd name="T45" fmla="*/ 82 h 90"/>
                <a:gd name="T46" fmla="*/ 38 w 38"/>
                <a:gd name="T47" fmla="*/ 83 h 90"/>
                <a:gd name="T48" fmla="*/ 38 w 38"/>
                <a:gd name="T4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90">
                  <a:moveTo>
                    <a:pt x="38" y="85"/>
                  </a:moveTo>
                  <a:cubicBezTo>
                    <a:pt x="38" y="87"/>
                    <a:pt x="38" y="87"/>
                    <a:pt x="37" y="87"/>
                  </a:cubicBezTo>
                  <a:cubicBezTo>
                    <a:pt x="34" y="89"/>
                    <a:pt x="28" y="90"/>
                    <a:pt x="23" y="90"/>
                  </a:cubicBezTo>
                  <a:cubicBezTo>
                    <a:pt x="12" y="89"/>
                    <a:pt x="9" y="84"/>
                    <a:pt x="9" y="75"/>
                  </a:cubicBezTo>
                  <a:cubicBezTo>
                    <a:pt x="10" y="26"/>
                    <a:pt x="10" y="26"/>
                    <a:pt x="10" y="26"/>
                  </a:cubicBezTo>
                  <a:cubicBezTo>
                    <a:pt x="1" y="25"/>
                    <a:pt x="1" y="25"/>
                    <a:pt x="1" y="25"/>
                  </a:cubicBezTo>
                  <a:cubicBezTo>
                    <a:pt x="0" y="25"/>
                    <a:pt x="0" y="25"/>
                    <a:pt x="0" y="24"/>
                  </a:cubicBezTo>
                  <a:cubicBezTo>
                    <a:pt x="0" y="21"/>
                    <a:pt x="0" y="21"/>
                    <a:pt x="0" y="21"/>
                  </a:cubicBezTo>
                  <a:cubicBezTo>
                    <a:pt x="0" y="19"/>
                    <a:pt x="0" y="19"/>
                    <a:pt x="2" y="19"/>
                  </a:cubicBezTo>
                  <a:cubicBezTo>
                    <a:pt x="10" y="19"/>
                    <a:pt x="10" y="19"/>
                    <a:pt x="10" y="19"/>
                  </a:cubicBezTo>
                  <a:cubicBezTo>
                    <a:pt x="10" y="3"/>
                    <a:pt x="10" y="3"/>
                    <a:pt x="10" y="3"/>
                  </a:cubicBezTo>
                  <a:cubicBezTo>
                    <a:pt x="10" y="2"/>
                    <a:pt x="11" y="2"/>
                    <a:pt x="12" y="1"/>
                  </a:cubicBezTo>
                  <a:cubicBezTo>
                    <a:pt x="16" y="0"/>
                    <a:pt x="16" y="0"/>
                    <a:pt x="16" y="0"/>
                  </a:cubicBezTo>
                  <a:cubicBezTo>
                    <a:pt x="17" y="0"/>
                    <a:pt x="18" y="0"/>
                    <a:pt x="18" y="2"/>
                  </a:cubicBezTo>
                  <a:cubicBezTo>
                    <a:pt x="18" y="19"/>
                    <a:pt x="18" y="19"/>
                    <a:pt x="18" y="19"/>
                  </a:cubicBezTo>
                  <a:cubicBezTo>
                    <a:pt x="33" y="19"/>
                    <a:pt x="33" y="19"/>
                    <a:pt x="33" y="19"/>
                  </a:cubicBezTo>
                  <a:cubicBezTo>
                    <a:pt x="35" y="19"/>
                    <a:pt x="35" y="20"/>
                    <a:pt x="35" y="21"/>
                  </a:cubicBezTo>
                  <a:cubicBezTo>
                    <a:pt x="35" y="24"/>
                    <a:pt x="35" y="24"/>
                    <a:pt x="35" y="24"/>
                  </a:cubicBezTo>
                  <a:cubicBezTo>
                    <a:pt x="35" y="25"/>
                    <a:pt x="34" y="26"/>
                    <a:pt x="33" y="26"/>
                  </a:cubicBezTo>
                  <a:cubicBezTo>
                    <a:pt x="17" y="26"/>
                    <a:pt x="17" y="26"/>
                    <a:pt x="17" y="26"/>
                  </a:cubicBezTo>
                  <a:cubicBezTo>
                    <a:pt x="17" y="73"/>
                    <a:pt x="17" y="73"/>
                    <a:pt x="17" y="73"/>
                  </a:cubicBezTo>
                  <a:cubicBezTo>
                    <a:pt x="17" y="79"/>
                    <a:pt x="18" y="82"/>
                    <a:pt x="26" y="82"/>
                  </a:cubicBezTo>
                  <a:cubicBezTo>
                    <a:pt x="28" y="82"/>
                    <a:pt x="33" y="82"/>
                    <a:pt x="36" y="82"/>
                  </a:cubicBezTo>
                  <a:cubicBezTo>
                    <a:pt x="37" y="82"/>
                    <a:pt x="37" y="82"/>
                    <a:pt x="38" y="83"/>
                  </a:cubicBezTo>
                  <a:lnTo>
                    <a:pt x="38"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5">
              <a:extLst>
                <a:ext uri="{FF2B5EF4-FFF2-40B4-BE49-F238E27FC236}">
                  <a16:creationId xmlns:a16="http://schemas.microsoft.com/office/drawing/2014/main" id="{CE5E00CF-BF15-48A3-953E-B8EAFFE8E25D}"/>
                </a:ext>
              </a:extLst>
            </p:cNvPr>
            <p:cNvSpPr>
              <a:spLocks/>
            </p:cNvSpPr>
            <p:nvPr/>
          </p:nvSpPr>
          <p:spPr bwMode="auto">
            <a:xfrm>
              <a:off x="5008563" y="14288"/>
              <a:ext cx="85725" cy="185738"/>
            </a:xfrm>
            <a:custGeom>
              <a:avLst/>
              <a:gdLst>
                <a:gd name="T0" fmla="*/ 10 w 47"/>
                <a:gd name="T1" fmla="*/ 32 h 101"/>
                <a:gd name="T2" fmla="*/ 10 w 47"/>
                <a:gd name="T3" fmla="*/ 21 h 101"/>
                <a:gd name="T4" fmla="*/ 30 w 47"/>
                <a:gd name="T5" fmla="*/ 1 h 101"/>
                <a:gd name="T6" fmla="*/ 45 w 47"/>
                <a:gd name="T7" fmla="*/ 3 h 101"/>
                <a:gd name="T8" fmla="*/ 47 w 47"/>
                <a:gd name="T9" fmla="*/ 6 h 101"/>
                <a:gd name="T10" fmla="*/ 46 w 47"/>
                <a:gd name="T11" fmla="*/ 8 h 101"/>
                <a:gd name="T12" fmla="*/ 44 w 47"/>
                <a:gd name="T13" fmla="*/ 9 h 101"/>
                <a:gd name="T14" fmla="*/ 32 w 47"/>
                <a:gd name="T15" fmla="*/ 8 h 101"/>
                <a:gd name="T16" fmla="*/ 17 w 47"/>
                <a:gd name="T17" fmla="*/ 21 h 101"/>
                <a:gd name="T18" fmla="*/ 17 w 47"/>
                <a:gd name="T19" fmla="*/ 32 h 101"/>
                <a:gd name="T20" fmla="*/ 36 w 47"/>
                <a:gd name="T21" fmla="*/ 32 h 101"/>
                <a:gd name="T22" fmla="*/ 38 w 47"/>
                <a:gd name="T23" fmla="*/ 33 h 101"/>
                <a:gd name="T24" fmla="*/ 38 w 47"/>
                <a:gd name="T25" fmla="*/ 37 h 101"/>
                <a:gd name="T26" fmla="*/ 36 w 47"/>
                <a:gd name="T27" fmla="*/ 38 h 101"/>
                <a:gd name="T28" fmla="*/ 17 w 47"/>
                <a:gd name="T29" fmla="*/ 38 h 101"/>
                <a:gd name="T30" fmla="*/ 17 w 47"/>
                <a:gd name="T31" fmla="*/ 99 h 101"/>
                <a:gd name="T32" fmla="*/ 15 w 47"/>
                <a:gd name="T33" fmla="*/ 101 h 101"/>
                <a:gd name="T34" fmla="*/ 11 w 47"/>
                <a:gd name="T35" fmla="*/ 101 h 101"/>
                <a:gd name="T36" fmla="*/ 9 w 47"/>
                <a:gd name="T37" fmla="*/ 99 h 101"/>
                <a:gd name="T38" fmla="*/ 9 w 47"/>
                <a:gd name="T39" fmla="*/ 38 h 101"/>
                <a:gd name="T40" fmla="*/ 2 w 47"/>
                <a:gd name="T41" fmla="*/ 38 h 101"/>
                <a:gd name="T42" fmla="*/ 0 w 47"/>
                <a:gd name="T43" fmla="*/ 36 h 101"/>
                <a:gd name="T44" fmla="*/ 0 w 47"/>
                <a:gd name="T45" fmla="*/ 33 h 101"/>
                <a:gd name="T46" fmla="*/ 2 w 47"/>
                <a:gd name="T47" fmla="*/ 31 h 101"/>
                <a:gd name="T48" fmla="*/ 10 w 47"/>
                <a:gd name="T49" fmla="*/ 3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101">
                  <a:moveTo>
                    <a:pt x="10" y="32"/>
                  </a:moveTo>
                  <a:cubicBezTo>
                    <a:pt x="10" y="21"/>
                    <a:pt x="10" y="21"/>
                    <a:pt x="10" y="21"/>
                  </a:cubicBezTo>
                  <a:cubicBezTo>
                    <a:pt x="10" y="8"/>
                    <a:pt x="16" y="0"/>
                    <a:pt x="30" y="1"/>
                  </a:cubicBezTo>
                  <a:cubicBezTo>
                    <a:pt x="33" y="1"/>
                    <a:pt x="40" y="1"/>
                    <a:pt x="45" y="3"/>
                  </a:cubicBezTo>
                  <a:cubicBezTo>
                    <a:pt x="47" y="4"/>
                    <a:pt x="47" y="5"/>
                    <a:pt x="47" y="6"/>
                  </a:cubicBezTo>
                  <a:cubicBezTo>
                    <a:pt x="46" y="8"/>
                    <a:pt x="46" y="8"/>
                    <a:pt x="46" y="8"/>
                  </a:cubicBezTo>
                  <a:cubicBezTo>
                    <a:pt x="46" y="9"/>
                    <a:pt x="45" y="9"/>
                    <a:pt x="44" y="9"/>
                  </a:cubicBezTo>
                  <a:cubicBezTo>
                    <a:pt x="38" y="8"/>
                    <a:pt x="34" y="8"/>
                    <a:pt x="32" y="8"/>
                  </a:cubicBezTo>
                  <a:cubicBezTo>
                    <a:pt x="22" y="8"/>
                    <a:pt x="17" y="11"/>
                    <a:pt x="17" y="21"/>
                  </a:cubicBezTo>
                  <a:cubicBezTo>
                    <a:pt x="17" y="32"/>
                    <a:pt x="17" y="32"/>
                    <a:pt x="17" y="32"/>
                  </a:cubicBezTo>
                  <a:cubicBezTo>
                    <a:pt x="36" y="32"/>
                    <a:pt x="36" y="32"/>
                    <a:pt x="36" y="32"/>
                  </a:cubicBezTo>
                  <a:cubicBezTo>
                    <a:pt x="37" y="32"/>
                    <a:pt x="38" y="32"/>
                    <a:pt x="38" y="33"/>
                  </a:cubicBezTo>
                  <a:cubicBezTo>
                    <a:pt x="38" y="37"/>
                    <a:pt x="38" y="37"/>
                    <a:pt x="38" y="37"/>
                  </a:cubicBezTo>
                  <a:cubicBezTo>
                    <a:pt x="38" y="38"/>
                    <a:pt x="37" y="38"/>
                    <a:pt x="36" y="38"/>
                  </a:cubicBezTo>
                  <a:cubicBezTo>
                    <a:pt x="17" y="38"/>
                    <a:pt x="17" y="38"/>
                    <a:pt x="17" y="38"/>
                  </a:cubicBezTo>
                  <a:cubicBezTo>
                    <a:pt x="17" y="99"/>
                    <a:pt x="17" y="99"/>
                    <a:pt x="17" y="99"/>
                  </a:cubicBezTo>
                  <a:cubicBezTo>
                    <a:pt x="17" y="100"/>
                    <a:pt x="16" y="101"/>
                    <a:pt x="15" y="101"/>
                  </a:cubicBezTo>
                  <a:cubicBezTo>
                    <a:pt x="11" y="101"/>
                    <a:pt x="11" y="101"/>
                    <a:pt x="11" y="101"/>
                  </a:cubicBezTo>
                  <a:cubicBezTo>
                    <a:pt x="9" y="101"/>
                    <a:pt x="9" y="100"/>
                    <a:pt x="9" y="99"/>
                  </a:cubicBezTo>
                  <a:cubicBezTo>
                    <a:pt x="9" y="38"/>
                    <a:pt x="9" y="38"/>
                    <a:pt x="9" y="38"/>
                  </a:cubicBezTo>
                  <a:cubicBezTo>
                    <a:pt x="2" y="38"/>
                    <a:pt x="2" y="38"/>
                    <a:pt x="2" y="38"/>
                  </a:cubicBezTo>
                  <a:cubicBezTo>
                    <a:pt x="1" y="38"/>
                    <a:pt x="0" y="37"/>
                    <a:pt x="0" y="36"/>
                  </a:cubicBezTo>
                  <a:cubicBezTo>
                    <a:pt x="0" y="33"/>
                    <a:pt x="0" y="33"/>
                    <a:pt x="0" y="33"/>
                  </a:cubicBezTo>
                  <a:cubicBezTo>
                    <a:pt x="0" y="32"/>
                    <a:pt x="1" y="31"/>
                    <a:pt x="2" y="31"/>
                  </a:cubicBez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96">
              <a:extLst>
                <a:ext uri="{FF2B5EF4-FFF2-40B4-BE49-F238E27FC236}">
                  <a16:creationId xmlns:a16="http://schemas.microsoft.com/office/drawing/2014/main" id="{F3FF1E1A-543D-4F42-96CC-423BA15481EB}"/>
                </a:ext>
              </a:extLst>
            </p:cNvPr>
            <p:cNvSpPr>
              <a:spLocks noEditPoints="1"/>
            </p:cNvSpPr>
            <p:nvPr/>
          </p:nvSpPr>
          <p:spPr bwMode="auto">
            <a:xfrm>
              <a:off x="5087938" y="69850"/>
              <a:ext cx="103188" cy="133350"/>
            </a:xfrm>
            <a:custGeom>
              <a:avLst/>
              <a:gdLst>
                <a:gd name="T0" fmla="*/ 0 w 56"/>
                <a:gd name="T1" fmla="*/ 35 h 73"/>
                <a:gd name="T2" fmla="*/ 28 w 56"/>
                <a:gd name="T3" fmla="*/ 1 h 73"/>
                <a:gd name="T4" fmla="*/ 56 w 56"/>
                <a:gd name="T5" fmla="*/ 36 h 73"/>
                <a:gd name="T6" fmla="*/ 27 w 56"/>
                <a:gd name="T7" fmla="*/ 72 h 73"/>
                <a:gd name="T8" fmla="*/ 0 w 56"/>
                <a:gd name="T9" fmla="*/ 35 h 73"/>
                <a:gd name="T10" fmla="*/ 8 w 56"/>
                <a:gd name="T11" fmla="*/ 36 h 73"/>
                <a:gd name="T12" fmla="*/ 27 w 56"/>
                <a:gd name="T13" fmla="*/ 65 h 73"/>
                <a:gd name="T14" fmla="*/ 48 w 56"/>
                <a:gd name="T15" fmla="*/ 37 h 73"/>
                <a:gd name="T16" fmla="*/ 28 w 56"/>
                <a:gd name="T17" fmla="*/ 8 h 73"/>
                <a:gd name="T18" fmla="*/ 8 w 56"/>
                <a:gd name="T19"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73">
                  <a:moveTo>
                    <a:pt x="0" y="35"/>
                  </a:moveTo>
                  <a:cubicBezTo>
                    <a:pt x="0" y="21"/>
                    <a:pt x="3" y="0"/>
                    <a:pt x="28" y="1"/>
                  </a:cubicBezTo>
                  <a:cubicBezTo>
                    <a:pt x="53" y="1"/>
                    <a:pt x="56" y="18"/>
                    <a:pt x="56" y="36"/>
                  </a:cubicBezTo>
                  <a:cubicBezTo>
                    <a:pt x="56" y="53"/>
                    <a:pt x="54" y="73"/>
                    <a:pt x="27" y="72"/>
                  </a:cubicBezTo>
                  <a:cubicBezTo>
                    <a:pt x="1" y="72"/>
                    <a:pt x="0" y="53"/>
                    <a:pt x="0" y="35"/>
                  </a:cubicBezTo>
                  <a:close/>
                  <a:moveTo>
                    <a:pt x="8" y="36"/>
                  </a:moveTo>
                  <a:cubicBezTo>
                    <a:pt x="8" y="54"/>
                    <a:pt x="11" y="65"/>
                    <a:pt x="27" y="65"/>
                  </a:cubicBezTo>
                  <a:cubicBezTo>
                    <a:pt x="44" y="65"/>
                    <a:pt x="48" y="55"/>
                    <a:pt x="48" y="37"/>
                  </a:cubicBezTo>
                  <a:cubicBezTo>
                    <a:pt x="48" y="18"/>
                    <a:pt x="45" y="8"/>
                    <a:pt x="28" y="8"/>
                  </a:cubicBezTo>
                  <a:cubicBezTo>
                    <a:pt x="11" y="8"/>
                    <a:pt x="8" y="18"/>
                    <a:pt x="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97">
              <a:extLst>
                <a:ext uri="{FF2B5EF4-FFF2-40B4-BE49-F238E27FC236}">
                  <a16:creationId xmlns:a16="http://schemas.microsoft.com/office/drawing/2014/main" id="{2BFC5EFF-337D-4C22-B363-2553D93173A7}"/>
                </a:ext>
              </a:extLst>
            </p:cNvPr>
            <p:cNvSpPr>
              <a:spLocks/>
            </p:cNvSpPr>
            <p:nvPr/>
          </p:nvSpPr>
          <p:spPr bwMode="auto">
            <a:xfrm>
              <a:off x="5221288" y="73025"/>
              <a:ext cx="52388" cy="128588"/>
            </a:xfrm>
            <a:custGeom>
              <a:avLst/>
              <a:gdLst>
                <a:gd name="T0" fmla="*/ 9 w 29"/>
                <a:gd name="T1" fmla="*/ 15 h 70"/>
                <a:gd name="T2" fmla="*/ 8 w 29"/>
                <a:gd name="T3" fmla="*/ 68 h 70"/>
                <a:gd name="T4" fmla="*/ 6 w 29"/>
                <a:gd name="T5" fmla="*/ 70 h 70"/>
                <a:gd name="T6" fmla="*/ 2 w 29"/>
                <a:gd name="T7" fmla="*/ 70 h 70"/>
                <a:gd name="T8" fmla="*/ 0 w 29"/>
                <a:gd name="T9" fmla="*/ 68 h 70"/>
                <a:gd name="T10" fmla="*/ 1 w 29"/>
                <a:gd name="T11" fmla="*/ 3 h 70"/>
                <a:gd name="T12" fmla="*/ 3 w 29"/>
                <a:gd name="T13" fmla="*/ 1 h 70"/>
                <a:gd name="T14" fmla="*/ 6 w 29"/>
                <a:gd name="T15" fmla="*/ 1 h 70"/>
                <a:gd name="T16" fmla="*/ 9 w 29"/>
                <a:gd name="T17" fmla="*/ 3 h 70"/>
                <a:gd name="T18" fmla="*/ 9 w 29"/>
                <a:gd name="T19" fmla="*/ 9 h 70"/>
                <a:gd name="T20" fmla="*/ 27 w 29"/>
                <a:gd name="T21" fmla="*/ 0 h 70"/>
                <a:gd name="T22" fmla="*/ 28 w 29"/>
                <a:gd name="T23" fmla="*/ 1 h 70"/>
                <a:gd name="T24" fmla="*/ 29 w 29"/>
                <a:gd name="T25" fmla="*/ 6 h 70"/>
                <a:gd name="T26" fmla="*/ 27 w 29"/>
                <a:gd name="T27" fmla="*/ 8 h 70"/>
                <a:gd name="T28" fmla="*/ 9 w 29"/>
                <a:gd name="T2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70">
                  <a:moveTo>
                    <a:pt x="9" y="15"/>
                  </a:moveTo>
                  <a:cubicBezTo>
                    <a:pt x="8" y="68"/>
                    <a:pt x="8" y="68"/>
                    <a:pt x="8" y="68"/>
                  </a:cubicBezTo>
                  <a:cubicBezTo>
                    <a:pt x="8" y="69"/>
                    <a:pt x="8" y="70"/>
                    <a:pt x="6" y="70"/>
                  </a:cubicBezTo>
                  <a:cubicBezTo>
                    <a:pt x="2" y="70"/>
                    <a:pt x="2" y="70"/>
                    <a:pt x="2" y="70"/>
                  </a:cubicBezTo>
                  <a:cubicBezTo>
                    <a:pt x="1" y="70"/>
                    <a:pt x="0" y="69"/>
                    <a:pt x="0" y="68"/>
                  </a:cubicBezTo>
                  <a:cubicBezTo>
                    <a:pt x="1" y="3"/>
                    <a:pt x="1" y="3"/>
                    <a:pt x="1" y="3"/>
                  </a:cubicBezTo>
                  <a:cubicBezTo>
                    <a:pt x="1" y="1"/>
                    <a:pt x="1" y="1"/>
                    <a:pt x="3" y="1"/>
                  </a:cubicBezTo>
                  <a:cubicBezTo>
                    <a:pt x="6" y="1"/>
                    <a:pt x="6" y="1"/>
                    <a:pt x="6" y="1"/>
                  </a:cubicBezTo>
                  <a:cubicBezTo>
                    <a:pt x="8" y="1"/>
                    <a:pt x="9" y="1"/>
                    <a:pt x="9" y="3"/>
                  </a:cubicBezTo>
                  <a:cubicBezTo>
                    <a:pt x="9" y="9"/>
                    <a:pt x="9" y="9"/>
                    <a:pt x="9" y="9"/>
                  </a:cubicBezTo>
                  <a:cubicBezTo>
                    <a:pt x="11" y="7"/>
                    <a:pt x="19" y="2"/>
                    <a:pt x="27" y="0"/>
                  </a:cubicBezTo>
                  <a:cubicBezTo>
                    <a:pt x="28" y="0"/>
                    <a:pt x="28" y="0"/>
                    <a:pt x="28" y="1"/>
                  </a:cubicBezTo>
                  <a:cubicBezTo>
                    <a:pt x="29" y="6"/>
                    <a:pt x="29" y="6"/>
                    <a:pt x="29" y="6"/>
                  </a:cubicBezTo>
                  <a:cubicBezTo>
                    <a:pt x="29" y="7"/>
                    <a:pt x="29" y="8"/>
                    <a:pt x="27" y="8"/>
                  </a:cubicBezTo>
                  <a:cubicBezTo>
                    <a:pt x="20" y="9"/>
                    <a:pt x="12" y="13"/>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98">
              <a:extLst>
                <a:ext uri="{FF2B5EF4-FFF2-40B4-BE49-F238E27FC236}">
                  <a16:creationId xmlns:a16="http://schemas.microsoft.com/office/drawing/2014/main" id="{B10A7AFF-8545-4102-9A8D-EF49FF15AB9D}"/>
                </a:ext>
              </a:extLst>
            </p:cNvPr>
            <p:cNvSpPr>
              <a:spLocks/>
            </p:cNvSpPr>
            <p:nvPr/>
          </p:nvSpPr>
          <p:spPr bwMode="auto">
            <a:xfrm>
              <a:off x="5289551" y="73025"/>
              <a:ext cx="176213" cy="130175"/>
            </a:xfrm>
            <a:custGeom>
              <a:avLst/>
              <a:gdLst>
                <a:gd name="T0" fmla="*/ 76 w 96"/>
                <a:gd name="T1" fmla="*/ 7 h 71"/>
                <a:gd name="T2" fmla="*/ 52 w 96"/>
                <a:gd name="T3" fmla="*/ 16 h 71"/>
                <a:gd name="T4" fmla="*/ 52 w 96"/>
                <a:gd name="T5" fmla="*/ 24 h 71"/>
                <a:gd name="T6" fmla="*/ 52 w 96"/>
                <a:gd name="T7" fmla="*/ 68 h 71"/>
                <a:gd name="T8" fmla="*/ 50 w 96"/>
                <a:gd name="T9" fmla="*/ 70 h 71"/>
                <a:gd name="T10" fmla="*/ 45 w 96"/>
                <a:gd name="T11" fmla="*/ 70 h 71"/>
                <a:gd name="T12" fmla="*/ 44 w 96"/>
                <a:gd name="T13" fmla="*/ 68 h 71"/>
                <a:gd name="T14" fmla="*/ 44 w 96"/>
                <a:gd name="T15" fmla="*/ 24 h 71"/>
                <a:gd name="T16" fmla="*/ 32 w 96"/>
                <a:gd name="T17" fmla="*/ 7 h 71"/>
                <a:gd name="T18" fmla="*/ 8 w 96"/>
                <a:gd name="T19" fmla="*/ 15 h 71"/>
                <a:gd name="T20" fmla="*/ 8 w 96"/>
                <a:gd name="T21" fmla="*/ 68 h 71"/>
                <a:gd name="T22" fmla="*/ 6 w 96"/>
                <a:gd name="T23" fmla="*/ 70 h 71"/>
                <a:gd name="T24" fmla="*/ 2 w 96"/>
                <a:gd name="T25" fmla="*/ 70 h 71"/>
                <a:gd name="T26" fmla="*/ 0 w 96"/>
                <a:gd name="T27" fmla="*/ 68 h 71"/>
                <a:gd name="T28" fmla="*/ 1 w 96"/>
                <a:gd name="T29" fmla="*/ 3 h 71"/>
                <a:gd name="T30" fmla="*/ 3 w 96"/>
                <a:gd name="T31" fmla="*/ 1 h 71"/>
                <a:gd name="T32" fmla="*/ 6 w 96"/>
                <a:gd name="T33" fmla="*/ 1 h 71"/>
                <a:gd name="T34" fmla="*/ 8 w 96"/>
                <a:gd name="T35" fmla="*/ 3 h 71"/>
                <a:gd name="T36" fmla="*/ 8 w 96"/>
                <a:gd name="T37" fmla="*/ 9 h 71"/>
                <a:gd name="T38" fmla="*/ 33 w 96"/>
                <a:gd name="T39" fmla="*/ 0 h 71"/>
                <a:gd name="T40" fmla="*/ 51 w 96"/>
                <a:gd name="T41" fmla="*/ 11 h 71"/>
                <a:gd name="T42" fmla="*/ 77 w 96"/>
                <a:gd name="T43" fmla="*/ 0 h 71"/>
                <a:gd name="T44" fmla="*/ 96 w 96"/>
                <a:gd name="T45" fmla="*/ 24 h 71"/>
                <a:gd name="T46" fmla="*/ 96 w 96"/>
                <a:gd name="T47" fmla="*/ 69 h 71"/>
                <a:gd name="T48" fmla="*/ 94 w 96"/>
                <a:gd name="T49" fmla="*/ 71 h 71"/>
                <a:gd name="T50" fmla="*/ 90 w 96"/>
                <a:gd name="T51" fmla="*/ 71 h 71"/>
                <a:gd name="T52" fmla="*/ 88 w 96"/>
                <a:gd name="T53" fmla="*/ 69 h 71"/>
                <a:gd name="T54" fmla="*/ 88 w 96"/>
                <a:gd name="T55" fmla="*/ 26 h 71"/>
                <a:gd name="T56" fmla="*/ 76 w 96"/>
                <a:gd name="T57"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71">
                  <a:moveTo>
                    <a:pt x="76" y="7"/>
                  </a:moveTo>
                  <a:cubicBezTo>
                    <a:pt x="69" y="7"/>
                    <a:pt x="57" y="13"/>
                    <a:pt x="52" y="16"/>
                  </a:cubicBezTo>
                  <a:cubicBezTo>
                    <a:pt x="52" y="18"/>
                    <a:pt x="52" y="21"/>
                    <a:pt x="52" y="24"/>
                  </a:cubicBezTo>
                  <a:cubicBezTo>
                    <a:pt x="52" y="68"/>
                    <a:pt x="52" y="68"/>
                    <a:pt x="52" y="68"/>
                  </a:cubicBezTo>
                  <a:cubicBezTo>
                    <a:pt x="52" y="70"/>
                    <a:pt x="51" y="70"/>
                    <a:pt x="50" y="70"/>
                  </a:cubicBezTo>
                  <a:cubicBezTo>
                    <a:pt x="45" y="70"/>
                    <a:pt x="45" y="70"/>
                    <a:pt x="45" y="70"/>
                  </a:cubicBezTo>
                  <a:cubicBezTo>
                    <a:pt x="44" y="70"/>
                    <a:pt x="44" y="70"/>
                    <a:pt x="44" y="68"/>
                  </a:cubicBezTo>
                  <a:cubicBezTo>
                    <a:pt x="44" y="24"/>
                    <a:pt x="44" y="24"/>
                    <a:pt x="44" y="24"/>
                  </a:cubicBezTo>
                  <a:cubicBezTo>
                    <a:pt x="45" y="15"/>
                    <a:pt x="43" y="7"/>
                    <a:pt x="32" y="7"/>
                  </a:cubicBezTo>
                  <a:cubicBezTo>
                    <a:pt x="26" y="7"/>
                    <a:pt x="16" y="11"/>
                    <a:pt x="8" y="15"/>
                  </a:cubicBezTo>
                  <a:cubicBezTo>
                    <a:pt x="8" y="68"/>
                    <a:pt x="8" y="68"/>
                    <a:pt x="8" y="68"/>
                  </a:cubicBezTo>
                  <a:cubicBezTo>
                    <a:pt x="8" y="69"/>
                    <a:pt x="7" y="70"/>
                    <a:pt x="6" y="70"/>
                  </a:cubicBezTo>
                  <a:cubicBezTo>
                    <a:pt x="2" y="70"/>
                    <a:pt x="2" y="70"/>
                    <a:pt x="2" y="70"/>
                  </a:cubicBezTo>
                  <a:cubicBezTo>
                    <a:pt x="0" y="70"/>
                    <a:pt x="0" y="70"/>
                    <a:pt x="0" y="68"/>
                  </a:cubicBezTo>
                  <a:cubicBezTo>
                    <a:pt x="1" y="3"/>
                    <a:pt x="1" y="3"/>
                    <a:pt x="1" y="3"/>
                  </a:cubicBezTo>
                  <a:cubicBezTo>
                    <a:pt x="1" y="1"/>
                    <a:pt x="1" y="1"/>
                    <a:pt x="3" y="1"/>
                  </a:cubicBezTo>
                  <a:cubicBezTo>
                    <a:pt x="6" y="1"/>
                    <a:pt x="6" y="1"/>
                    <a:pt x="6" y="1"/>
                  </a:cubicBezTo>
                  <a:cubicBezTo>
                    <a:pt x="8" y="1"/>
                    <a:pt x="8" y="1"/>
                    <a:pt x="8" y="3"/>
                  </a:cubicBezTo>
                  <a:cubicBezTo>
                    <a:pt x="8" y="9"/>
                    <a:pt x="8" y="9"/>
                    <a:pt x="8" y="9"/>
                  </a:cubicBezTo>
                  <a:cubicBezTo>
                    <a:pt x="14" y="5"/>
                    <a:pt x="23" y="0"/>
                    <a:pt x="33" y="0"/>
                  </a:cubicBezTo>
                  <a:cubicBezTo>
                    <a:pt x="43" y="0"/>
                    <a:pt x="48" y="4"/>
                    <a:pt x="51" y="11"/>
                  </a:cubicBezTo>
                  <a:cubicBezTo>
                    <a:pt x="58" y="5"/>
                    <a:pt x="67" y="0"/>
                    <a:pt x="77" y="0"/>
                  </a:cubicBezTo>
                  <a:cubicBezTo>
                    <a:pt x="93" y="0"/>
                    <a:pt x="96" y="9"/>
                    <a:pt x="96" y="24"/>
                  </a:cubicBezTo>
                  <a:cubicBezTo>
                    <a:pt x="96" y="69"/>
                    <a:pt x="96" y="69"/>
                    <a:pt x="96" y="69"/>
                  </a:cubicBezTo>
                  <a:cubicBezTo>
                    <a:pt x="96" y="70"/>
                    <a:pt x="95" y="71"/>
                    <a:pt x="94" y="71"/>
                  </a:cubicBezTo>
                  <a:cubicBezTo>
                    <a:pt x="90" y="71"/>
                    <a:pt x="90" y="71"/>
                    <a:pt x="90" y="71"/>
                  </a:cubicBezTo>
                  <a:cubicBezTo>
                    <a:pt x="88" y="71"/>
                    <a:pt x="88" y="70"/>
                    <a:pt x="88" y="69"/>
                  </a:cubicBezTo>
                  <a:cubicBezTo>
                    <a:pt x="88" y="26"/>
                    <a:pt x="88" y="26"/>
                    <a:pt x="88" y="26"/>
                  </a:cubicBezTo>
                  <a:cubicBezTo>
                    <a:pt x="88" y="12"/>
                    <a:pt x="87" y="7"/>
                    <a:pt x="7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6550373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0956C0D-2630-4235-B3CC-2DA663B2E776}"/>
              </a:ext>
            </a:extLst>
          </p:cNvPr>
          <p:cNvSpPr>
            <a:spLocks noGrp="1"/>
          </p:cNvSpPr>
          <p:nvPr>
            <p:ph type="pic" sz="quarter" idx="16"/>
          </p:nvPr>
        </p:nvSpPr>
        <p:spPr>
          <a:xfrm>
            <a:off x="0" y="0"/>
            <a:ext cx="12192000" cy="6858000"/>
          </a:xfrm>
          <a:prstGeom prst="rect">
            <a:avLst/>
          </a:prstGeom>
        </p:spPr>
        <p:txBody>
          <a:bodyPr/>
          <a:lstStyle/>
          <a:p>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latin typeface="+mj-lt"/>
            </a:endParaRPr>
          </a:p>
        </p:txBody>
      </p:sp>
      <p:sp>
        <p:nvSpPr>
          <p:cNvPr id="95" name="Title 1"/>
          <p:cNvSpPr>
            <a:spLocks noGrp="1"/>
          </p:cNvSpPr>
          <p:nvPr>
            <p:ph type="title" hasCustomPrompt="1"/>
          </p:nvPr>
        </p:nvSpPr>
        <p:spPr>
          <a:xfrm>
            <a:off x="615809" y="1842437"/>
            <a:ext cx="4051441" cy="1178168"/>
          </a:xfrm>
          <a:prstGeom prst="rect">
            <a:avLst/>
          </a:prstGeom>
        </p:spPr>
        <p:txBody>
          <a:bodyPr anchor="t"/>
          <a:lstStyle>
            <a:lvl1pPr>
              <a:lnSpc>
                <a:spcPts val="6000"/>
              </a:lnSpc>
              <a:defRPr sz="6000" b="1" baseline="0">
                <a:solidFill>
                  <a:schemeClr val="bg1"/>
                </a:solidFill>
                <a:latin typeface="Calibri "/>
                <a:cs typeface="72 Black" panose="020B0A0403060302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621541" y="3440577"/>
            <a:ext cx="4121909" cy="498992"/>
          </a:xfrm>
          <a:prstGeom prst="rect">
            <a:avLst/>
          </a:prstGeom>
        </p:spPr>
        <p:txBody>
          <a:bodyPr>
            <a:noAutofit/>
          </a:bodyPr>
          <a:lstStyle>
            <a:lvl1pPr marL="0" indent="0">
              <a:lnSpc>
                <a:spcPct val="100000"/>
              </a:lnSpc>
              <a:buNone/>
              <a:defRPr sz="1800" baseline="0">
                <a:solidFill>
                  <a:schemeClr val="bg1"/>
                </a:solidFill>
                <a:latin typeface="+mj-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616025" y="5466734"/>
            <a:ext cx="2619201" cy="711900"/>
          </a:xfrm>
          <a:prstGeom prst="rect">
            <a:avLst/>
          </a:prstGeom>
        </p:spPr>
        <p:txBody>
          <a:bodyPr anchor="b">
            <a:normAutofit/>
          </a:bodyPr>
          <a:lstStyle>
            <a:lvl1pPr marL="0" indent="0">
              <a:lnSpc>
                <a:spcPct val="100000"/>
              </a:lnSpc>
              <a:spcBef>
                <a:spcPts val="0"/>
              </a:spcBef>
              <a:buNone/>
              <a:defRPr sz="1200" baseline="0">
                <a:solidFill>
                  <a:schemeClr val="bg1"/>
                </a:solidFill>
                <a:latin typeface="+mj-lt"/>
                <a:cs typeface="Arial" panose="020B060402020202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latin typeface="+mj-lt"/>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2" name="Footer Placeholder 4">
            <a:extLst>
              <a:ext uri="{FF2B5EF4-FFF2-40B4-BE49-F238E27FC236}">
                <a16:creationId xmlns:a16="http://schemas.microsoft.com/office/drawing/2014/main" id="{762C6452-C332-445B-9A8C-E42D626372B4}"/>
              </a:ext>
            </a:extLst>
          </p:cNvPr>
          <p:cNvSpPr>
            <a:spLocks noGrp="1"/>
          </p:cNvSpPr>
          <p:nvPr>
            <p:ph type="ftr" sz="quarter" idx="3"/>
          </p:nvPr>
        </p:nvSpPr>
        <p:spPr>
          <a:xfrm rot="16200000">
            <a:off x="10404203" y="4900095"/>
            <a:ext cx="3086100" cy="226487"/>
          </a:xfrm>
          <a:prstGeom prst="rect">
            <a:avLst/>
          </a:prstGeom>
        </p:spPr>
        <p:txBody>
          <a:bodyPr vert="horz" lIns="91440" tIns="45720" rIns="91440" bIns="45720" rtlCol="0" anchor="ctr"/>
          <a:lstStyle>
            <a:lvl1pPr algn="l">
              <a:defRPr sz="700">
                <a:solidFill>
                  <a:schemeClr val="bg1"/>
                </a:solidFill>
                <a:latin typeface="+mj-lt"/>
                <a:cs typeface="Arial" panose="020B0604020202020204" pitchFamily="34" charset="0"/>
              </a:defRPr>
            </a:lvl1pPr>
          </a:lstStyle>
          <a:p>
            <a:r>
              <a:rPr lang="en-GB"/>
              <a:t>© Amadeus IT Group and its affiliates and subsidiaries</a:t>
            </a:r>
          </a:p>
        </p:txBody>
      </p:sp>
    </p:spTree>
    <p:extLst>
      <p:ext uri="{BB962C8B-B14F-4D97-AF65-F5344CB8AC3E}">
        <p14:creationId xmlns:p14="http://schemas.microsoft.com/office/powerpoint/2010/main" val="3660541882"/>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over with photo l">
    <p:spTree>
      <p:nvGrpSpPr>
        <p:cNvPr id="1" name=""/>
        <p:cNvGrpSpPr/>
        <p:nvPr/>
      </p:nvGrpSpPr>
      <p:grpSpPr>
        <a:xfrm>
          <a:off x="0" y="0"/>
          <a:ext cx="0" cy="0"/>
          <a:chOff x="0" y="0"/>
          <a:chExt cx="0" cy="0"/>
        </a:xfrm>
      </p:grpSpPr>
      <p:sp>
        <p:nvSpPr>
          <p:cNvPr id="15" name="Marcador de texto 2">
            <a:extLst>
              <a:ext uri="{FF2B5EF4-FFF2-40B4-BE49-F238E27FC236}">
                <a16:creationId xmlns:a16="http://schemas.microsoft.com/office/drawing/2014/main" id="{18BA34A9-2B25-440D-B01C-CABB6046301F}"/>
              </a:ext>
            </a:extLst>
          </p:cNvPr>
          <p:cNvSpPr>
            <a:spLocks noGrp="1"/>
          </p:cNvSpPr>
          <p:nvPr>
            <p:ph type="body" sz="quarter" idx="18" hasCustomPrompt="1"/>
          </p:nvPr>
        </p:nvSpPr>
        <p:spPr>
          <a:xfrm>
            <a:off x="821988" y="1764383"/>
            <a:ext cx="10699031"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5" name="Title 1">
            <a:extLst>
              <a:ext uri="{FF2B5EF4-FFF2-40B4-BE49-F238E27FC236}">
                <a16:creationId xmlns:a16="http://schemas.microsoft.com/office/drawing/2014/main" id="{5BE0BA37-167F-48E0-A9FB-C18FCCE8B1D1}"/>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6" name="Text Placeholder 19">
            <a:extLst>
              <a:ext uri="{FF2B5EF4-FFF2-40B4-BE49-F238E27FC236}">
                <a16:creationId xmlns:a16="http://schemas.microsoft.com/office/drawing/2014/main" id="{5DE8BFF6-7E33-45B5-BFAA-82DA1C726F3F}"/>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400790225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ivider l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4B98AE-FDF8-4240-819C-9B167684D7D0}"/>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0" name="Text Placeholder 19">
            <a:extLst>
              <a:ext uri="{FF2B5EF4-FFF2-40B4-BE49-F238E27FC236}">
                <a16:creationId xmlns:a16="http://schemas.microsoft.com/office/drawing/2014/main" id="{4C5046C4-C38D-40FA-B358-CAB4EAC3AAB5}"/>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81758146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72DA99-CEA7-43F0-9907-19F87063CA97}"/>
              </a:ext>
            </a:extLst>
          </p:cNvPr>
          <p:cNvSpPr>
            <a:spLocks noGrp="1"/>
          </p:cNvSpPr>
          <p:nvPr>
            <p:ph type="ftr" sz="quarter" idx="10"/>
          </p:nvPr>
        </p:nvSpPr>
        <p:spPr/>
        <p:txBody>
          <a:bodyPr/>
          <a:lstStyle/>
          <a:p>
            <a:r>
              <a:rPr lang="en-GB"/>
              <a:t>© Amadeus IT Group and its affiliates and subsidiaries</a:t>
            </a:r>
          </a:p>
        </p:txBody>
      </p:sp>
      <p:sp>
        <p:nvSpPr>
          <p:cNvPr id="4" name="CuadroTexto 1">
            <a:extLst>
              <a:ext uri="{FF2B5EF4-FFF2-40B4-BE49-F238E27FC236}">
                <a16:creationId xmlns:a16="http://schemas.microsoft.com/office/drawing/2014/main" id="{F8BFDAF9-F070-4B64-B981-3958E8FE6915}"/>
              </a:ext>
            </a:extLst>
          </p:cNvPr>
          <p:cNvSpPr txBox="1"/>
          <p:nvPr userDrawn="1"/>
        </p:nvSpPr>
        <p:spPr>
          <a:xfrm>
            <a:off x="842285" y="453433"/>
            <a:ext cx="4492725" cy="707886"/>
          </a:xfrm>
          <a:prstGeom prst="rect">
            <a:avLst/>
          </a:prstGeom>
          <a:noFill/>
        </p:spPr>
        <p:txBody>
          <a:bodyPr wrap="square" rtlCol="0">
            <a:spAutoFit/>
          </a:bodyPr>
          <a:lstStyle/>
          <a:p>
            <a:r>
              <a:rPr lang="en-US" sz="4000" b="1"/>
              <a:t>Agenda</a:t>
            </a:r>
            <a:endParaRPr lang="es-ES" sz="4000" b="1"/>
          </a:p>
        </p:txBody>
      </p:sp>
      <p:sp>
        <p:nvSpPr>
          <p:cNvPr id="5" name="CuadroTexto 23">
            <a:extLst>
              <a:ext uri="{FF2B5EF4-FFF2-40B4-BE49-F238E27FC236}">
                <a16:creationId xmlns:a16="http://schemas.microsoft.com/office/drawing/2014/main" id="{197C33A1-7647-4A82-B31C-3EFB6D9B0440}"/>
              </a:ext>
            </a:extLst>
          </p:cNvPr>
          <p:cNvSpPr txBox="1"/>
          <p:nvPr userDrawn="1"/>
        </p:nvSpPr>
        <p:spPr>
          <a:xfrm>
            <a:off x="6134822" y="438129"/>
            <a:ext cx="622761" cy="584775"/>
          </a:xfrm>
          <a:prstGeom prst="rect">
            <a:avLst/>
          </a:prstGeom>
          <a:noFill/>
        </p:spPr>
        <p:txBody>
          <a:bodyPr wrap="square" rtlCol="0">
            <a:spAutoFit/>
          </a:bodyPr>
          <a:lstStyle/>
          <a:p>
            <a:r>
              <a:rPr lang="en-US" sz="3200" b="1">
                <a:solidFill>
                  <a:schemeClr val="accent2"/>
                </a:solidFill>
              </a:rPr>
              <a:t>01</a:t>
            </a:r>
          </a:p>
        </p:txBody>
      </p:sp>
      <p:cxnSp>
        <p:nvCxnSpPr>
          <p:cNvPr id="6" name="Conector recto 33">
            <a:extLst>
              <a:ext uri="{FF2B5EF4-FFF2-40B4-BE49-F238E27FC236}">
                <a16:creationId xmlns:a16="http://schemas.microsoft.com/office/drawing/2014/main" id="{BAC69A5A-0F2B-47B6-B3E4-0460322F5777}"/>
              </a:ext>
            </a:extLst>
          </p:cNvPr>
          <p:cNvCxnSpPr>
            <a:cxnSpLocks/>
          </p:cNvCxnSpPr>
          <p:nvPr userDrawn="1"/>
        </p:nvCxnSpPr>
        <p:spPr>
          <a:xfrm>
            <a:off x="6134822" y="1144137"/>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uadroTexto 5">
            <a:extLst>
              <a:ext uri="{FF2B5EF4-FFF2-40B4-BE49-F238E27FC236}">
                <a16:creationId xmlns:a16="http://schemas.microsoft.com/office/drawing/2014/main" id="{0E1E9D27-DDB5-4F39-B74B-D53331456F26}"/>
              </a:ext>
            </a:extLst>
          </p:cNvPr>
          <p:cNvSpPr txBox="1"/>
          <p:nvPr userDrawn="1"/>
        </p:nvSpPr>
        <p:spPr>
          <a:xfrm>
            <a:off x="6766193" y="587944"/>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8" name="CuadroTexto 66">
            <a:extLst>
              <a:ext uri="{FF2B5EF4-FFF2-40B4-BE49-F238E27FC236}">
                <a16:creationId xmlns:a16="http://schemas.microsoft.com/office/drawing/2014/main" id="{CA5F251D-4563-442F-849E-BE5DC906F708}"/>
              </a:ext>
            </a:extLst>
          </p:cNvPr>
          <p:cNvSpPr txBox="1"/>
          <p:nvPr userDrawn="1"/>
        </p:nvSpPr>
        <p:spPr>
          <a:xfrm>
            <a:off x="6134822" y="1327720"/>
            <a:ext cx="622761" cy="584775"/>
          </a:xfrm>
          <a:prstGeom prst="rect">
            <a:avLst/>
          </a:prstGeom>
          <a:noFill/>
        </p:spPr>
        <p:txBody>
          <a:bodyPr wrap="square" rtlCol="0">
            <a:spAutoFit/>
          </a:bodyPr>
          <a:lstStyle/>
          <a:p>
            <a:r>
              <a:rPr lang="en-US" sz="3200" b="1">
                <a:solidFill>
                  <a:schemeClr val="accent2"/>
                </a:solidFill>
              </a:rPr>
              <a:t>02</a:t>
            </a:r>
          </a:p>
        </p:txBody>
      </p:sp>
      <p:cxnSp>
        <p:nvCxnSpPr>
          <p:cNvPr id="9" name="Conector recto 67">
            <a:extLst>
              <a:ext uri="{FF2B5EF4-FFF2-40B4-BE49-F238E27FC236}">
                <a16:creationId xmlns:a16="http://schemas.microsoft.com/office/drawing/2014/main" id="{BFE4B5CA-FF36-414E-B78B-039615A36219}"/>
              </a:ext>
            </a:extLst>
          </p:cNvPr>
          <p:cNvCxnSpPr>
            <a:cxnSpLocks/>
          </p:cNvCxnSpPr>
          <p:nvPr userDrawn="1"/>
        </p:nvCxnSpPr>
        <p:spPr>
          <a:xfrm>
            <a:off x="6134822" y="2017515"/>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CuadroTexto 68">
            <a:extLst>
              <a:ext uri="{FF2B5EF4-FFF2-40B4-BE49-F238E27FC236}">
                <a16:creationId xmlns:a16="http://schemas.microsoft.com/office/drawing/2014/main" id="{AC31BA57-8577-4172-8ADD-3AD0CA5B11B4}"/>
              </a:ext>
            </a:extLst>
          </p:cNvPr>
          <p:cNvSpPr txBox="1"/>
          <p:nvPr userDrawn="1"/>
        </p:nvSpPr>
        <p:spPr>
          <a:xfrm>
            <a:off x="6766193" y="1461322"/>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1" name="CuadroTexto 69">
            <a:extLst>
              <a:ext uri="{FF2B5EF4-FFF2-40B4-BE49-F238E27FC236}">
                <a16:creationId xmlns:a16="http://schemas.microsoft.com/office/drawing/2014/main" id="{B8B9A0F6-C7D6-4ECE-B83D-59F52BD8B767}"/>
              </a:ext>
            </a:extLst>
          </p:cNvPr>
          <p:cNvSpPr txBox="1"/>
          <p:nvPr userDrawn="1"/>
        </p:nvSpPr>
        <p:spPr>
          <a:xfrm>
            <a:off x="6134822" y="2326224"/>
            <a:ext cx="622761" cy="584775"/>
          </a:xfrm>
          <a:prstGeom prst="rect">
            <a:avLst/>
          </a:prstGeom>
          <a:noFill/>
        </p:spPr>
        <p:txBody>
          <a:bodyPr wrap="square" rtlCol="0">
            <a:spAutoFit/>
          </a:bodyPr>
          <a:lstStyle/>
          <a:p>
            <a:r>
              <a:rPr lang="en-US" sz="3200" b="1">
                <a:solidFill>
                  <a:schemeClr val="accent2"/>
                </a:solidFill>
              </a:rPr>
              <a:t>03</a:t>
            </a:r>
          </a:p>
        </p:txBody>
      </p:sp>
      <p:cxnSp>
        <p:nvCxnSpPr>
          <p:cNvPr id="12" name="Conector recto 70">
            <a:extLst>
              <a:ext uri="{FF2B5EF4-FFF2-40B4-BE49-F238E27FC236}">
                <a16:creationId xmlns:a16="http://schemas.microsoft.com/office/drawing/2014/main" id="{68B236D8-7B60-4BD5-A87D-6D7D764478F6}"/>
              </a:ext>
            </a:extLst>
          </p:cNvPr>
          <p:cNvCxnSpPr>
            <a:cxnSpLocks/>
          </p:cNvCxnSpPr>
          <p:nvPr userDrawn="1"/>
        </p:nvCxnSpPr>
        <p:spPr>
          <a:xfrm>
            <a:off x="6134822" y="3023310"/>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uadroTexto 71">
            <a:extLst>
              <a:ext uri="{FF2B5EF4-FFF2-40B4-BE49-F238E27FC236}">
                <a16:creationId xmlns:a16="http://schemas.microsoft.com/office/drawing/2014/main" id="{DDC504B2-10A4-4B6C-AFF9-2A5FE80614B6}"/>
              </a:ext>
            </a:extLst>
          </p:cNvPr>
          <p:cNvSpPr txBox="1"/>
          <p:nvPr userDrawn="1"/>
        </p:nvSpPr>
        <p:spPr>
          <a:xfrm>
            <a:off x="6766193" y="2467117"/>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4" name="CuadroTexto 72">
            <a:extLst>
              <a:ext uri="{FF2B5EF4-FFF2-40B4-BE49-F238E27FC236}">
                <a16:creationId xmlns:a16="http://schemas.microsoft.com/office/drawing/2014/main" id="{8589A8F1-039F-4991-B193-A41AE837577E}"/>
              </a:ext>
            </a:extLst>
          </p:cNvPr>
          <p:cNvSpPr txBox="1"/>
          <p:nvPr userDrawn="1"/>
        </p:nvSpPr>
        <p:spPr>
          <a:xfrm>
            <a:off x="6134822" y="3195745"/>
            <a:ext cx="622761" cy="584775"/>
          </a:xfrm>
          <a:prstGeom prst="rect">
            <a:avLst/>
          </a:prstGeom>
          <a:noFill/>
        </p:spPr>
        <p:txBody>
          <a:bodyPr wrap="square" rtlCol="0">
            <a:spAutoFit/>
          </a:bodyPr>
          <a:lstStyle/>
          <a:p>
            <a:r>
              <a:rPr lang="en-US" sz="3200" b="1">
                <a:solidFill>
                  <a:schemeClr val="accent2"/>
                </a:solidFill>
              </a:rPr>
              <a:t>04</a:t>
            </a:r>
          </a:p>
        </p:txBody>
      </p:sp>
      <p:cxnSp>
        <p:nvCxnSpPr>
          <p:cNvPr id="15" name="Conector recto 73">
            <a:extLst>
              <a:ext uri="{FF2B5EF4-FFF2-40B4-BE49-F238E27FC236}">
                <a16:creationId xmlns:a16="http://schemas.microsoft.com/office/drawing/2014/main" id="{8D7C3823-BAA4-4F03-BBF1-F78B1DD73DD8}"/>
              </a:ext>
            </a:extLst>
          </p:cNvPr>
          <p:cNvCxnSpPr>
            <a:cxnSpLocks/>
          </p:cNvCxnSpPr>
          <p:nvPr userDrawn="1"/>
        </p:nvCxnSpPr>
        <p:spPr>
          <a:xfrm>
            <a:off x="6134822" y="3892832"/>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CuadroTexto 74">
            <a:extLst>
              <a:ext uri="{FF2B5EF4-FFF2-40B4-BE49-F238E27FC236}">
                <a16:creationId xmlns:a16="http://schemas.microsoft.com/office/drawing/2014/main" id="{8A32F910-9D38-4647-9668-330B07A062F0}"/>
              </a:ext>
            </a:extLst>
          </p:cNvPr>
          <p:cNvSpPr txBox="1"/>
          <p:nvPr userDrawn="1"/>
        </p:nvSpPr>
        <p:spPr>
          <a:xfrm>
            <a:off x="6766193" y="3336639"/>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17" name="CuadroTexto 75">
            <a:extLst>
              <a:ext uri="{FF2B5EF4-FFF2-40B4-BE49-F238E27FC236}">
                <a16:creationId xmlns:a16="http://schemas.microsoft.com/office/drawing/2014/main" id="{2CA764F7-9D4C-44CE-BD17-83A5FE9888B9}"/>
              </a:ext>
            </a:extLst>
          </p:cNvPr>
          <p:cNvSpPr txBox="1"/>
          <p:nvPr userDrawn="1"/>
        </p:nvSpPr>
        <p:spPr>
          <a:xfrm>
            <a:off x="6134822" y="4106746"/>
            <a:ext cx="622761" cy="584775"/>
          </a:xfrm>
          <a:prstGeom prst="rect">
            <a:avLst/>
          </a:prstGeom>
          <a:noFill/>
        </p:spPr>
        <p:txBody>
          <a:bodyPr wrap="square" rtlCol="0">
            <a:spAutoFit/>
          </a:bodyPr>
          <a:lstStyle/>
          <a:p>
            <a:r>
              <a:rPr lang="en-US" sz="3200" b="1">
                <a:solidFill>
                  <a:schemeClr val="accent2"/>
                </a:solidFill>
              </a:rPr>
              <a:t>05</a:t>
            </a:r>
          </a:p>
        </p:txBody>
      </p:sp>
      <p:cxnSp>
        <p:nvCxnSpPr>
          <p:cNvPr id="18" name="Conector recto 76">
            <a:extLst>
              <a:ext uri="{FF2B5EF4-FFF2-40B4-BE49-F238E27FC236}">
                <a16:creationId xmlns:a16="http://schemas.microsoft.com/office/drawing/2014/main" id="{2EBE4CB2-B692-4613-B76F-C8B8743D2FD2}"/>
              </a:ext>
            </a:extLst>
          </p:cNvPr>
          <p:cNvCxnSpPr>
            <a:cxnSpLocks/>
          </p:cNvCxnSpPr>
          <p:nvPr userDrawn="1"/>
        </p:nvCxnSpPr>
        <p:spPr>
          <a:xfrm>
            <a:off x="6134822" y="4795356"/>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CuadroTexto 77">
            <a:extLst>
              <a:ext uri="{FF2B5EF4-FFF2-40B4-BE49-F238E27FC236}">
                <a16:creationId xmlns:a16="http://schemas.microsoft.com/office/drawing/2014/main" id="{395C91E7-653B-44A4-9BD5-8946AB5FF184}"/>
              </a:ext>
            </a:extLst>
          </p:cNvPr>
          <p:cNvSpPr txBox="1"/>
          <p:nvPr userDrawn="1"/>
        </p:nvSpPr>
        <p:spPr>
          <a:xfrm>
            <a:off x="6766193" y="4239163"/>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20" name="CuadroTexto 78">
            <a:extLst>
              <a:ext uri="{FF2B5EF4-FFF2-40B4-BE49-F238E27FC236}">
                <a16:creationId xmlns:a16="http://schemas.microsoft.com/office/drawing/2014/main" id="{BD21EC6A-1E53-407F-AB38-21F243F6B9C1}"/>
              </a:ext>
            </a:extLst>
          </p:cNvPr>
          <p:cNvSpPr txBox="1"/>
          <p:nvPr userDrawn="1"/>
        </p:nvSpPr>
        <p:spPr>
          <a:xfrm>
            <a:off x="6134822" y="4970477"/>
            <a:ext cx="622761" cy="584775"/>
          </a:xfrm>
          <a:prstGeom prst="rect">
            <a:avLst/>
          </a:prstGeom>
          <a:noFill/>
        </p:spPr>
        <p:txBody>
          <a:bodyPr wrap="square" rtlCol="0">
            <a:spAutoFit/>
          </a:bodyPr>
          <a:lstStyle/>
          <a:p>
            <a:r>
              <a:rPr lang="en-US" sz="3200" b="1">
                <a:solidFill>
                  <a:schemeClr val="accent2"/>
                </a:solidFill>
              </a:rPr>
              <a:t>06</a:t>
            </a:r>
          </a:p>
        </p:txBody>
      </p:sp>
      <p:cxnSp>
        <p:nvCxnSpPr>
          <p:cNvPr id="21" name="Conector recto 79">
            <a:extLst>
              <a:ext uri="{FF2B5EF4-FFF2-40B4-BE49-F238E27FC236}">
                <a16:creationId xmlns:a16="http://schemas.microsoft.com/office/drawing/2014/main" id="{19F9EB74-C199-471F-82DD-F58BD1AD5946}"/>
              </a:ext>
            </a:extLst>
          </p:cNvPr>
          <p:cNvCxnSpPr>
            <a:cxnSpLocks/>
          </p:cNvCxnSpPr>
          <p:nvPr userDrawn="1"/>
        </p:nvCxnSpPr>
        <p:spPr>
          <a:xfrm>
            <a:off x="6134822" y="5660258"/>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CuadroTexto 80">
            <a:extLst>
              <a:ext uri="{FF2B5EF4-FFF2-40B4-BE49-F238E27FC236}">
                <a16:creationId xmlns:a16="http://schemas.microsoft.com/office/drawing/2014/main" id="{1B0BB0A8-8989-444C-AC45-79D95010048A}"/>
              </a:ext>
            </a:extLst>
          </p:cNvPr>
          <p:cNvSpPr txBox="1"/>
          <p:nvPr userDrawn="1"/>
        </p:nvSpPr>
        <p:spPr>
          <a:xfrm>
            <a:off x="6766193" y="5104065"/>
            <a:ext cx="5225938"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
        <p:nvSpPr>
          <p:cNvPr id="23" name="CuadroTexto 81">
            <a:extLst>
              <a:ext uri="{FF2B5EF4-FFF2-40B4-BE49-F238E27FC236}">
                <a16:creationId xmlns:a16="http://schemas.microsoft.com/office/drawing/2014/main" id="{6D7E5DB7-994F-4C02-97B2-92DE71FFF7CA}"/>
              </a:ext>
            </a:extLst>
          </p:cNvPr>
          <p:cNvSpPr txBox="1"/>
          <p:nvPr userDrawn="1"/>
        </p:nvSpPr>
        <p:spPr>
          <a:xfrm>
            <a:off x="6134822" y="5736681"/>
            <a:ext cx="622761" cy="584775"/>
          </a:xfrm>
          <a:prstGeom prst="rect">
            <a:avLst/>
          </a:prstGeom>
          <a:noFill/>
        </p:spPr>
        <p:txBody>
          <a:bodyPr wrap="square" rtlCol="0">
            <a:spAutoFit/>
          </a:bodyPr>
          <a:lstStyle/>
          <a:p>
            <a:r>
              <a:rPr lang="en-US" sz="3200" b="1">
                <a:solidFill>
                  <a:schemeClr val="accent2"/>
                </a:solidFill>
              </a:rPr>
              <a:t>07</a:t>
            </a:r>
          </a:p>
        </p:txBody>
      </p:sp>
      <p:cxnSp>
        <p:nvCxnSpPr>
          <p:cNvPr id="24" name="Conector recto 82">
            <a:extLst>
              <a:ext uri="{FF2B5EF4-FFF2-40B4-BE49-F238E27FC236}">
                <a16:creationId xmlns:a16="http://schemas.microsoft.com/office/drawing/2014/main" id="{F2C214EC-7C7C-484C-A6C2-7E650DEFA024}"/>
              </a:ext>
            </a:extLst>
          </p:cNvPr>
          <p:cNvCxnSpPr>
            <a:cxnSpLocks/>
          </p:cNvCxnSpPr>
          <p:nvPr userDrawn="1"/>
        </p:nvCxnSpPr>
        <p:spPr>
          <a:xfrm>
            <a:off x="6134822" y="6426463"/>
            <a:ext cx="533252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CuadroTexto 83">
            <a:extLst>
              <a:ext uri="{FF2B5EF4-FFF2-40B4-BE49-F238E27FC236}">
                <a16:creationId xmlns:a16="http://schemas.microsoft.com/office/drawing/2014/main" id="{D0521258-AE07-4F7D-B230-9FE741C18173}"/>
              </a:ext>
            </a:extLst>
          </p:cNvPr>
          <p:cNvSpPr txBox="1"/>
          <p:nvPr userDrawn="1"/>
        </p:nvSpPr>
        <p:spPr>
          <a:xfrm>
            <a:off x="6766193" y="5870270"/>
            <a:ext cx="4912623" cy="369332"/>
          </a:xfrm>
          <a:prstGeom prst="rect">
            <a:avLst/>
          </a:prstGeom>
          <a:noFill/>
        </p:spPr>
        <p:txBody>
          <a:bodyPr wrap="square" rtlCol="0">
            <a:spAutoFit/>
          </a:bodyPr>
          <a:lstStyle/>
          <a:p>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44565754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766915" y="310463"/>
            <a:ext cx="10818101" cy="596766"/>
          </a:xfrm>
          <a:prstGeom prst="rect">
            <a:avLst/>
          </a:prstGeom>
        </p:spPr>
        <p:txBody>
          <a:bodyPr tIns="0" anchor="b"/>
          <a:lstStyle>
            <a:lvl1pPr>
              <a:lnSpc>
                <a:spcPct val="100000"/>
              </a:lnSpc>
              <a:defRPr b="1">
                <a:solidFill>
                  <a:schemeClr val="tx2"/>
                </a:solidFill>
                <a:latin typeface="+mn-lt"/>
                <a:cs typeface="72 Black" panose="020B0A04030603020204" pitchFamily="34" charset="0"/>
              </a:defRPr>
            </a:lvl1pPr>
          </a:lstStyle>
          <a:p>
            <a:r>
              <a:rPr lang="en-GB" noProof="0"/>
              <a:t>Agenda</a:t>
            </a:r>
          </a:p>
        </p:txBody>
      </p:sp>
      <p:sp>
        <p:nvSpPr>
          <p:cNvPr id="5" name="Marcador de texto 4"/>
          <p:cNvSpPr>
            <a:spLocks noGrp="1"/>
          </p:cNvSpPr>
          <p:nvPr>
            <p:ph type="body" sz="quarter" idx="14" hasCustomPrompt="1"/>
          </p:nvPr>
        </p:nvSpPr>
        <p:spPr>
          <a:xfrm>
            <a:off x="801418" y="1470991"/>
            <a:ext cx="10783598" cy="4613152"/>
          </a:xfrm>
          <a:prstGeom prst="rect">
            <a:avLst/>
          </a:prstGeom>
        </p:spPr>
        <p:txBody>
          <a:bodyPr>
            <a:normAutofit/>
          </a:bodyPr>
          <a:lstStyle>
            <a:lvl1pPr marL="514350" indent="-514350">
              <a:lnSpc>
                <a:spcPct val="100000"/>
              </a:lnSpc>
              <a:buClr>
                <a:schemeClr val="accent2"/>
              </a:buClr>
              <a:buSzPct val="100000"/>
              <a:buFont typeface="+mj-lt"/>
              <a:buAutoNum type="arabicPeriod"/>
              <a:defRPr sz="2800" baseline="0">
                <a:solidFill>
                  <a:schemeClr val="tx2"/>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41149367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F1F0C6D1-9872-4859-B0EE-C6A0FF1C85D8}"/>
              </a:ext>
            </a:extLst>
          </p:cNvPr>
          <p:cNvSpPr>
            <a:spLocks noGrp="1"/>
          </p:cNvSpPr>
          <p:nvPr>
            <p:ph idx="1" hasCustomPrompt="1"/>
          </p:nvPr>
        </p:nvSpPr>
        <p:spPr>
          <a:xfrm>
            <a:off x="1842358" y="2193938"/>
            <a:ext cx="2931239" cy="447261"/>
          </a:xfrm>
          <a:prstGeom prst="rect">
            <a:avLst/>
          </a:prstGeom>
        </p:spPr>
        <p:txBody>
          <a:bodyP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0" name="Text Placeholder 23">
            <a:extLst>
              <a:ext uri="{FF2B5EF4-FFF2-40B4-BE49-F238E27FC236}">
                <a16:creationId xmlns:a16="http://schemas.microsoft.com/office/drawing/2014/main" id="{2A2F7742-B677-49B0-B399-75D37A4DF9A5}"/>
              </a:ext>
            </a:extLst>
          </p:cNvPr>
          <p:cNvSpPr>
            <a:spLocks noGrp="1"/>
          </p:cNvSpPr>
          <p:nvPr>
            <p:ph type="body" sz="quarter" idx="21"/>
          </p:nvPr>
        </p:nvSpPr>
        <p:spPr>
          <a:xfrm>
            <a:off x="1842149" y="2747699"/>
            <a:ext cx="2931447" cy="1312239"/>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1" name="Content Placeholder 2">
            <a:extLst>
              <a:ext uri="{FF2B5EF4-FFF2-40B4-BE49-F238E27FC236}">
                <a16:creationId xmlns:a16="http://schemas.microsoft.com/office/drawing/2014/main" id="{2A9D94F9-4545-4F25-AB61-8BF82B4D57C3}"/>
              </a:ext>
            </a:extLst>
          </p:cNvPr>
          <p:cNvSpPr>
            <a:spLocks noGrp="1"/>
          </p:cNvSpPr>
          <p:nvPr>
            <p:ph idx="30" hasCustomPrompt="1"/>
          </p:nvPr>
        </p:nvSpPr>
        <p:spPr>
          <a:xfrm>
            <a:off x="1842140" y="4494906"/>
            <a:ext cx="2931448" cy="447261"/>
          </a:xfrm>
          <a:prstGeom prst="rect">
            <a:avLst/>
          </a:prstGeom>
        </p:spPr>
        <p:txBody>
          <a:bodyPr>
            <a:noAutofit/>
          </a:bodyPr>
          <a:lstStyle>
            <a:lvl1pPr marL="0" indent="0" algn="l">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a:extLst>
              <a:ext uri="{FF2B5EF4-FFF2-40B4-BE49-F238E27FC236}">
                <a16:creationId xmlns:a16="http://schemas.microsoft.com/office/drawing/2014/main" id="{A8B75377-16D0-4DDE-A38E-2BE9409EB26B}"/>
              </a:ext>
            </a:extLst>
          </p:cNvPr>
          <p:cNvSpPr>
            <a:spLocks noGrp="1"/>
          </p:cNvSpPr>
          <p:nvPr>
            <p:ph type="body" sz="quarter" idx="31"/>
          </p:nvPr>
        </p:nvSpPr>
        <p:spPr>
          <a:xfrm>
            <a:off x="1842140" y="5048653"/>
            <a:ext cx="2931448" cy="1260072"/>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a:extLst>
              <a:ext uri="{FF2B5EF4-FFF2-40B4-BE49-F238E27FC236}">
                <a16:creationId xmlns:a16="http://schemas.microsoft.com/office/drawing/2014/main" id="{C4D4428D-E103-4A57-8C83-378603B27F6A}"/>
              </a:ext>
            </a:extLst>
          </p:cNvPr>
          <p:cNvSpPr>
            <a:spLocks noGrp="1"/>
          </p:cNvSpPr>
          <p:nvPr>
            <p:ph idx="32" hasCustomPrompt="1"/>
          </p:nvPr>
        </p:nvSpPr>
        <p:spPr>
          <a:xfrm>
            <a:off x="7587440" y="2202357"/>
            <a:ext cx="2835011" cy="447261"/>
          </a:xfrm>
          <a:prstGeom prst="rect">
            <a:avLst/>
          </a:prstGeom>
        </p:spPr>
        <p:txBody>
          <a:bodyPr>
            <a:noAutofit/>
          </a:bodyPr>
          <a:lstStyle>
            <a:lvl1pPr marL="0" indent="0">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a:extLst>
              <a:ext uri="{FF2B5EF4-FFF2-40B4-BE49-F238E27FC236}">
                <a16:creationId xmlns:a16="http://schemas.microsoft.com/office/drawing/2014/main" id="{5C0EEB51-7790-4732-AA7E-15105EEADC48}"/>
              </a:ext>
            </a:extLst>
          </p:cNvPr>
          <p:cNvSpPr>
            <a:spLocks noGrp="1"/>
          </p:cNvSpPr>
          <p:nvPr>
            <p:ph type="body" sz="quarter" idx="33"/>
          </p:nvPr>
        </p:nvSpPr>
        <p:spPr>
          <a:xfrm>
            <a:off x="7587232" y="2747699"/>
            <a:ext cx="2835011" cy="1312239"/>
          </a:xfrm>
          <a:prstGeom prst="rect">
            <a:avLst/>
          </a:prstGeom>
        </p:spPr>
        <p:txBody>
          <a:bodyPr>
            <a:noAutofit/>
          </a:bodyPr>
          <a:lstStyle>
            <a:lvl1pPr marL="0" indent="0">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a:extLst>
              <a:ext uri="{FF2B5EF4-FFF2-40B4-BE49-F238E27FC236}">
                <a16:creationId xmlns:a16="http://schemas.microsoft.com/office/drawing/2014/main" id="{85511976-05F9-4910-92BB-333E9AEFAA41}"/>
              </a:ext>
            </a:extLst>
          </p:cNvPr>
          <p:cNvSpPr>
            <a:spLocks noGrp="1"/>
          </p:cNvSpPr>
          <p:nvPr>
            <p:ph idx="34" hasCustomPrompt="1"/>
          </p:nvPr>
        </p:nvSpPr>
        <p:spPr>
          <a:xfrm>
            <a:off x="7587440" y="4494905"/>
            <a:ext cx="2835011" cy="447261"/>
          </a:xfrm>
          <a:prstGeom prst="rect">
            <a:avLst/>
          </a:prstGeom>
        </p:spPr>
        <p:txBody>
          <a:bodyPr>
            <a:noAutofit/>
          </a:bodyPr>
          <a:lstStyle>
            <a:lvl1pPr marL="0" indent="0">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8" name="Text Placeholder 23">
            <a:extLst>
              <a:ext uri="{FF2B5EF4-FFF2-40B4-BE49-F238E27FC236}">
                <a16:creationId xmlns:a16="http://schemas.microsoft.com/office/drawing/2014/main" id="{AC41573D-C251-41E1-900A-C6093CB96A4E}"/>
              </a:ext>
            </a:extLst>
          </p:cNvPr>
          <p:cNvSpPr>
            <a:spLocks noGrp="1"/>
          </p:cNvSpPr>
          <p:nvPr>
            <p:ph type="body" sz="quarter" idx="35"/>
          </p:nvPr>
        </p:nvSpPr>
        <p:spPr>
          <a:xfrm>
            <a:off x="7587440" y="5048653"/>
            <a:ext cx="2835011" cy="1260072"/>
          </a:xfrm>
          <a:prstGeom prst="rect">
            <a:avLst/>
          </a:prstGeom>
        </p:spPr>
        <p:txBody>
          <a:bodyPr>
            <a:noAutofit/>
          </a:bodyPr>
          <a:lstStyle>
            <a:lvl1pPr marL="0" indent="0">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2" name="Title 1">
            <a:extLst>
              <a:ext uri="{FF2B5EF4-FFF2-40B4-BE49-F238E27FC236}">
                <a16:creationId xmlns:a16="http://schemas.microsoft.com/office/drawing/2014/main" id="{541D4D3A-6825-445A-A0C6-F5F747EB8B17}"/>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3" name="Text Placeholder 19">
            <a:extLst>
              <a:ext uri="{FF2B5EF4-FFF2-40B4-BE49-F238E27FC236}">
                <a16:creationId xmlns:a16="http://schemas.microsoft.com/office/drawing/2014/main" id="{5A2164A4-CEA4-4326-B4C4-91C9FA4C31B6}"/>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28093094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82721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ver with photo background 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2DDBA34-3565-4473-8651-4D0D293C91E1}"/>
              </a:ext>
            </a:extLst>
          </p:cNvPr>
          <p:cNvSpPr>
            <a:spLocks noGrp="1"/>
          </p:cNvSpPr>
          <p:nvPr>
            <p:ph type="pic" sz="quarter" idx="10"/>
          </p:nvPr>
        </p:nvSpPr>
        <p:spPr>
          <a:xfrm>
            <a:off x="6096000" y="0"/>
            <a:ext cx="6096000" cy="6854825"/>
          </a:xfrm>
          <a:prstGeom prst="rect">
            <a:avLst/>
          </a:prstGeom>
        </p:spPr>
        <p:txBody>
          <a:bodyPr/>
          <a:lstStyle/>
          <a:p>
            <a:endParaRPr lang="en-US"/>
          </a:p>
        </p:txBody>
      </p:sp>
      <p:sp>
        <p:nvSpPr>
          <p:cNvPr id="3" name="CuadroTexto 12">
            <a:extLst>
              <a:ext uri="{FF2B5EF4-FFF2-40B4-BE49-F238E27FC236}">
                <a16:creationId xmlns:a16="http://schemas.microsoft.com/office/drawing/2014/main" id="{987889D4-8B80-46D8-B8FA-08AE73051523}"/>
              </a:ext>
            </a:extLst>
          </p:cNvPr>
          <p:cNvSpPr txBox="1"/>
          <p:nvPr userDrawn="1"/>
        </p:nvSpPr>
        <p:spPr>
          <a:xfrm>
            <a:off x="863031" y="957276"/>
            <a:ext cx="4492725" cy="1323439"/>
          </a:xfrm>
          <a:prstGeom prst="rect">
            <a:avLst/>
          </a:prstGeom>
          <a:noFill/>
        </p:spPr>
        <p:txBody>
          <a:bodyPr wrap="square" rtlCol="0">
            <a:spAutoFit/>
          </a:bodyPr>
          <a:lstStyle/>
          <a:p>
            <a:r>
              <a:rPr lang="en-US" sz="4000" b="1"/>
              <a:t>Title for your content slide</a:t>
            </a:r>
            <a:endParaRPr lang="es-ES" sz="4000" b="1"/>
          </a:p>
        </p:txBody>
      </p:sp>
      <p:sp>
        <p:nvSpPr>
          <p:cNvPr id="4" name="CuadroTexto 2">
            <a:extLst>
              <a:ext uri="{FF2B5EF4-FFF2-40B4-BE49-F238E27FC236}">
                <a16:creationId xmlns:a16="http://schemas.microsoft.com/office/drawing/2014/main" id="{00C833A1-8E29-4166-9AAE-F3118196FC11}"/>
              </a:ext>
            </a:extLst>
          </p:cNvPr>
          <p:cNvSpPr txBox="1"/>
          <p:nvPr userDrawn="1"/>
        </p:nvSpPr>
        <p:spPr>
          <a:xfrm>
            <a:off x="863031" y="2830795"/>
            <a:ext cx="4960056" cy="2308324"/>
          </a:xfrm>
          <a:prstGeom prst="rect">
            <a:avLst/>
          </a:prstGeom>
          <a:noFill/>
        </p:spPr>
        <p:txBody>
          <a:bodyPr wrap="square" rtlCol="0">
            <a:spAutoFit/>
          </a:bodyPr>
          <a:lstStyle/>
          <a:p>
            <a:r>
              <a:rPr lang="en-US" sz="2400" b="1">
                <a:solidFill>
                  <a:schemeClr val="accent2"/>
                </a:solidFill>
              </a:rPr>
              <a:t>1.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p>
          <a:p>
            <a:r>
              <a:rPr lang="en-US" sz="2400" b="1">
                <a:solidFill>
                  <a:schemeClr val="accent2"/>
                </a:solidFill>
              </a:rPr>
              <a:t>2.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p>
          <a:p>
            <a:r>
              <a:rPr lang="en-US" sz="2400" b="1">
                <a:solidFill>
                  <a:schemeClr val="accent2"/>
                </a:solidFill>
              </a:rPr>
              <a:t>3. </a:t>
            </a:r>
            <a:r>
              <a:rPr lang="en-US" sz="2400"/>
              <a:t>Lorem ipsum dolor sit </a:t>
            </a:r>
            <a:r>
              <a:rPr lang="en-US" sz="2400" err="1"/>
              <a:t>amet</a:t>
            </a:r>
            <a:r>
              <a:rPr lang="en-US" sz="2400"/>
              <a:t>, </a:t>
            </a:r>
            <a:r>
              <a:rPr lang="en-US" sz="2400" err="1"/>
              <a:t>consectetur</a:t>
            </a:r>
            <a:r>
              <a:rPr lang="en-US" sz="2400"/>
              <a:t> </a:t>
            </a:r>
            <a:r>
              <a:rPr lang="en-US" sz="2400" err="1"/>
              <a:t>adipiscing</a:t>
            </a:r>
            <a:r>
              <a:rPr lang="en-US" sz="2400"/>
              <a:t> </a:t>
            </a:r>
            <a:r>
              <a:rPr lang="en-US" sz="2400" err="1"/>
              <a:t>elit</a:t>
            </a:r>
            <a:r>
              <a:rPr lang="en-US" sz="2400"/>
              <a:t>.</a:t>
            </a:r>
            <a:endParaRPr lang="es-ES" sz="2400"/>
          </a:p>
        </p:txBody>
      </p:sp>
    </p:spTree>
    <p:extLst>
      <p:ext uri="{BB962C8B-B14F-4D97-AF65-F5344CB8AC3E}">
        <p14:creationId xmlns:p14="http://schemas.microsoft.com/office/powerpoint/2010/main" val="189931259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6" name="Marcador de texto 2">
            <a:extLst>
              <a:ext uri="{FF2B5EF4-FFF2-40B4-BE49-F238E27FC236}">
                <a16:creationId xmlns:a16="http://schemas.microsoft.com/office/drawing/2014/main" id="{3EA34706-61B4-4A1E-A18C-47E0E24E6347}"/>
              </a:ext>
            </a:extLst>
          </p:cNvPr>
          <p:cNvSpPr>
            <a:spLocks noGrp="1"/>
          </p:cNvSpPr>
          <p:nvPr>
            <p:ph type="body" sz="quarter" idx="18" hasCustomPrompt="1"/>
          </p:nvPr>
        </p:nvSpPr>
        <p:spPr>
          <a:xfrm>
            <a:off x="786581" y="1764383"/>
            <a:ext cx="5309420"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7" name="Marcador de texto 2">
            <a:extLst>
              <a:ext uri="{FF2B5EF4-FFF2-40B4-BE49-F238E27FC236}">
                <a16:creationId xmlns:a16="http://schemas.microsoft.com/office/drawing/2014/main" id="{3278AED5-2CEB-4876-BC96-4F124C387724}"/>
              </a:ext>
            </a:extLst>
          </p:cNvPr>
          <p:cNvSpPr>
            <a:spLocks noGrp="1"/>
          </p:cNvSpPr>
          <p:nvPr>
            <p:ph type="body" sz="quarter" idx="19" hasCustomPrompt="1"/>
          </p:nvPr>
        </p:nvSpPr>
        <p:spPr>
          <a:xfrm>
            <a:off x="6248401" y="1764383"/>
            <a:ext cx="5309420" cy="4544355"/>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8" name="Title 1">
            <a:extLst>
              <a:ext uri="{FF2B5EF4-FFF2-40B4-BE49-F238E27FC236}">
                <a16:creationId xmlns:a16="http://schemas.microsoft.com/office/drawing/2014/main" id="{0DD1D599-0789-490D-A4F7-1570138311BD}"/>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0" name="Text Placeholder 19">
            <a:extLst>
              <a:ext uri="{FF2B5EF4-FFF2-40B4-BE49-F238E27FC236}">
                <a16:creationId xmlns:a16="http://schemas.microsoft.com/office/drawing/2014/main" id="{C1C0AD52-5103-4BE4-A573-038E9DBB1A3C}"/>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532273865"/>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786580" y="1728879"/>
            <a:ext cx="5031219" cy="1349538"/>
          </a:xfrm>
          <a:prstGeom prst="rect">
            <a:avLst/>
          </a:prstGeom>
        </p:spPr>
        <p:txBody>
          <a:bodyPr>
            <a:normAutofit/>
          </a:bodyPr>
          <a:lstStyle>
            <a:lvl1pPr marL="0" indent="0">
              <a:lnSpc>
                <a:spcPts val="1425"/>
              </a:lnSpc>
              <a:buNone/>
              <a:defRPr sz="2400">
                <a:solidFill>
                  <a:schemeClr val="tx2"/>
                </a:solidFill>
                <a:latin typeface="Calibri "/>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6" name="Marcador de texto 2">
            <a:extLst>
              <a:ext uri="{FF2B5EF4-FFF2-40B4-BE49-F238E27FC236}">
                <a16:creationId xmlns:a16="http://schemas.microsoft.com/office/drawing/2014/main" id="{BF2544F8-35F4-428B-9C13-C03FD8901DBC}"/>
              </a:ext>
            </a:extLst>
          </p:cNvPr>
          <p:cNvSpPr>
            <a:spLocks noGrp="1"/>
          </p:cNvSpPr>
          <p:nvPr>
            <p:ph type="body" sz="quarter" idx="19" hasCustomPrompt="1"/>
          </p:nvPr>
        </p:nvSpPr>
        <p:spPr>
          <a:xfrm>
            <a:off x="6248401" y="1723559"/>
            <a:ext cx="5309420" cy="4828566"/>
          </a:xfrm>
          <a:prstGeom prst="rect">
            <a:avLst/>
          </a:prstGeom>
        </p:spPr>
        <p:txBody>
          <a:bodyPr>
            <a:normAutofit/>
          </a:bodyPr>
          <a:lstStyle>
            <a:lvl1pPr marL="130960" indent="-130960">
              <a:lnSpc>
                <a:spcPct val="100000"/>
              </a:lnSpc>
              <a:buClr>
                <a:srgbClr val="005EB8"/>
              </a:buClr>
              <a:buFont typeface="Arial" panose="020B0604020202020204" pitchFamily="34" charset="0"/>
              <a:buChar char="•"/>
              <a:defRPr sz="2800" baseline="0">
                <a:solidFill>
                  <a:srgbClr val="005EB8"/>
                </a:solidFill>
                <a:latin typeface="Calibri "/>
                <a:cs typeface="Arial" panose="020B0604020202020204" pitchFamily="34" charset="0"/>
              </a:defRPr>
            </a:lvl1pPr>
            <a:lvl2pPr marL="685800" indent="-228600">
              <a:lnSpc>
                <a:spcPct val="100000"/>
              </a:lnSpc>
              <a:buClr>
                <a:srgbClr val="005EB8"/>
              </a:buClr>
              <a:buSzPct val="70000"/>
              <a:buFont typeface="Courier New" panose="02070309020205020404" pitchFamily="49" charset="0"/>
              <a:buChar char="o"/>
              <a:defRPr sz="2400" baseline="0">
                <a:solidFill>
                  <a:srgbClr val="005EB8"/>
                </a:solidFill>
                <a:latin typeface="Calibri "/>
                <a:cs typeface="Arial" panose="020B0604020202020204" pitchFamily="34" charset="0"/>
              </a:defRPr>
            </a:lvl2pPr>
            <a:lvl3pPr marL="1143000" indent="-228600">
              <a:lnSpc>
                <a:spcPct val="100000"/>
              </a:lnSpc>
              <a:buClr>
                <a:srgbClr val="005EB8"/>
              </a:buClr>
              <a:buSzPct val="70000"/>
              <a:buFont typeface="Wingdings" panose="05000000000000000000" pitchFamily="2" charset="2"/>
              <a:buChar char="§"/>
              <a:defRPr sz="2000" baseline="0">
                <a:solidFill>
                  <a:srgbClr val="005EB8"/>
                </a:solidFill>
                <a:latin typeface="Calibri "/>
                <a:cs typeface="Arial" panose="020B0604020202020204" pitchFamily="34" charset="0"/>
              </a:defRPr>
            </a:lvl3pPr>
            <a:lvl4pPr marL="1600200" indent="-228600">
              <a:lnSpc>
                <a:spcPct val="100000"/>
              </a:lnSpc>
              <a:buClr>
                <a:srgbClr val="005EB8"/>
              </a:buClr>
              <a:buSzPct val="70000"/>
              <a:buFont typeface="Wingdings" panose="05000000000000000000" pitchFamily="2" charset="2"/>
              <a:buChar char="§"/>
              <a:defRPr sz="1800" baseline="0">
                <a:solidFill>
                  <a:srgbClr val="005EB8"/>
                </a:solidFill>
                <a:latin typeface="Calibri "/>
                <a:cs typeface="Arial" panose="020B0604020202020204" pitchFamily="34" charset="0"/>
              </a:defRPr>
            </a:lvl4pPr>
            <a:lvl5pPr marL="2057400" indent="-228600">
              <a:lnSpc>
                <a:spcPct val="100000"/>
              </a:lnSpc>
              <a:buClr>
                <a:srgbClr val="005EB8"/>
              </a:buClr>
              <a:buSzPct val="70000"/>
              <a:buFont typeface="Wingdings" panose="05000000000000000000" pitchFamily="2" charset="2"/>
              <a:buChar char="§"/>
              <a:defRPr sz="1400" baseline="0">
                <a:solidFill>
                  <a:srgbClr val="005EB8"/>
                </a:solidFill>
                <a:latin typeface="Calibri "/>
                <a:cs typeface="Arial" panose="020B060402020202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8" name="Title 1">
            <a:extLst>
              <a:ext uri="{FF2B5EF4-FFF2-40B4-BE49-F238E27FC236}">
                <a16:creationId xmlns:a16="http://schemas.microsoft.com/office/drawing/2014/main" id="{FB8A2EA4-DA0D-469D-890D-C0833A96B32E}"/>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9" name="Text Placeholder 19">
            <a:extLst>
              <a:ext uri="{FF2B5EF4-FFF2-40B4-BE49-F238E27FC236}">
                <a16:creationId xmlns:a16="http://schemas.microsoft.com/office/drawing/2014/main" id="{9F14568C-4965-4019-A016-82E363693B98}"/>
              </a:ext>
            </a:extLst>
          </p:cNvPr>
          <p:cNvSpPr>
            <a:spLocks noGrp="1"/>
          </p:cNvSpPr>
          <p:nvPr>
            <p:ph type="body" sz="quarter" idx="20"/>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76902362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F1F0C6D1-9872-4859-B0EE-C6A0FF1C85D8}"/>
              </a:ext>
            </a:extLst>
          </p:cNvPr>
          <p:cNvSpPr>
            <a:spLocks noGrp="1"/>
          </p:cNvSpPr>
          <p:nvPr>
            <p:ph idx="1" hasCustomPrompt="1"/>
          </p:nvPr>
        </p:nvSpPr>
        <p:spPr>
          <a:xfrm>
            <a:off x="1842358" y="2193938"/>
            <a:ext cx="2931239" cy="447261"/>
          </a:xfrm>
          <a:prstGeom prst="rect">
            <a:avLst/>
          </a:prstGeom>
        </p:spPr>
        <p:txBody>
          <a:bodyP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0" name="Text Placeholder 23">
            <a:extLst>
              <a:ext uri="{FF2B5EF4-FFF2-40B4-BE49-F238E27FC236}">
                <a16:creationId xmlns:a16="http://schemas.microsoft.com/office/drawing/2014/main" id="{2A2F7742-B677-49B0-B399-75D37A4DF9A5}"/>
              </a:ext>
            </a:extLst>
          </p:cNvPr>
          <p:cNvSpPr>
            <a:spLocks noGrp="1"/>
          </p:cNvSpPr>
          <p:nvPr>
            <p:ph type="body" sz="quarter" idx="21"/>
          </p:nvPr>
        </p:nvSpPr>
        <p:spPr>
          <a:xfrm>
            <a:off x="1842149" y="2747699"/>
            <a:ext cx="2931447" cy="1312239"/>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1" name="Content Placeholder 2">
            <a:extLst>
              <a:ext uri="{FF2B5EF4-FFF2-40B4-BE49-F238E27FC236}">
                <a16:creationId xmlns:a16="http://schemas.microsoft.com/office/drawing/2014/main" id="{2A9D94F9-4545-4F25-AB61-8BF82B4D57C3}"/>
              </a:ext>
            </a:extLst>
          </p:cNvPr>
          <p:cNvSpPr>
            <a:spLocks noGrp="1"/>
          </p:cNvSpPr>
          <p:nvPr>
            <p:ph idx="30" hasCustomPrompt="1"/>
          </p:nvPr>
        </p:nvSpPr>
        <p:spPr>
          <a:xfrm>
            <a:off x="1842140" y="4494906"/>
            <a:ext cx="2931448" cy="447261"/>
          </a:xfrm>
          <a:prstGeom prst="rect">
            <a:avLst/>
          </a:prstGeom>
        </p:spPr>
        <p:txBody>
          <a:bodyPr>
            <a:noAutofit/>
          </a:bodyPr>
          <a:lstStyle>
            <a:lvl1pPr marL="0" indent="0" algn="l">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a:extLst>
              <a:ext uri="{FF2B5EF4-FFF2-40B4-BE49-F238E27FC236}">
                <a16:creationId xmlns:a16="http://schemas.microsoft.com/office/drawing/2014/main" id="{A8B75377-16D0-4DDE-A38E-2BE9409EB26B}"/>
              </a:ext>
            </a:extLst>
          </p:cNvPr>
          <p:cNvSpPr>
            <a:spLocks noGrp="1"/>
          </p:cNvSpPr>
          <p:nvPr>
            <p:ph type="body" sz="quarter" idx="31"/>
          </p:nvPr>
        </p:nvSpPr>
        <p:spPr>
          <a:xfrm>
            <a:off x="1842140" y="5048653"/>
            <a:ext cx="2931448" cy="1260072"/>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a:extLst>
              <a:ext uri="{FF2B5EF4-FFF2-40B4-BE49-F238E27FC236}">
                <a16:creationId xmlns:a16="http://schemas.microsoft.com/office/drawing/2014/main" id="{C4D4428D-E103-4A57-8C83-378603B27F6A}"/>
              </a:ext>
            </a:extLst>
          </p:cNvPr>
          <p:cNvSpPr>
            <a:spLocks noGrp="1"/>
          </p:cNvSpPr>
          <p:nvPr>
            <p:ph idx="32" hasCustomPrompt="1"/>
          </p:nvPr>
        </p:nvSpPr>
        <p:spPr>
          <a:xfrm>
            <a:off x="7587440" y="2202357"/>
            <a:ext cx="2835011" cy="447261"/>
          </a:xfrm>
          <a:prstGeom prst="rect">
            <a:avLst/>
          </a:prstGeom>
        </p:spPr>
        <p:txBody>
          <a:bodyPr>
            <a:noAutofit/>
          </a:bodyPr>
          <a:lstStyle>
            <a:lvl1pPr marL="0" indent="0">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a:extLst>
              <a:ext uri="{FF2B5EF4-FFF2-40B4-BE49-F238E27FC236}">
                <a16:creationId xmlns:a16="http://schemas.microsoft.com/office/drawing/2014/main" id="{5C0EEB51-7790-4732-AA7E-15105EEADC48}"/>
              </a:ext>
            </a:extLst>
          </p:cNvPr>
          <p:cNvSpPr>
            <a:spLocks noGrp="1"/>
          </p:cNvSpPr>
          <p:nvPr>
            <p:ph type="body" sz="quarter" idx="33"/>
          </p:nvPr>
        </p:nvSpPr>
        <p:spPr>
          <a:xfrm>
            <a:off x="7587232" y="2747699"/>
            <a:ext cx="2835011" cy="1312239"/>
          </a:xfrm>
          <a:prstGeom prst="rect">
            <a:avLst/>
          </a:prstGeom>
        </p:spPr>
        <p:txBody>
          <a:bodyPr>
            <a:noAutofit/>
          </a:bodyPr>
          <a:lstStyle>
            <a:lvl1pPr marL="0" indent="0">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a:extLst>
              <a:ext uri="{FF2B5EF4-FFF2-40B4-BE49-F238E27FC236}">
                <a16:creationId xmlns:a16="http://schemas.microsoft.com/office/drawing/2014/main" id="{85511976-05F9-4910-92BB-333E9AEFAA41}"/>
              </a:ext>
            </a:extLst>
          </p:cNvPr>
          <p:cNvSpPr>
            <a:spLocks noGrp="1"/>
          </p:cNvSpPr>
          <p:nvPr>
            <p:ph idx="34" hasCustomPrompt="1"/>
          </p:nvPr>
        </p:nvSpPr>
        <p:spPr>
          <a:xfrm>
            <a:off x="7587440" y="4494905"/>
            <a:ext cx="2835011" cy="447261"/>
          </a:xfrm>
          <a:prstGeom prst="rect">
            <a:avLst/>
          </a:prstGeom>
        </p:spPr>
        <p:txBody>
          <a:bodyPr>
            <a:noAutofit/>
          </a:bodyPr>
          <a:lstStyle>
            <a:lvl1pPr marL="0" indent="0">
              <a:buNone/>
              <a:defRPr sz="2400" b="1">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8" name="Text Placeholder 23">
            <a:extLst>
              <a:ext uri="{FF2B5EF4-FFF2-40B4-BE49-F238E27FC236}">
                <a16:creationId xmlns:a16="http://schemas.microsoft.com/office/drawing/2014/main" id="{AC41573D-C251-41E1-900A-C6093CB96A4E}"/>
              </a:ext>
            </a:extLst>
          </p:cNvPr>
          <p:cNvSpPr>
            <a:spLocks noGrp="1"/>
          </p:cNvSpPr>
          <p:nvPr>
            <p:ph type="body" sz="quarter" idx="35"/>
          </p:nvPr>
        </p:nvSpPr>
        <p:spPr>
          <a:xfrm>
            <a:off x="7587440" y="5048653"/>
            <a:ext cx="2835011" cy="1260072"/>
          </a:xfrm>
          <a:prstGeom prst="rect">
            <a:avLst/>
          </a:prstGeom>
        </p:spPr>
        <p:txBody>
          <a:bodyPr>
            <a:noAutofit/>
          </a:bodyPr>
          <a:lstStyle>
            <a:lvl1pPr marL="0" indent="0">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12" name="Title 1">
            <a:extLst>
              <a:ext uri="{FF2B5EF4-FFF2-40B4-BE49-F238E27FC236}">
                <a16:creationId xmlns:a16="http://schemas.microsoft.com/office/drawing/2014/main" id="{541D4D3A-6825-445A-A0C6-F5F747EB8B17}"/>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3" name="Text Placeholder 19">
            <a:extLst>
              <a:ext uri="{FF2B5EF4-FFF2-40B4-BE49-F238E27FC236}">
                <a16:creationId xmlns:a16="http://schemas.microsoft.com/office/drawing/2014/main" id="{5A2164A4-CEA4-4326-B4C4-91C9FA4C31B6}"/>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24802735"/>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812274"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806244"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825822"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1</a:t>
            </a:r>
          </a:p>
        </p:txBody>
      </p:sp>
      <p:sp>
        <p:nvSpPr>
          <p:cNvPr id="27" name="Content Placeholder 2"/>
          <p:cNvSpPr>
            <a:spLocks noGrp="1"/>
          </p:cNvSpPr>
          <p:nvPr>
            <p:ph idx="37" hasCustomPrompt="1"/>
          </p:nvPr>
        </p:nvSpPr>
        <p:spPr>
          <a:xfrm>
            <a:off x="3600738"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94708"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614286"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2</a:t>
            </a:r>
          </a:p>
        </p:txBody>
      </p:sp>
      <p:sp>
        <p:nvSpPr>
          <p:cNvPr id="33" name="Content Placeholder 2"/>
          <p:cNvSpPr>
            <a:spLocks noGrp="1"/>
          </p:cNvSpPr>
          <p:nvPr>
            <p:ph idx="40" hasCustomPrompt="1"/>
          </p:nvPr>
        </p:nvSpPr>
        <p:spPr>
          <a:xfrm>
            <a:off x="6334450"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345353"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347998"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3</a:t>
            </a:r>
          </a:p>
        </p:txBody>
      </p:sp>
      <p:sp>
        <p:nvSpPr>
          <p:cNvPr id="36" name="Content Placeholder 2"/>
          <p:cNvSpPr>
            <a:spLocks noGrp="1"/>
          </p:cNvSpPr>
          <p:nvPr>
            <p:ph idx="43" hasCustomPrompt="1"/>
          </p:nvPr>
        </p:nvSpPr>
        <p:spPr>
          <a:xfrm>
            <a:off x="9173518"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84421"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87066"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4</a:t>
            </a:r>
          </a:p>
        </p:txBody>
      </p:sp>
      <p:sp>
        <p:nvSpPr>
          <p:cNvPr id="16" name="Title 1">
            <a:extLst>
              <a:ext uri="{FF2B5EF4-FFF2-40B4-BE49-F238E27FC236}">
                <a16:creationId xmlns:a16="http://schemas.microsoft.com/office/drawing/2014/main" id="{1191F5BC-7E55-40E2-8B6F-56D2DC9AD7B2}"/>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7" name="Text Placeholder 19">
            <a:extLst>
              <a:ext uri="{FF2B5EF4-FFF2-40B4-BE49-F238E27FC236}">
                <a16:creationId xmlns:a16="http://schemas.microsoft.com/office/drawing/2014/main" id="{022EE774-B032-4302-868D-7F6BCCB6DDB9}"/>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425073769"/>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804554" y="2289059"/>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806244" y="2291032"/>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1.</a:t>
            </a:r>
          </a:p>
        </p:txBody>
      </p:sp>
      <p:sp>
        <p:nvSpPr>
          <p:cNvPr id="24" name="Marcador de texto 4"/>
          <p:cNvSpPr>
            <a:spLocks noGrp="1"/>
          </p:cNvSpPr>
          <p:nvPr>
            <p:ph type="body" sz="quarter" idx="38" hasCustomPrompt="1"/>
          </p:nvPr>
        </p:nvSpPr>
        <p:spPr>
          <a:xfrm>
            <a:off x="806244" y="3380951"/>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2.</a:t>
            </a:r>
          </a:p>
        </p:txBody>
      </p:sp>
      <p:sp>
        <p:nvSpPr>
          <p:cNvPr id="26" name="Marcador de texto 2"/>
          <p:cNvSpPr>
            <a:spLocks noGrp="1"/>
          </p:cNvSpPr>
          <p:nvPr>
            <p:ph type="body" sz="quarter" idx="41" hasCustomPrompt="1"/>
          </p:nvPr>
        </p:nvSpPr>
        <p:spPr>
          <a:xfrm>
            <a:off x="1804554" y="3367948"/>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806244" y="4459850"/>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3.</a:t>
            </a:r>
          </a:p>
        </p:txBody>
      </p:sp>
      <p:sp>
        <p:nvSpPr>
          <p:cNvPr id="28" name="Marcador de texto 2"/>
          <p:cNvSpPr>
            <a:spLocks noGrp="1"/>
          </p:cNvSpPr>
          <p:nvPr>
            <p:ph type="body" sz="quarter" idx="43" hasCustomPrompt="1"/>
          </p:nvPr>
        </p:nvSpPr>
        <p:spPr>
          <a:xfrm>
            <a:off x="1804554" y="4446837"/>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0" name="Title 1">
            <a:extLst>
              <a:ext uri="{FF2B5EF4-FFF2-40B4-BE49-F238E27FC236}">
                <a16:creationId xmlns:a16="http://schemas.microsoft.com/office/drawing/2014/main" id="{3FACB9D1-F93D-43ED-A588-5B14F4ADB48D}"/>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1" name="Text Placeholder 19">
            <a:extLst>
              <a:ext uri="{FF2B5EF4-FFF2-40B4-BE49-F238E27FC236}">
                <a16:creationId xmlns:a16="http://schemas.microsoft.com/office/drawing/2014/main" id="{C2125042-CBA1-4C24-B844-427F7123CC43}"/>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675477932"/>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 Thank you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48BC08-F99F-43DE-A582-4701A21EA23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11">
            <a:extLst>
              <a:ext uri="{FF2B5EF4-FFF2-40B4-BE49-F238E27FC236}">
                <a16:creationId xmlns:a16="http://schemas.microsoft.com/office/drawing/2014/main" id="{B39A809D-0D67-4E1A-B9F6-218070D9F51F}"/>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Footer Placeholder 4">
            <a:extLst>
              <a:ext uri="{FF2B5EF4-FFF2-40B4-BE49-F238E27FC236}">
                <a16:creationId xmlns:a16="http://schemas.microsoft.com/office/drawing/2014/main" id="{7D9E0381-FC12-449F-9062-99A56341020C}"/>
              </a:ext>
            </a:extLst>
          </p:cNvPr>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a:t>© Amadeus IT Group and its affiliates and subsidiaries</a:t>
            </a:r>
          </a:p>
        </p:txBody>
      </p:sp>
      <p:sp>
        <p:nvSpPr>
          <p:cNvPr id="42" name="Text Placeholder 23">
            <a:extLst>
              <a:ext uri="{FF2B5EF4-FFF2-40B4-BE49-F238E27FC236}">
                <a16:creationId xmlns:a16="http://schemas.microsoft.com/office/drawing/2014/main" id="{0EB06A1B-1705-4250-A06F-113B04C7D966}"/>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43" name="Text Placeholder 23">
            <a:extLst>
              <a:ext uri="{FF2B5EF4-FFF2-40B4-BE49-F238E27FC236}">
                <a16:creationId xmlns:a16="http://schemas.microsoft.com/office/drawing/2014/main" id="{A8461778-89D8-4F3E-AE38-EFD1CBBA340D}"/>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44" name="Text Placeholder 23">
            <a:extLst>
              <a:ext uri="{FF2B5EF4-FFF2-40B4-BE49-F238E27FC236}">
                <a16:creationId xmlns:a16="http://schemas.microsoft.com/office/drawing/2014/main" id="{A3751AA0-A167-4B47-ACB5-5D2CEFB07C5F}"/>
              </a:ext>
            </a:extLst>
          </p:cNvPr>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45" name="Freeform 5">
            <a:extLst>
              <a:ext uri="{FF2B5EF4-FFF2-40B4-BE49-F238E27FC236}">
                <a16:creationId xmlns:a16="http://schemas.microsoft.com/office/drawing/2014/main" id="{CA4F50EA-7FE9-4224-8141-34440F01A834}"/>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46" name="Freeform 5">
            <a:extLst>
              <a:ext uri="{FF2B5EF4-FFF2-40B4-BE49-F238E27FC236}">
                <a16:creationId xmlns:a16="http://schemas.microsoft.com/office/drawing/2014/main" id="{341A9BFA-0641-4323-BE92-492C24FEC4B8}"/>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6">
            <a:extLst>
              <a:ext uri="{FF2B5EF4-FFF2-40B4-BE49-F238E27FC236}">
                <a16:creationId xmlns:a16="http://schemas.microsoft.com/office/drawing/2014/main" id="{86BD917D-A17C-416C-9F7E-E5A9F1A0C0C8}"/>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7">
            <a:extLst>
              <a:ext uri="{FF2B5EF4-FFF2-40B4-BE49-F238E27FC236}">
                <a16:creationId xmlns:a16="http://schemas.microsoft.com/office/drawing/2014/main" id="{D3C69A2B-BCDA-41C0-B7E3-C4DDDA9ABA09}"/>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8">
            <a:extLst>
              <a:ext uri="{FF2B5EF4-FFF2-40B4-BE49-F238E27FC236}">
                <a16:creationId xmlns:a16="http://schemas.microsoft.com/office/drawing/2014/main" id="{D882CD9E-EF4B-445B-B8E8-F2CEEEFB2F81}"/>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9">
            <a:extLst>
              <a:ext uri="{FF2B5EF4-FFF2-40B4-BE49-F238E27FC236}">
                <a16:creationId xmlns:a16="http://schemas.microsoft.com/office/drawing/2014/main" id="{4EB8BA2F-3F4B-4B1F-8C8A-5ECBABECB1E7}"/>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10">
            <a:extLst>
              <a:ext uri="{FF2B5EF4-FFF2-40B4-BE49-F238E27FC236}">
                <a16:creationId xmlns:a16="http://schemas.microsoft.com/office/drawing/2014/main" id="{1A0B0610-A57A-4A82-BA82-F0845B55C2D4}"/>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11">
            <a:extLst>
              <a:ext uri="{FF2B5EF4-FFF2-40B4-BE49-F238E27FC236}">
                <a16:creationId xmlns:a16="http://schemas.microsoft.com/office/drawing/2014/main" id="{1B0F6201-1EAA-4332-96A7-9D08EADF4B59}"/>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5">
            <a:extLst>
              <a:ext uri="{FF2B5EF4-FFF2-40B4-BE49-F238E27FC236}">
                <a16:creationId xmlns:a16="http://schemas.microsoft.com/office/drawing/2014/main" id="{BA448847-C976-47FF-B06B-6E7C12567B0D}"/>
              </a:ext>
            </a:extLst>
          </p:cNvPr>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187170458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1CF604-22CE-47B6-8D85-73EA9C8F32B2}"/>
              </a:ext>
            </a:extLst>
          </p:cNvPr>
          <p:cNvSpPr/>
          <p:nvPr userDrawn="1"/>
        </p:nvSpPr>
        <p:spPr>
          <a:xfrm>
            <a:off x="0" y="0"/>
            <a:ext cx="12192000" cy="6858000"/>
          </a:xfrm>
          <a:prstGeom prst="rect">
            <a:avLst/>
          </a:prstGeom>
          <a:gradFill>
            <a:gsLst>
              <a:gs pos="0">
                <a:schemeClr val="accent1"/>
              </a:gs>
              <a:gs pos="100000">
                <a:schemeClr val="accent2"/>
              </a:gs>
            </a:gsLst>
            <a:lin ang="5400000" scaled="1"/>
          </a:gradFill>
          <a:ln>
            <a:noFill/>
          </a:ln>
        </p:spPr>
        <p:txBody>
          <a:bodyPr vert="horz" wrap="square" lIns="189000" tIns="378000" rIns="108000" bIns="34290" numCol="1" anchor="ctr" anchorCtr="0" compatLnSpc="1">
            <a:prstTxWarp prst="textNoShape">
              <a:avLst/>
            </a:prstTxWarp>
          </a:bodyPr>
          <a:lstStyle/>
          <a:p>
            <a:pPr lvl="0" algn="ctr">
              <a:lnSpc>
                <a:spcPts val="3075"/>
              </a:lnSpc>
            </a:pPr>
            <a:endParaRPr lang="es-ES" sz="3300">
              <a:solidFill>
                <a:schemeClr val="bg1"/>
              </a:solidFill>
              <a:latin typeface="+mj-lt"/>
            </a:endParaRPr>
          </a:p>
        </p:txBody>
      </p:sp>
      <p:sp>
        <p:nvSpPr>
          <p:cNvPr id="5" name="CuadroTexto 2">
            <a:extLst>
              <a:ext uri="{FF2B5EF4-FFF2-40B4-BE49-F238E27FC236}">
                <a16:creationId xmlns:a16="http://schemas.microsoft.com/office/drawing/2014/main" id="{FC44A33A-1EDB-4D8C-9A10-3A818D86B60F}"/>
              </a:ext>
            </a:extLst>
          </p:cNvPr>
          <p:cNvSpPr txBox="1"/>
          <p:nvPr userDrawn="1"/>
        </p:nvSpPr>
        <p:spPr>
          <a:xfrm>
            <a:off x="-221371" y="652449"/>
            <a:ext cx="184731" cy="300082"/>
          </a:xfrm>
          <a:prstGeom prst="rect">
            <a:avLst/>
          </a:prstGeom>
          <a:noFill/>
        </p:spPr>
        <p:txBody>
          <a:bodyPr wrap="none" rtlCol="0">
            <a:spAutoFit/>
          </a:bodyPr>
          <a:lstStyle/>
          <a:p>
            <a:endParaRPr lang="es-ES" sz="1350"/>
          </a:p>
        </p:txBody>
      </p:sp>
      <p:cxnSp>
        <p:nvCxnSpPr>
          <p:cNvPr id="6" name="Straight Connector 11">
            <a:extLst>
              <a:ext uri="{FF2B5EF4-FFF2-40B4-BE49-F238E27FC236}">
                <a16:creationId xmlns:a16="http://schemas.microsoft.com/office/drawing/2014/main" id="{04730DBB-9FCF-4329-B000-E9C1FCE35D39}"/>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4F227069-FE71-4BE2-BB64-E6083CF176B0}"/>
              </a:ext>
            </a:extLst>
          </p:cNvPr>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a:t>© Amadeus IT Group and its affiliates and subsidiaries</a:t>
            </a:r>
          </a:p>
        </p:txBody>
      </p:sp>
      <p:sp>
        <p:nvSpPr>
          <p:cNvPr id="8" name="AutoShape 3">
            <a:extLst>
              <a:ext uri="{FF2B5EF4-FFF2-40B4-BE49-F238E27FC236}">
                <a16:creationId xmlns:a16="http://schemas.microsoft.com/office/drawing/2014/main" id="{E577E739-7A69-43FC-90EA-86355EAC3550}"/>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Text Placeholder 23">
            <a:extLst>
              <a:ext uri="{FF2B5EF4-FFF2-40B4-BE49-F238E27FC236}">
                <a16:creationId xmlns:a16="http://schemas.microsoft.com/office/drawing/2014/main" id="{59B8A7F1-32C1-49AA-B8D0-D3A785C0B510}"/>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0" name="Text Placeholder 23">
            <a:extLst>
              <a:ext uri="{FF2B5EF4-FFF2-40B4-BE49-F238E27FC236}">
                <a16:creationId xmlns:a16="http://schemas.microsoft.com/office/drawing/2014/main" id="{95FF37AE-AD88-4CF6-B50D-486E1C923154}"/>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1" name="Text Placeholder 23">
            <a:extLst>
              <a:ext uri="{FF2B5EF4-FFF2-40B4-BE49-F238E27FC236}">
                <a16:creationId xmlns:a16="http://schemas.microsoft.com/office/drawing/2014/main" id="{D7ED6008-0616-47F9-8158-6A01D4360F04}"/>
              </a:ext>
            </a:extLst>
          </p:cNvPr>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2" name="Freeform 5">
            <a:extLst>
              <a:ext uri="{FF2B5EF4-FFF2-40B4-BE49-F238E27FC236}">
                <a16:creationId xmlns:a16="http://schemas.microsoft.com/office/drawing/2014/main" id="{72007A37-DD9F-4733-A875-E4A4BC758DB2}"/>
              </a:ext>
            </a:extLst>
          </p:cNvPr>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3" name="Freeform 5">
            <a:extLst>
              <a:ext uri="{FF2B5EF4-FFF2-40B4-BE49-F238E27FC236}">
                <a16:creationId xmlns:a16="http://schemas.microsoft.com/office/drawing/2014/main" id="{6C58AD72-02EF-4DD0-B317-4BC3CB7F4ECC}"/>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4" name="Freeform 5">
            <a:extLst>
              <a:ext uri="{FF2B5EF4-FFF2-40B4-BE49-F238E27FC236}">
                <a16:creationId xmlns:a16="http://schemas.microsoft.com/office/drawing/2014/main" id="{DB6E6C42-7D5A-408D-9733-12671519046E}"/>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6">
            <a:extLst>
              <a:ext uri="{FF2B5EF4-FFF2-40B4-BE49-F238E27FC236}">
                <a16:creationId xmlns:a16="http://schemas.microsoft.com/office/drawing/2014/main" id="{94C08CF7-9793-445B-9392-56091AF0CB79}"/>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7">
            <a:extLst>
              <a:ext uri="{FF2B5EF4-FFF2-40B4-BE49-F238E27FC236}">
                <a16:creationId xmlns:a16="http://schemas.microsoft.com/office/drawing/2014/main" id="{E9E4CF91-B9CC-4AE1-A2F8-0CEC1DCC9229}"/>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8">
            <a:extLst>
              <a:ext uri="{FF2B5EF4-FFF2-40B4-BE49-F238E27FC236}">
                <a16:creationId xmlns:a16="http://schemas.microsoft.com/office/drawing/2014/main" id="{FDB569D5-4D5E-46EC-8EDC-1A296970838B}"/>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6E0CA4B4-7BE8-4FEF-9F65-6B9FDC79F2B1}"/>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67FF94FC-EE05-4929-AFDB-D31EFD17F1A1}"/>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53B6F661-47D4-4B2A-B008-5BC2665382E3}"/>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5228247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Gibson Light" pitchFamily="2" charset="77"/>
            </a:endParaRPr>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18" name="Picture 17">
            <a:extLst>
              <a:ext uri="{FF2B5EF4-FFF2-40B4-BE49-F238E27FC236}">
                <a16:creationId xmlns:a16="http://schemas.microsoft.com/office/drawing/2014/main" id="{B4C02D0F-C2A5-F84C-94BC-84A3544C78D8}"/>
              </a:ext>
            </a:extLst>
          </p:cNvPr>
          <p:cNvPicPr>
            <a:picLocks noChangeAspect="1"/>
          </p:cNvPicPr>
          <p:nvPr userDrawn="1"/>
        </p:nvPicPr>
        <p:blipFill>
          <a:blip r:embed="rId3"/>
          <a:stretch>
            <a:fillRect/>
          </a:stretch>
        </p:blipFill>
        <p:spPr>
          <a:xfrm>
            <a:off x="312933" y="93977"/>
            <a:ext cx="345445" cy="345445"/>
          </a:xfrm>
          <a:prstGeom prst="ellipse">
            <a:avLst/>
          </a:prstGeom>
          <a:ln w="12700">
            <a:solidFill>
              <a:schemeClr val="bg2"/>
            </a:solidFill>
          </a:ln>
        </p:spPr>
      </p:pic>
    </p:spTree>
    <p:extLst>
      <p:ext uri="{BB962C8B-B14F-4D97-AF65-F5344CB8AC3E}">
        <p14:creationId xmlns:p14="http://schemas.microsoft.com/office/powerpoint/2010/main" val="789103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812274"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806244"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825822"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1</a:t>
            </a:r>
          </a:p>
        </p:txBody>
      </p:sp>
      <p:sp>
        <p:nvSpPr>
          <p:cNvPr id="27" name="Content Placeholder 2"/>
          <p:cNvSpPr>
            <a:spLocks noGrp="1"/>
          </p:cNvSpPr>
          <p:nvPr>
            <p:ph idx="37" hasCustomPrompt="1"/>
          </p:nvPr>
        </p:nvSpPr>
        <p:spPr>
          <a:xfrm>
            <a:off x="3600738"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94708"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614286"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2</a:t>
            </a:r>
          </a:p>
        </p:txBody>
      </p:sp>
      <p:sp>
        <p:nvSpPr>
          <p:cNvPr id="33" name="Content Placeholder 2"/>
          <p:cNvSpPr>
            <a:spLocks noGrp="1"/>
          </p:cNvSpPr>
          <p:nvPr>
            <p:ph idx="40" hasCustomPrompt="1"/>
          </p:nvPr>
        </p:nvSpPr>
        <p:spPr>
          <a:xfrm>
            <a:off x="6334450"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345353"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347998"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3</a:t>
            </a:r>
          </a:p>
        </p:txBody>
      </p:sp>
      <p:sp>
        <p:nvSpPr>
          <p:cNvPr id="36" name="Content Placeholder 2"/>
          <p:cNvSpPr>
            <a:spLocks noGrp="1"/>
          </p:cNvSpPr>
          <p:nvPr>
            <p:ph idx="43" hasCustomPrompt="1"/>
          </p:nvPr>
        </p:nvSpPr>
        <p:spPr>
          <a:xfrm>
            <a:off x="9173518" y="3297489"/>
            <a:ext cx="2462491" cy="447261"/>
          </a:xfrm>
          <a:prstGeom prst="rect">
            <a:avLst/>
          </a:prstGeom>
        </p:spPr>
        <p:txBody>
          <a:bodyPr anchor="ctr">
            <a:noAutofit/>
          </a:bodyPr>
          <a:lstStyle>
            <a:lvl1pPr marL="0" indent="0" algn="l">
              <a:buNone/>
              <a:defRPr sz="2400" b="1" baseline="0">
                <a:solidFill>
                  <a:schemeClr val="tx1"/>
                </a:solidFill>
                <a:latin typeface="Calibri "/>
                <a:cs typeface="Arial" panose="020B060402020202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84421" y="3818945"/>
            <a:ext cx="2462667" cy="2489780"/>
          </a:xfrm>
          <a:prstGeom prst="rect">
            <a:avLst/>
          </a:prstGeom>
        </p:spPr>
        <p:txBody>
          <a:bodyPr>
            <a:noAutofit/>
          </a:bodyPr>
          <a:lstStyle>
            <a:lvl1pPr marL="0" indent="0" algn="l">
              <a:lnSpc>
                <a:spcPct val="100000"/>
              </a:lnSpc>
              <a:buNone/>
              <a:defRPr sz="2400">
                <a:solidFill>
                  <a:schemeClr val="tx1"/>
                </a:solidFill>
                <a:latin typeface="Calibri "/>
                <a:cs typeface="Arial" panose="020B060402020202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87066" y="2401759"/>
            <a:ext cx="1270115" cy="784354"/>
          </a:xfrm>
          <a:prstGeom prst="rect">
            <a:avLst/>
          </a:prstGeom>
        </p:spPr>
        <p:txBody>
          <a:bodyPr>
            <a:normAutofit/>
          </a:bodyPr>
          <a:lstStyle>
            <a:lvl1pPr marL="0" indent="0" algn="l">
              <a:buNone/>
              <a:defRPr sz="4500" b="1">
                <a:solidFill>
                  <a:schemeClr val="accent2"/>
                </a:solidFill>
                <a:latin typeface="Calibri "/>
                <a:cs typeface="72 Black" panose="020B0A04030603020204" pitchFamily="34" charset="0"/>
              </a:defRPr>
            </a:lvl1pPr>
          </a:lstStyle>
          <a:p>
            <a:pPr lvl="0"/>
            <a:r>
              <a:rPr lang="en-GB" noProof="0"/>
              <a:t>4</a:t>
            </a:r>
          </a:p>
        </p:txBody>
      </p:sp>
      <p:sp>
        <p:nvSpPr>
          <p:cNvPr id="16" name="Title 1">
            <a:extLst>
              <a:ext uri="{FF2B5EF4-FFF2-40B4-BE49-F238E27FC236}">
                <a16:creationId xmlns:a16="http://schemas.microsoft.com/office/drawing/2014/main" id="{1191F5BC-7E55-40E2-8B6F-56D2DC9AD7B2}"/>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7" name="Text Placeholder 19">
            <a:extLst>
              <a:ext uri="{FF2B5EF4-FFF2-40B4-BE49-F238E27FC236}">
                <a16:creationId xmlns:a16="http://schemas.microsoft.com/office/drawing/2014/main" id="{022EE774-B032-4302-868D-7F6BCCB6DDB9}"/>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10750661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89064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1_WHITE SLIDE">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0466911B-A670-C94D-9B59-63866180F26B}"/>
              </a:ext>
            </a:extLst>
          </p:cNvPr>
          <p:cNvSpPr>
            <a:spLocks noGrp="1"/>
          </p:cNvSpPr>
          <p:nvPr>
            <p:ph type="ftr" sz="quarter" idx="14"/>
          </p:nvPr>
        </p:nvSpPr>
        <p:spPr>
          <a:xfrm>
            <a:off x="905905" y="6389994"/>
            <a:ext cx="3046760" cy="246221"/>
          </a:xfrm>
          <a:prstGeom prst="rect">
            <a:avLst/>
          </a:prstGeom>
          <a:noFill/>
        </p:spPr>
        <p:txBody>
          <a:bodyPr wrap="square" rtlCol="0">
            <a:spAutoFit/>
          </a:bodyPr>
          <a:lstStyle>
            <a:lvl1pPr algn="l">
              <a:defRPr lang="id-ID" sz="1000" b="0" i="0" dirty="0">
                <a:solidFill>
                  <a:schemeClr val="bg2">
                    <a:lumMod val="75000"/>
                  </a:schemeClr>
                </a:solidFill>
                <a:latin typeface="Calibri"/>
                <a:cs typeface="Calibri"/>
              </a:defRPr>
            </a:lvl1pPr>
          </a:lstStyle>
          <a:p>
            <a:endParaRPr lang="en-GB"/>
          </a:p>
        </p:txBody>
      </p:sp>
      <p:sp>
        <p:nvSpPr>
          <p:cNvPr id="13" name="Slide Number Placeholder 5">
            <a:extLst>
              <a:ext uri="{FF2B5EF4-FFF2-40B4-BE49-F238E27FC236}">
                <a16:creationId xmlns:a16="http://schemas.microsoft.com/office/drawing/2014/main" id="{6F708319-8F71-4344-9B58-FCFD6C2CC112}"/>
              </a:ext>
            </a:extLst>
          </p:cNvPr>
          <p:cNvSpPr>
            <a:spLocks noGrp="1"/>
          </p:cNvSpPr>
          <p:nvPr>
            <p:ph type="sldNum" sz="quarter" idx="13"/>
          </p:nvPr>
        </p:nvSpPr>
        <p:spPr>
          <a:xfrm>
            <a:off x="156606" y="6397802"/>
            <a:ext cx="555625" cy="246221"/>
          </a:xfrm>
          <a:prstGeom prst="rect">
            <a:avLst/>
          </a:prstGeom>
          <a:noFill/>
        </p:spPr>
        <p:txBody>
          <a:bodyPr wrap="square" rtlCol="0">
            <a:spAutoFit/>
          </a:bodyPr>
          <a:lstStyle>
            <a:lvl1pPr algn="ctr">
              <a:defRPr lang="id-ID" sz="1000" b="1" i="0" smtClean="0">
                <a:solidFill>
                  <a:schemeClr val="bg2">
                    <a:lumMod val="75000"/>
                  </a:schemeClr>
                </a:solidFill>
                <a:latin typeface="Calibri Regular"/>
              </a:defRPr>
            </a:lvl1pPr>
          </a:lstStyle>
          <a:p>
            <a:fld id="{B22A528A-3A3C-448E-A44E-D701ABB2ACAE}" type="slidenum">
              <a:rPr lang="en-GB" smtClean="0"/>
              <a:pPr/>
              <a:t>‹#›</a:t>
            </a:fld>
            <a:endParaRPr lang="en-GB"/>
          </a:p>
        </p:txBody>
      </p:sp>
      <p:sp>
        <p:nvSpPr>
          <p:cNvPr id="15" name="Text Placeholder 14">
            <a:extLst>
              <a:ext uri="{FF2B5EF4-FFF2-40B4-BE49-F238E27FC236}">
                <a16:creationId xmlns:a16="http://schemas.microsoft.com/office/drawing/2014/main" id="{2791A5B5-FF35-FE46-9DEB-01145E56219C}"/>
              </a:ext>
            </a:extLst>
          </p:cNvPr>
          <p:cNvSpPr>
            <a:spLocks noGrp="1"/>
          </p:cNvSpPr>
          <p:nvPr userDrawn="1">
            <p:ph type="body" sz="quarter" idx="23" hasCustomPrompt="1"/>
          </p:nvPr>
        </p:nvSpPr>
        <p:spPr>
          <a:xfrm>
            <a:off x="905904" y="221929"/>
            <a:ext cx="10696815" cy="831850"/>
          </a:xfrm>
        </p:spPr>
        <p:txBody>
          <a:bodyPr>
            <a:normAutofit/>
          </a:bodyPr>
          <a:lstStyle>
            <a:lvl1pPr marL="0" indent="0">
              <a:buFontTx/>
              <a:buNone/>
              <a:defRPr sz="3200" b="1">
                <a:solidFill>
                  <a:schemeClr val="bg2">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 HERE</a:t>
            </a:r>
            <a:endParaRPr lang="en-AE"/>
          </a:p>
        </p:txBody>
      </p:sp>
    </p:spTree>
    <p:extLst>
      <p:ext uri="{BB962C8B-B14F-4D97-AF65-F5344CB8AC3E}">
        <p14:creationId xmlns:p14="http://schemas.microsoft.com/office/powerpoint/2010/main" val="266901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94537" y="372131"/>
            <a:ext cx="9791700" cy="615553"/>
          </a:xfrm>
          <a:prstGeom prst="rect">
            <a:avLst/>
          </a:prstGeom>
        </p:spPr>
        <p:txBody>
          <a:bodyPr wrap="square" lIns="0" tIns="0" rIns="0" bIns="0">
            <a:spAutoFit/>
          </a:bodyPr>
          <a:lstStyle>
            <a:lvl1pPr>
              <a:defRPr sz="4000" b="1" i="0">
                <a:solidFill>
                  <a:srgbClr val="005EB8"/>
                </a:solidFill>
                <a:latin typeface="Calibri"/>
                <a:cs typeface="Calibri"/>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6" name="Holder 6"/>
          <p:cNvSpPr>
            <a:spLocks noGrp="1"/>
          </p:cNvSpPr>
          <p:nvPr>
            <p:ph type="sldNum" sz="quarter" idx="7"/>
          </p:nvPr>
        </p:nvSpPr>
        <p:spPr/>
        <p:txBody>
          <a:bodyPr lIns="0" tIns="0" rIns="0" bIns="0"/>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157283082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65941" y="373627"/>
            <a:ext cx="11468947" cy="615553"/>
          </a:xfrm>
        </p:spPr>
        <p:txBody>
          <a:bodyPr lIns="0" tIns="0" rIns="0" bIns="0"/>
          <a:lstStyle>
            <a:lvl1pPr>
              <a:defRPr sz="4000" b="1" i="0">
                <a:solidFill>
                  <a:srgbClr val="005E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6" name="Holder 6"/>
          <p:cNvSpPr>
            <a:spLocks noGrp="1"/>
          </p:cNvSpPr>
          <p:nvPr>
            <p:ph type="sldNum" sz="quarter" idx="7"/>
          </p:nvPr>
        </p:nvSpPr>
        <p:spPr/>
        <p:txBody>
          <a:bodyPr lIns="0" tIns="0" rIns="0" bIns="0"/>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264417735"/>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65941" y="373627"/>
            <a:ext cx="11468947" cy="615553"/>
          </a:xfrm>
        </p:spPr>
        <p:txBody>
          <a:bodyPr lIns="0" tIns="0" rIns="0" bIns="0"/>
          <a:lstStyle>
            <a:lvl1pPr>
              <a:defRPr sz="4000" b="1" i="0">
                <a:solidFill>
                  <a:srgbClr val="005EB8"/>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7" name="Holder 7"/>
          <p:cNvSpPr>
            <a:spLocks noGrp="1"/>
          </p:cNvSpPr>
          <p:nvPr>
            <p:ph type="sldNum" sz="quarter" idx="7"/>
          </p:nvPr>
        </p:nvSpPr>
        <p:spPr/>
        <p:txBody>
          <a:bodyPr lIns="0" tIns="0" rIns="0" bIns="0"/>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21797508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1292162" y="6405041"/>
            <a:ext cx="560655" cy="182679"/>
          </a:xfrm>
          <a:prstGeom prst="rect">
            <a:avLst/>
          </a:prstGeom>
        </p:spPr>
      </p:pic>
      <p:sp>
        <p:nvSpPr>
          <p:cNvPr id="2" name="Holder 2"/>
          <p:cNvSpPr>
            <a:spLocks noGrp="1"/>
          </p:cNvSpPr>
          <p:nvPr>
            <p:ph type="title"/>
          </p:nvPr>
        </p:nvSpPr>
        <p:spPr>
          <a:xfrm>
            <a:off x="465941" y="373627"/>
            <a:ext cx="11468947" cy="615553"/>
          </a:xfrm>
        </p:spPr>
        <p:txBody>
          <a:bodyPr lIns="0" tIns="0" rIns="0" bIns="0"/>
          <a:lstStyle>
            <a:lvl1pPr>
              <a:defRPr sz="4000" b="1" i="0">
                <a:solidFill>
                  <a:srgbClr val="005E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5" name="Holder 5"/>
          <p:cNvSpPr>
            <a:spLocks noGrp="1"/>
          </p:cNvSpPr>
          <p:nvPr>
            <p:ph type="sldNum" sz="quarter" idx="7"/>
          </p:nvPr>
        </p:nvSpPr>
        <p:spPr/>
        <p:txBody>
          <a:bodyPr lIns="0" tIns="0" rIns="0" bIns="0"/>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1403000666"/>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4" name="Holder 4"/>
          <p:cNvSpPr>
            <a:spLocks noGrp="1"/>
          </p:cNvSpPr>
          <p:nvPr>
            <p:ph type="sldNum" sz="quarter" idx="7"/>
          </p:nvPr>
        </p:nvSpPr>
        <p:spPr/>
        <p:txBody>
          <a:bodyPr lIns="0" tIns="0" rIns="0" bIns="0"/>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38298789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9F2ABB-2578-498D-898D-6978D56E6B4D}"/>
              </a:ext>
            </a:extLst>
          </p:cNvPr>
          <p:cNvGraphicFramePr>
            <a:graphicFrameLocks noChangeAspect="1"/>
          </p:cNvGraphicFramePr>
          <p:nvPr userDrawn="1">
            <p:custDataLst>
              <p:tags r:id="rId1"/>
            </p:custDataLst>
            <p:extLst>
              <p:ext uri="{D42A27DB-BD31-4B8C-83A1-F6EECF244321}">
                <p14:modId xmlns:p14="http://schemas.microsoft.com/office/powerpoint/2010/main" val="316055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219F2ABB-2578-498D-898D-6978D56E6B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75268-9740-4465-83B0-0925B3629E8C}"/>
              </a:ext>
            </a:extLst>
          </p:cNvPr>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1355DFD9-BC7A-4816-98BA-04EBB89076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C83B9B08-5784-47C7-90D0-C644E9224087}"/>
              </a:ext>
            </a:extLst>
          </p:cNvPr>
          <p:cNvSpPr>
            <a:spLocks noGrp="1"/>
          </p:cNvSpPr>
          <p:nvPr>
            <p:ph type="dt" sz="half" idx="10"/>
          </p:nvPr>
        </p:nvSpPr>
        <p:spPr/>
        <p:txBody>
          <a:bodyPr/>
          <a:lstStyle/>
          <a:p>
            <a:fld id="{F03BF3E0-A168-40A1-87ED-5C0066BA3D65}" type="datetimeFigureOut">
              <a:rPr lang="it-IT" smtClean="0"/>
              <a:t>23/09/2023</a:t>
            </a:fld>
            <a:endParaRPr lang="it-IT"/>
          </a:p>
        </p:txBody>
      </p:sp>
      <p:sp>
        <p:nvSpPr>
          <p:cNvPr id="5" name="Footer Placeholder 4">
            <a:extLst>
              <a:ext uri="{FF2B5EF4-FFF2-40B4-BE49-F238E27FC236}">
                <a16:creationId xmlns:a16="http://schemas.microsoft.com/office/drawing/2014/main" id="{50BD67C4-DADC-46DC-B1A4-15BB35AEC020}"/>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D5F01F18-324F-4AA2-A918-0BBEA2C09EF3}"/>
              </a:ext>
            </a:extLst>
          </p:cNvPr>
          <p:cNvSpPr>
            <a:spLocks noGrp="1"/>
          </p:cNvSpPr>
          <p:nvPr>
            <p:ph type="sldNum" sz="quarter" idx="12"/>
          </p:nvPr>
        </p:nvSpPr>
        <p:spPr/>
        <p:txBody>
          <a:bodyPr/>
          <a:lstStyle/>
          <a:p>
            <a:fld id="{6B9DCEFB-EB5A-4D46-91B5-9CA07B7B2BB9}" type="slidenum">
              <a:rPr lang="it-IT" smtClean="0"/>
              <a:t>‹#›</a:t>
            </a:fld>
            <a:endParaRPr lang="it-IT"/>
          </a:p>
        </p:txBody>
      </p:sp>
    </p:spTree>
    <p:extLst>
      <p:ext uri="{BB962C8B-B14F-4D97-AF65-F5344CB8AC3E}">
        <p14:creationId xmlns:p14="http://schemas.microsoft.com/office/powerpoint/2010/main" val="118188859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a:prstGeom prst="rect">
            <a:avLst/>
          </a:prstGeom>
        </p:spPr>
        <p:txBody>
          <a:bodyPr anchor="b">
            <a:noAutofit/>
          </a:bodyPr>
          <a:lstStyle>
            <a:lvl1pPr>
              <a:lnSpc>
                <a:spcPts val="6000"/>
              </a:lnSpc>
              <a:defRPr sz="6000" b="0" i="0" baseline="0">
                <a:solidFill>
                  <a:schemeClr val="tx2"/>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576265" y="2277861"/>
            <a:ext cx="6773659" cy="864000"/>
          </a:xfrm>
          <a:prstGeom prst="rect">
            <a:avLst/>
          </a:prstGeom>
        </p:spPr>
        <p:txBody>
          <a:bodyPr>
            <a:noAutofit/>
          </a:bodyPr>
          <a:lstStyle>
            <a:lvl1pPr marL="0" indent="0">
              <a:lnSpc>
                <a:spcPct val="100000"/>
              </a:lnSpc>
              <a:buNone/>
              <a:defRPr sz="2400" b="0" i="0" baseline="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rgbClr val="323232"/>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1618652782"/>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a:prstGeom prst="rect">
            <a:avLst/>
          </a:prstGeom>
        </p:spPr>
        <p:txBody>
          <a:bodyPr tIns="0" anchor="b">
            <a:noAutofit/>
          </a:bodyPr>
          <a:lstStyle>
            <a:lvl1pPr>
              <a:lnSpc>
                <a:spcPct val="100000"/>
              </a:lnSpc>
              <a:defRPr sz="4800" b="0" i="0">
                <a:solidFill>
                  <a:schemeClr val="tx2"/>
                </a:solidFill>
                <a:latin typeface="Calibri Light" panose="020F0302020204030204" pitchFamily="34" charset="0"/>
              </a:defRPr>
            </a:lvl1pPr>
          </a:lstStyle>
          <a:p>
            <a:r>
              <a:rPr lang="en-GB" noProof="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0" i="0" baseline="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1652972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804554" y="2289059"/>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806244" y="2291032"/>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1.</a:t>
            </a:r>
          </a:p>
        </p:txBody>
      </p:sp>
      <p:sp>
        <p:nvSpPr>
          <p:cNvPr id="24" name="Marcador de texto 4"/>
          <p:cNvSpPr>
            <a:spLocks noGrp="1"/>
          </p:cNvSpPr>
          <p:nvPr>
            <p:ph type="body" sz="quarter" idx="38" hasCustomPrompt="1"/>
          </p:nvPr>
        </p:nvSpPr>
        <p:spPr>
          <a:xfrm>
            <a:off x="806244" y="3380951"/>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2.</a:t>
            </a:r>
          </a:p>
        </p:txBody>
      </p:sp>
      <p:sp>
        <p:nvSpPr>
          <p:cNvPr id="26" name="Marcador de texto 2"/>
          <p:cNvSpPr>
            <a:spLocks noGrp="1"/>
          </p:cNvSpPr>
          <p:nvPr>
            <p:ph type="body" sz="quarter" idx="41" hasCustomPrompt="1"/>
          </p:nvPr>
        </p:nvSpPr>
        <p:spPr>
          <a:xfrm>
            <a:off x="1804554" y="3367948"/>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806244" y="4459850"/>
            <a:ext cx="956105" cy="663649"/>
          </a:xfrm>
          <a:prstGeom prst="rect">
            <a:avLst/>
          </a:prstGeom>
        </p:spPr>
        <p:txBody>
          <a:bodyPr>
            <a:noAutofit/>
          </a:bodyPr>
          <a:lstStyle>
            <a:lvl1pPr marL="0" indent="0" algn="ctr">
              <a:buNone/>
              <a:defRPr sz="4500" b="1">
                <a:solidFill>
                  <a:schemeClr val="accent2"/>
                </a:solidFill>
                <a:latin typeface="Calibri "/>
                <a:cs typeface="72 Black" panose="020B0A04030603020204" pitchFamily="34" charset="0"/>
              </a:defRPr>
            </a:lvl1pPr>
          </a:lstStyle>
          <a:p>
            <a:pPr lvl="0"/>
            <a:r>
              <a:rPr lang="en-GB" noProof="0"/>
              <a:t>3.</a:t>
            </a:r>
          </a:p>
        </p:txBody>
      </p:sp>
      <p:sp>
        <p:nvSpPr>
          <p:cNvPr id="28" name="Marcador de texto 2"/>
          <p:cNvSpPr>
            <a:spLocks noGrp="1"/>
          </p:cNvSpPr>
          <p:nvPr>
            <p:ph type="body" sz="quarter" idx="43" hasCustomPrompt="1"/>
          </p:nvPr>
        </p:nvSpPr>
        <p:spPr>
          <a:xfrm>
            <a:off x="1804554" y="4446837"/>
            <a:ext cx="5291145" cy="956604"/>
          </a:xfrm>
          <a:prstGeom prst="rect">
            <a:avLst/>
          </a:prstGeom>
        </p:spPr>
        <p:txBody>
          <a:bodyPr anchor="t">
            <a:noAutofit/>
          </a:bodyPr>
          <a:lstStyle>
            <a:lvl1pPr marL="0" indent="0">
              <a:lnSpc>
                <a:spcPct val="100000"/>
              </a:lnSpc>
              <a:buNone/>
              <a:defRPr sz="2800">
                <a:solidFill>
                  <a:schemeClr val="tx1"/>
                </a:solidFill>
                <a:latin typeface="Calibri "/>
                <a:cs typeface="Arial" panose="020B060402020202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0" name="Title 1">
            <a:extLst>
              <a:ext uri="{FF2B5EF4-FFF2-40B4-BE49-F238E27FC236}">
                <a16:creationId xmlns:a16="http://schemas.microsoft.com/office/drawing/2014/main" id="{3FACB9D1-F93D-43ED-A588-5B14F4ADB48D}"/>
              </a:ext>
            </a:extLst>
          </p:cNvPr>
          <p:cNvSpPr>
            <a:spLocks noGrp="1"/>
          </p:cNvSpPr>
          <p:nvPr>
            <p:ph type="title"/>
          </p:nvPr>
        </p:nvSpPr>
        <p:spPr>
          <a:xfrm>
            <a:off x="821988" y="296865"/>
            <a:ext cx="10699029" cy="482549"/>
          </a:xfrm>
          <a:prstGeom prst="rect">
            <a:avLst/>
          </a:prstGeom>
        </p:spPr>
        <p:txBody>
          <a:bodyPr anchor="t">
            <a:noAutofit/>
          </a:bodyPr>
          <a:lstStyle>
            <a:lvl1pPr>
              <a:defRPr sz="4800" b="1">
                <a:solidFill>
                  <a:schemeClr val="tx2"/>
                </a:solidFill>
                <a:latin typeface="+mn-lt"/>
                <a:cs typeface="72 Black" panose="020B0A04030603020204" pitchFamily="34" charset="0"/>
              </a:defRPr>
            </a:lvl1pPr>
          </a:lstStyle>
          <a:p>
            <a:r>
              <a:rPr lang="en-US" noProof="0"/>
              <a:t>Click to edit Master title style</a:t>
            </a:r>
            <a:endParaRPr lang="en-GB" noProof="0"/>
          </a:p>
        </p:txBody>
      </p:sp>
      <p:sp>
        <p:nvSpPr>
          <p:cNvPr id="11" name="Text Placeholder 19">
            <a:extLst>
              <a:ext uri="{FF2B5EF4-FFF2-40B4-BE49-F238E27FC236}">
                <a16:creationId xmlns:a16="http://schemas.microsoft.com/office/drawing/2014/main" id="{C2125042-CBA1-4C24-B844-427F7123CC43}"/>
              </a:ext>
            </a:extLst>
          </p:cNvPr>
          <p:cNvSpPr>
            <a:spLocks noGrp="1"/>
          </p:cNvSpPr>
          <p:nvPr>
            <p:ph type="body" sz="quarter" idx="13"/>
          </p:nvPr>
        </p:nvSpPr>
        <p:spPr>
          <a:xfrm>
            <a:off x="821988" y="1030625"/>
            <a:ext cx="10699029" cy="482548"/>
          </a:xfrm>
          <a:prstGeom prst="rect">
            <a:avLst/>
          </a:prstGeom>
        </p:spPr>
        <p:txBody>
          <a:bodyPr>
            <a:noAutofit/>
          </a:bodyPr>
          <a:lstStyle>
            <a:lvl1pPr marL="0" indent="0">
              <a:lnSpc>
                <a:spcPct val="100000"/>
              </a:lnSpc>
              <a:buNone/>
              <a:defRPr sz="2400">
                <a:solidFill>
                  <a:schemeClr val="accent2"/>
                </a:solidFill>
                <a:latin typeface="+mn-lt"/>
                <a:cs typeface="Arial" panose="020B060402020202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3926337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830997"/>
          </a:xfrm>
          <a:prstGeom prst="rect">
            <a:avLst/>
          </a:prstGeom>
          <a:noFill/>
        </p:spPr>
        <p:txBody>
          <a:bodyPr wrap="square" rtlCol="0">
            <a:spAutoFit/>
          </a:bodyPr>
          <a:lstStyle/>
          <a:p>
            <a:r>
              <a:rPr lang="en-US" sz="4800" b="0" i="0">
                <a:latin typeface="Calibri Light" panose="020F0302020204030204" pitchFamily="34" charset="0"/>
              </a:rPr>
              <a:t>Agenda</a:t>
            </a:r>
            <a:endParaRPr lang="es-ES" sz="4000" b="0" i="0">
              <a:latin typeface="Calibri Light" panose="020F0302020204030204" pitchFamily="34" charset="0"/>
            </a:endParaRPr>
          </a:p>
        </p:txBody>
      </p:sp>
    </p:spTree>
    <p:extLst>
      <p:ext uri="{BB962C8B-B14F-4D97-AF65-F5344CB8AC3E}">
        <p14:creationId xmlns:p14="http://schemas.microsoft.com/office/powerpoint/2010/main" val="324616590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tx2"/>
                </a:solidFill>
                <a:latin typeface="Calibri Light" panose="020F0302020204030204" pitchFamily="34" charset="0"/>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Tree>
    <p:extLst>
      <p:ext uri="{BB962C8B-B14F-4D97-AF65-F5344CB8AC3E}">
        <p14:creationId xmlns:p14="http://schemas.microsoft.com/office/powerpoint/2010/main" val="296819295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tx2"/>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5701614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77033032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622570" y="198641"/>
            <a:ext cx="10898448"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2985" y="799079"/>
            <a:ext cx="10898236"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59927774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20002172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7" name="Title 1"/>
          <p:cNvSpPr>
            <a:spLocks noGrp="1"/>
          </p:cNvSpPr>
          <p:nvPr>
            <p:ph type="title"/>
          </p:nvPr>
        </p:nvSpPr>
        <p:spPr>
          <a:xfrm>
            <a:off x="622570" y="188913"/>
            <a:ext cx="10879414"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53" y="779412"/>
            <a:ext cx="10855628"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63157137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9"/>
            <a:ext cx="4560866" cy="1349538"/>
          </a:xfrm>
          <a:prstGeom prst="rect">
            <a:avLst/>
          </a:prstGeom>
        </p:spPr>
        <p:txBody>
          <a:bodyPr>
            <a:noAutofit/>
          </a:bodyPr>
          <a:lstStyle>
            <a:lvl1pPr marL="0" indent="0">
              <a:lnSpc>
                <a:spcPts val="1425"/>
              </a:lnSpc>
              <a:buNone/>
              <a:defRPr sz="240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3" name="Title 1"/>
          <p:cNvSpPr>
            <a:spLocks noGrp="1"/>
          </p:cNvSpPr>
          <p:nvPr>
            <p:ph type="title"/>
          </p:nvPr>
        </p:nvSpPr>
        <p:spPr>
          <a:xfrm>
            <a:off x="622570" y="188913"/>
            <a:ext cx="10928053"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20"/>
          </p:nvPr>
        </p:nvSpPr>
        <p:spPr>
          <a:xfrm>
            <a:off x="621860" y="779412"/>
            <a:ext cx="10904161"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92785082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Tree>
    <p:extLst>
      <p:ext uri="{BB962C8B-B14F-4D97-AF65-F5344CB8AC3E}">
        <p14:creationId xmlns:p14="http://schemas.microsoft.com/office/powerpoint/2010/main" val="3909973510"/>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tx2"/>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345856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48BC08-F99F-43DE-A582-4701A21EA23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11">
            <a:extLst>
              <a:ext uri="{FF2B5EF4-FFF2-40B4-BE49-F238E27FC236}">
                <a16:creationId xmlns:a16="http://schemas.microsoft.com/office/drawing/2014/main" id="{B39A809D-0D67-4E1A-B9F6-218070D9F51F}"/>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Footer Placeholder 4">
            <a:extLst>
              <a:ext uri="{FF2B5EF4-FFF2-40B4-BE49-F238E27FC236}">
                <a16:creationId xmlns:a16="http://schemas.microsoft.com/office/drawing/2014/main" id="{7D9E0381-FC12-449F-9062-99A56341020C}"/>
              </a:ext>
            </a:extLst>
          </p:cNvPr>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a:t>© Amadeus IT Group and its affiliates and subsidiaries</a:t>
            </a:r>
          </a:p>
        </p:txBody>
      </p:sp>
      <p:sp>
        <p:nvSpPr>
          <p:cNvPr id="42" name="Text Placeholder 23">
            <a:extLst>
              <a:ext uri="{FF2B5EF4-FFF2-40B4-BE49-F238E27FC236}">
                <a16:creationId xmlns:a16="http://schemas.microsoft.com/office/drawing/2014/main" id="{0EB06A1B-1705-4250-A06F-113B04C7D966}"/>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43" name="Text Placeholder 23">
            <a:extLst>
              <a:ext uri="{FF2B5EF4-FFF2-40B4-BE49-F238E27FC236}">
                <a16:creationId xmlns:a16="http://schemas.microsoft.com/office/drawing/2014/main" id="{A8461778-89D8-4F3E-AE38-EFD1CBBA340D}"/>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44" name="Text Placeholder 23">
            <a:extLst>
              <a:ext uri="{FF2B5EF4-FFF2-40B4-BE49-F238E27FC236}">
                <a16:creationId xmlns:a16="http://schemas.microsoft.com/office/drawing/2014/main" id="{A3751AA0-A167-4B47-ACB5-5D2CEFB07C5F}"/>
              </a:ext>
            </a:extLst>
          </p:cNvPr>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45" name="Freeform 5">
            <a:extLst>
              <a:ext uri="{FF2B5EF4-FFF2-40B4-BE49-F238E27FC236}">
                <a16:creationId xmlns:a16="http://schemas.microsoft.com/office/drawing/2014/main" id="{CA4F50EA-7FE9-4224-8141-34440F01A834}"/>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46" name="Freeform 5">
            <a:extLst>
              <a:ext uri="{FF2B5EF4-FFF2-40B4-BE49-F238E27FC236}">
                <a16:creationId xmlns:a16="http://schemas.microsoft.com/office/drawing/2014/main" id="{341A9BFA-0641-4323-BE92-492C24FEC4B8}"/>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6">
            <a:extLst>
              <a:ext uri="{FF2B5EF4-FFF2-40B4-BE49-F238E27FC236}">
                <a16:creationId xmlns:a16="http://schemas.microsoft.com/office/drawing/2014/main" id="{86BD917D-A17C-416C-9F7E-E5A9F1A0C0C8}"/>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7">
            <a:extLst>
              <a:ext uri="{FF2B5EF4-FFF2-40B4-BE49-F238E27FC236}">
                <a16:creationId xmlns:a16="http://schemas.microsoft.com/office/drawing/2014/main" id="{D3C69A2B-BCDA-41C0-B7E3-C4DDDA9ABA09}"/>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8">
            <a:extLst>
              <a:ext uri="{FF2B5EF4-FFF2-40B4-BE49-F238E27FC236}">
                <a16:creationId xmlns:a16="http://schemas.microsoft.com/office/drawing/2014/main" id="{D882CD9E-EF4B-445B-B8E8-F2CEEEFB2F81}"/>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9">
            <a:extLst>
              <a:ext uri="{FF2B5EF4-FFF2-40B4-BE49-F238E27FC236}">
                <a16:creationId xmlns:a16="http://schemas.microsoft.com/office/drawing/2014/main" id="{4EB8BA2F-3F4B-4B1F-8C8A-5ECBABECB1E7}"/>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10">
            <a:extLst>
              <a:ext uri="{FF2B5EF4-FFF2-40B4-BE49-F238E27FC236}">
                <a16:creationId xmlns:a16="http://schemas.microsoft.com/office/drawing/2014/main" id="{1A0B0610-A57A-4A82-BA82-F0845B55C2D4}"/>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11">
            <a:extLst>
              <a:ext uri="{FF2B5EF4-FFF2-40B4-BE49-F238E27FC236}">
                <a16:creationId xmlns:a16="http://schemas.microsoft.com/office/drawing/2014/main" id="{1B0F6201-1EAA-4332-96A7-9D08EADF4B59}"/>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5">
            <a:extLst>
              <a:ext uri="{FF2B5EF4-FFF2-40B4-BE49-F238E27FC236}">
                <a16:creationId xmlns:a16="http://schemas.microsoft.com/office/drawing/2014/main" id="{BA448847-C976-47FF-B06B-6E7C12567B0D}"/>
              </a:ext>
            </a:extLst>
          </p:cNvPr>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328850115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2000" b="0" i="0">
                <a:solidFill>
                  <a:srgbClr val="323232"/>
                </a:solidFill>
                <a:latin typeface="Calibri Light" panose="020F0302020204030204" pitchFamily="34" charset="0"/>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GB" noProof="0"/>
              <a:t>Click to edit Master text styles</a:t>
            </a:r>
          </a:p>
        </p:txBody>
      </p:sp>
      <p:sp>
        <p:nvSpPr>
          <p:cNvPr id="24" name="Title 1"/>
          <p:cNvSpPr>
            <a:spLocks noGrp="1"/>
          </p:cNvSpPr>
          <p:nvPr>
            <p:ph type="title"/>
          </p:nvPr>
        </p:nvSpPr>
        <p:spPr>
          <a:xfrm>
            <a:off x="622570" y="188913"/>
            <a:ext cx="902702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5" name="Text Placeholder 19"/>
          <p:cNvSpPr>
            <a:spLocks noGrp="1"/>
          </p:cNvSpPr>
          <p:nvPr>
            <p:ph type="body" sz="quarter" idx="13"/>
          </p:nvPr>
        </p:nvSpPr>
        <p:spPr>
          <a:xfrm>
            <a:off x="620990" y="787824"/>
            <a:ext cx="4807728" cy="4515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091424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5" name="Title 1"/>
          <p:cNvSpPr>
            <a:spLocks noGrp="1"/>
          </p:cNvSpPr>
          <p:nvPr>
            <p:ph type="title"/>
          </p:nvPr>
        </p:nvSpPr>
        <p:spPr>
          <a:xfrm>
            <a:off x="612843" y="188913"/>
            <a:ext cx="10183704"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7" name="Text Placeholder 19"/>
          <p:cNvSpPr>
            <a:spLocks noGrp="1"/>
          </p:cNvSpPr>
          <p:nvPr>
            <p:ph type="body" sz="quarter" idx="13"/>
          </p:nvPr>
        </p:nvSpPr>
        <p:spPr>
          <a:xfrm>
            <a:off x="621839" y="779414"/>
            <a:ext cx="10161440" cy="37614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79012963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7" name="Title 1"/>
          <p:cNvSpPr>
            <a:spLocks noGrp="1"/>
          </p:cNvSpPr>
          <p:nvPr>
            <p:ph type="title"/>
          </p:nvPr>
        </p:nvSpPr>
        <p:spPr>
          <a:xfrm>
            <a:off x="622572" y="188913"/>
            <a:ext cx="1093778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1" name="Text Placeholder 19"/>
          <p:cNvSpPr>
            <a:spLocks noGrp="1"/>
          </p:cNvSpPr>
          <p:nvPr>
            <p:ph type="body" sz="quarter" idx="13"/>
          </p:nvPr>
        </p:nvSpPr>
        <p:spPr>
          <a:xfrm>
            <a:off x="621882" y="779413"/>
            <a:ext cx="10913867" cy="4258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74963297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i="0">
                <a:solidFill>
                  <a:schemeClr val="accent2"/>
                </a:solidFill>
                <a:latin typeface="Calibri Light" panose="020F0302020204030204" pitchFamily="34" charset="0"/>
              </a:defRPr>
            </a:lvl1pPr>
          </a:lstStyle>
          <a:p>
            <a:pPr lvl="0"/>
            <a:r>
              <a:rPr lang="en-GB" noProof="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6" name="Title 1"/>
          <p:cNvSpPr>
            <a:spLocks noGrp="1"/>
          </p:cNvSpPr>
          <p:nvPr>
            <p:ph type="title"/>
          </p:nvPr>
        </p:nvSpPr>
        <p:spPr>
          <a:xfrm>
            <a:off x="622570" y="188913"/>
            <a:ext cx="1090859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9" name="Text Placeholder 19"/>
          <p:cNvSpPr>
            <a:spLocks noGrp="1"/>
          </p:cNvSpPr>
          <p:nvPr>
            <p:ph type="body" sz="quarter" idx="13"/>
          </p:nvPr>
        </p:nvSpPr>
        <p:spPr>
          <a:xfrm>
            <a:off x="621818" y="779413"/>
            <a:ext cx="10884747" cy="40611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172769377"/>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4</a:t>
            </a:r>
          </a:p>
        </p:txBody>
      </p:sp>
      <p:sp>
        <p:nvSpPr>
          <p:cNvPr id="23" name="Title 1"/>
          <p:cNvSpPr>
            <a:spLocks noGrp="1"/>
          </p:cNvSpPr>
          <p:nvPr>
            <p:ph type="title"/>
          </p:nvPr>
        </p:nvSpPr>
        <p:spPr>
          <a:xfrm>
            <a:off x="622938" y="188913"/>
            <a:ext cx="1093741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4" name="Text Placeholder 19"/>
          <p:cNvSpPr>
            <a:spLocks noGrp="1"/>
          </p:cNvSpPr>
          <p:nvPr>
            <p:ph type="body" sz="quarter" idx="13"/>
          </p:nvPr>
        </p:nvSpPr>
        <p:spPr>
          <a:xfrm>
            <a:off x="622249" y="779413"/>
            <a:ext cx="10913500" cy="353817"/>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88757097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4</a:t>
            </a:r>
          </a:p>
        </p:txBody>
      </p:sp>
      <p:sp>
        <p:nvSpPr>
          <p:cNvPr id="25" name="Title 1"/>
          <p:cNvSpPr>
            <a:spLocks noGrp="1"/>
          </p:cNvSpPr>
          <p:nvPr>
            <p:ph type="title"/>
          </p:nvPr>
        </p:nvSpPr>
        <p:spPr>
          <a:xfrm>
            <a:off x="622570" y="188913"/>
            <a:ext cx="10918325"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9" name="Text Placeholder 19"/>
          <p:cNvSpPr>
            <a:spLocks noGrp="1"/>
          </p:cNvSpPr>
          <p:nvPr>
            <p:ph type="body" sz="quarter" idx="13"/>
          </p:nvPr>
        </p:nvSpPr>
        <p:spPr>
          <a:xfrm>
            <a:off x="621839" y="779412"/>
            <a:ext cx="1089445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01032557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5" name="Title 1"/>
          <p:cNvSpPr>
            <a:spLocks noGrp="1"/>
          </p:cNvSpPr>
          <p:nvPr>
            <p:ph type="title"/>
          </p:nvPr>
        </p:nvSpPr>
        <p:spPr>
          <a:xfrm>
            <a:off x="627403" y="188913"/>
            <a:ext cx="1089325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7403" y="779412"/>
            <a:ext cx="108694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58025488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0" i="0" baseline="0">
                <a:solidFill>
                  <a:schemeClr val="accent2"/>
                </a:solidFill>
                <a:latin typeface="Calibri Light" panose="020F0302020204030204" pitchFamily="34" charset="0"/>
              </a:defRPr>
            </a:lvl1pPr>
          </a:lstStyle>
          <a:p>
            <a:pPr lvl="0"/>
            <a:r>
              <a:rPr lang="en-GB" noProof="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buNone/>
              <a:defRPr sz="2800" b="0" i="0" baseline="0">
                <a:solidFill>
                  <a:schemeClr val="accent2"/>
                </a:solidFill>
                <a:latin typeface="Calibri Light" panose="020F0302020204030204" pitchFamily="34" charset="0"/>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0" i="0" baseline="0">
                <a:solidFill>
                  <a:schemeClr val="accent2"/>
                </a:solidFill>
                <a:latin typeface="Calibri Light" panose="020F0302020204030204" pitchFamily="34" charset="0"/>
              </a:defRPr>
            </a:lvl1pPr>
          </a:lstStyle>
          <a:p>
            <a:pPr lvl="0"/>
            <a:r>
              <a:rPr lang="en-GB" noProof="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538163" indent="-139700">
              <a:lnSpc>
                <a:spcPct val="100000"/>
              </a:lnSpc>
              <a:defRPr sz="2400" b="0" i="0">
                <a:solidFill>
                  <a:srgbClr val="323232"/>
                </a:solidFill>
                <a:latin typeface="Calibri Light" panose="020F0302020204030204" pitchFamily="34" charset="0"/>
              </a:defRPr>
            </a:lvl2pPr>
            <a:lvl3pPr marL="985838" indent="-138113">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400" b="0" i="0">
                <a:solidFill>
                  <a:srgbClr val="323232"/>
                </a:solidFill>
                <a:latin typeface="Calibri Light" panose="020F0302020204030204" pitchFamily="34" charset="0"/>
              </a:defRPr>
            </a:lvl2pPr>
            <a:lvl3pPr marL="1076325" indent="-161925">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000" b="0" i="0">
                <a:solidFill>
                  <a:srgbClr val="323232"/>
                </a:solidFill>
                <a:latin typeface="Calibri Light" panose="020F0302020204030204" pitchFamily="34" charset="0"/>
              </a:defRPr>
            </a:lvl2pPr>
            <a:lvl3pPr marL="1076325" indent="-228600">
              <a:lnSpc>
                <a:spcPct val="100000"/>
              </a:lnSpc>
              <a:defRPr sz="1600" b="0" i="0">
                <a:solidFill>
                  <a:srgbClr val="323232"/>
                </a:solidFill>
                <a:latin typeface="Calibri Light" panose="020F0302020204030204" pitchFamily="34" charset="0"/>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14" name="Title 1"/>
          <p:cNvSpPr>
            <a:spLocks noGrp="1"/>
          </p:cNvSpPr>
          <p:nvPr>
            <p:ph type="title"/>
          </p:nvPr>
        </p:nvSpPr>
        <p:spPr>
          <a:xfrm>
            <a:off x="625120" y="188913"/>
            <a:ext cx="10944959"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4447" y="779412"/>
            <a:ext cx="10921030"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13444616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9" name="Title 1"/>
          <p:cNvSpPr>
            <a:spLocks noGrp="1"/>
          </p:cNvSpPr>
          <p:nvPr>
            <p:ph type="title"/>
          </p:nvPr>
        </p:nvSpPr>
        <p:spPr>
          <a:xfrm>
            <a:off x="622572" y="188913"/>
            <a:ext cx="1060005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0" name="Text Placeholder 19"/>
          <p:cNvSpPr>
            <a:spLocks noGrp="1"/>
          </p:cNvSpPr>
          <p:nvPr>
            <p:ph type="body" sz="quarter" idx="13"/>
          </p:nvPr>
        </p:nvSpPr>
        <p:spPr>
          <a:xfrm>
            <a:off x="621882" y="779412"/>
            <a:ext cx="10576883"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09566290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b="0" i="0">
              <a:latin typeface="Calibri Light" panose="020F0302020204030204" pitchFamily="34" charset="0"/>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tx1"/>
                </a:solidFill>
                <a:latin typeface="Calibri Light" panose="020F0302020204030204" pitchFamily="34" charset="0"/>
                <a:cs typeface="72 Black" panose="020B0A04030603020204" pitchFamily="34" charset="0"/>
              </a:defRPr>
            </a:lvl1pPr>
          </a:lstStyle>
          <a:p>
            <a:r>
              <a:rPr lang="en-GB" noProof="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20277467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1CF604-22CE-47B6-8D85-73EA9C8F32B2}"/>
              </a:ext>
            </a:extLst>
          </p:cNvPr>
          <p:cNvSpPr/>
          <p:nvPr userDrawn="1"/>
        </p:nvSpPr>
        <p:spPr>
          <a:xfrm>
            <a:off x="0" y="0"/>
            <a:ext cx="12192000" cy="6858000"/>
          </a:xfrm>
          <a:prstGeom prst="rect">
            <a:avLst/>
          </a:prstGeom>
          <a:gradFill>
            <a:gsLst>
              <a:gs pos="0">
                <a:schemeClr val="accent1"/>
              </a:gs>
              <a:gs pos="100000">
                <a:schemeClr val="accent2"/>
              </a:gs>
            </a:gsLst>
            <a:lin ang="5400000" scaled="1"/>
          </a:gradFill>
          <a:ln>
            <a:noFill/>
          </a:ln>
        </p:spPr>
        <p:txBody>
          <a:bodyPr vert="horz" wrap="square" lIns="189000" tIns="378000" rIns="108000" bIns="34290" numCol="1" anchor="ctr" anchorCtr="0" compatLnSpc="1">
            <a:prstTxWarp prst="textNoShape">
              <a:avLst/>
            </a:prstTxWarp>
          </a:bodyPr>
          <a:lstStyle/>
          <a:p>
            <a:pPr lvl="0" algn="ctr">
              <a:lnSpc>
                <a:spcPts val="3075"/>
              </a:lnSpc>
            </a:pPr>
            <a:endParaRPr lang="es-ES" sz="3300">
              <a:solidFill>
                <a:schemeClr val="bg1"/>
              </a:solidFill>
              <a:latin typeface="+mj-lt"/>
            </a:endParaRPr>
          </a:p>
        </p:txBody>
      </p:sp>
      <p:sp>
        <p:nvSpPr>
          <p:cNvPr id="5" name="CuadroTexto 2">
            <a:extLst>
              <a:ext uri="{FF2B5EF4-FFF2-40B4-BE49-F238E27FC236}">
                <a16:creationId xmlns:a16="http://schemas.microsoft.com/office/drawing/2014/main" id="{FC44A33A-1EDB-4D8C-9A10-3A818D86B60F}"/>
              </a:ext>
            </a:extLst>
          </p:cNvPr>
          <p:cNvSpPr txBox="1"/>
          <p:nvPr userDrawn="1"/>
        </p:nvSpPr>
        <p:spPr>
          <a:xfrm>
            <a:off x="-221371" y="652449"/>
            <a:ext cx="184731" cy="300082"/>
          </a:xfrm>
          <a:prstGeom prst="rect">
            <a:avLst/>
          </a:prstGeom>
          <a:noFill/>
        </p:spPr>
        <p:txBody>
          <a:bodyPr wrap="none" rtlCol="0">
            <a:spAutoFit/>
          </a:bodyPr>
          <a:lstStyle/>
          <a:p>
            <a:endParaRPr lang="es-ES" sz="1350"/>
          </a:p>
        </p:txBody>
      </p:sp>
      <p:cxnSp>
        <p:nvCxnSpPr>
          <p:cNvPr id="6" name="Straight Connector 11">
            <a:extLst>
              <a:ext uri="{FF2B5EF4-FFF2-40B4-BE49-F238E27FC236}">
                <a16:creationId xmlns:a16="http://schemas.microsoft.com/office/drawing/2014/main" id="{04730DBB-9FCF-4329-B000-E9C1FCE35D39}"/>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4F227069-FE71-4BE2-BB64-E6083CF176B0}"/>
              </a:ext>
            </a:extLst>
          </p:cNvPr>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a:t>© Amadeus IT Group and its affiliates and subsidiaries</a:t>
            </a:r>
          </a:p>
        </p:txBody>
      </p:sp>
      <p:sp>
        <p:nvSpPr>
          <p:cNvPr id="8" name="AutoShape 3">
            <a:extLst>
              <a:ext uri="{FF2B5EF4-FFF2-40B4-BE49-F238E27FC236}">
                <a16:creationId xmlns:a16="http://schemas.microsoft.com/office/drawing/2014/main" id="{E577E739-7A69-43FC-90EA-86355EAC3550}"/>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Text Placeholder 23">
            <a:extLst>
              <a:ext uri="{FF2B5EF4-FFF2-40B4-BE49-F238E27FC236}">
                <a16:creationId xmlns:a16="http://schemas.microsoft.com/office/drawing/2014/main" id="{59B8A7F1-32C1-49AA-B8D0-D3A785C0B510}"/>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0" name="Text Placeholder 23">
            <a:extLst>
              <a:ext uri="{FF2B5EF4-FFF2-40B4-BE49-F238E27FC236}">
                <a16:creationId xmlns:a16="http://schemas.microsoft.com/office/drawing/2014/main" id="{95FF37AE-AD88-4CF6-B50D-486E1C923154}"/>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1" name="Text Placeholder 23">
            <a:extLst>
              <a:ext uri="{FF2B5EF4-FFF2-40B4-BE49-F238E27FC236}">
                <a16:creationId xmlns:a16="http://schemas.microsoft.com/office/drawing/2014/main" id="{D7ED6008-0616-47F9-8158-6A01D4360F04}"/>
              </a:ext>
            </a:extLst>
          </p:cNvPr>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2" name="Freeform 5">
            <a:extLst>
              <a:ext uri="{FF2B5EF4-FFF2-40B4-BE49-F238E27FC236}">
                <a16:creationId xmlns:a16="http://schemas.microsoft.com/office/drawing/2014/main" id="{72007A37-DD9F-4733-A875-E4A4BC758DB2}"/>
              </a:ext>
            </a:extLst>
          </p:cNvPr>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3" name="Freeform 5">
            <a:extLst>
              <a:ext uri="{FF2B5EF4-FFF2-40B4-BE49-F238E27FC236}">
                <a16:creationId xmlns:a16="http://schemas.microsoft.com/office/drawing/2014/main" id="{6C58AD72-02EF-4DD0-B317-4BC3CB7F4ECC}"/>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14" name="Freeform 5">
            <a:extLst>
              <a:ext uri="{FF2B5EF4-FFF2-40B4-BE49-F238E27FC236}">
                <a16:creationId xmlns:a16="http://schemas.microsoft.com/office/drawing/2014/main" id="{DB6E6C42-7D5A-408D-9733-12671519046E}"/>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6">
            <a:extLst>
              <a:ext uri="{FF2B5EF4-FFF2-40B4-BE49-F238E27FC236}">
                <a16:creationId xmlns:a16="http://schemas.microsoft.com/office/drawing/2014/main" id="{94C08CF7-9793-445B-9392-56091AF0CB79}"/>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7">
            <a:extLst>
              <a:ext uri="{FF2B5EF4-FFF2-40B4-BE49-F238E27FC236}">
                <a16:creationId xmlns:a16="http://schemas.microsoft.com/office/drawing/2014/main" id="{E9E4CF91-B9CC-4AE1-A2F8-0CEC1DCC9229}"/>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8">
            <a:extLst>
              <a:ext uri="{FF2B5EF4-FFF2-40B4-BE49-F238E27FC236}">
                <a16:creationId xmlns:a16="http://schemas.microsoft.com/office/drawing/2014/main" id="{FDB569D5-4D5E-46EC-8EDC-1A296970838B}"/>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6E0CA4B4-7BE8-4FEF-9F65-6B9FDC79F2B1}"/>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67FF94FC-EE05-4929-AFDB-D31EFD17F1A1}"/>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53B6F661-47D4-4B2A-B008-5BC2665382E3}"/>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0673175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4" name="Title 1"/>
          <p:cNvSpPr>
            <a:spLocks noGrp="1"/>
          </p:cNvSpPr>
          <p:nvPr>
            <p:ph type="title" hasCustomPrompt="1"/>
          </p:nvPr>
        </p:nvSpPr>
        <p:spPr>
          <a:xfrm>
            <a:off x="6807837" y="2016688"/>
            <a:ext cx="4601584" cy="1325563"/>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491726D4-2FB5-4D17-BC26-A8D05A9DF958}"/>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710703276"/>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2235201" y="1801092"/>
            <a:ext cx="7467796" cy="1913318"/>
          </a:xfrm>
          <a:prstGeom prst="rect">
            <a:avLst/>
          </a:prstGeom>
        </p:spPr>
        <p:txBody>
          <a:bodyPr anchor="b">
            <a:norm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574B07EB-BC85-4341-B882-7ADA0F4E9B5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76158901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bg2"/>
                </a:solidFill>
                <a:latin typeface="Calibri Light" panose="020F0302020204030204" pitchFamily="34" charset="0"/>
              </a:defRPr>
            </a:lvl1pPr>
          </a:lstStyle>
          <a:p>
            <a:r>
              <a:rPr lang="en-GB" noProof="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36A390C1-AAA9-4C50-82E8-2EEA474B0BEB}"/>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058899692"/>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bg1"/>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3"/>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3CC17AF5-E76C-4559-B749-924D696639A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99657693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solidFill>
                  <a:schemeClr val="bg1"/>
                </a:solidFill>
                <a:latin typeface="Calibri Light" panose="020F0302020204030204" pitchFamily="34" charset="0"/>
              </a:defRPr>
            </a:lvl1pPr>
          </a:lstStyle>
          <a:p>
            <a:r>
              <a:rPr lang="en-GB"/>
              <a:t>Click to edit Master title style</a:t>
            </a:r>
            <a:endParaRPr lang="en-US"/>
          </a:p>
        </p:txBody>
      </p:sp>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08DDA232-D2BF-4C20-95E7-C3EDF7F007B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83960656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5F1611E6-5CAE-4418-A639-570A1F89B7E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98806472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solidFill>
                <a:schemeClr val="bg1"/>
              </a:solidFill>
              <a:latin typeface="Calibri Light" panose="020F0302020204030204" pitchFamily="34" charset="0"/>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bg1"/>
                </a:solidFill>
                <a:latin typeface="Calibri Light" panose="020F0302020204030204" pitchFamily="34" charset="0"/>
                <a:cs typeface="72 Black" panose="020B0A04030603020204" pitchFamily="34" charset="0"/>
              </a:defRPr>
            </a:lvl1pPr>
          </a:lstStyle>
          <a:p>
            <a:r>
              <a:rPr lang="en-GB" noProof="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18" name="Freeform 5">
            <a:extLst>
              <a:ext uri="{FF2B5EF4-FFF2-40B4-BE49-F238E27FC236}">
                <a16:creationId xmlns:a16="http://schemas.microsoft.com/office/drawing/2014/main" id="{87CD2232-1DA9-4A1D-9AE6-3DC16992A0B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6028277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8000"/>
          </a:xfrm>
          <a:prstGeom prst="rect">
            <a:avLst/>
          </a:prstGeom>
          <a:solidFill>
            <a:schemeClr val="accent3"/>
          </a:solidFill>
        </p:spPr>
        <p:txBody>
          <a:bodyPr anchor="ctr">
            <a:normAutofit/>
          </a:bodyPr>
          <a:lstStyle>
            <a:lvl1pPr marL="0" indent="0" algn="l">
              <a:buNone/>
              <a:defRPr sz="1800" b="0" i="0" baseline="0">
                <a:latin typeface="Calibri Light" panose="020F0302020204030204" pitchFamily="34" charset="0"/>
              </a:defRPr>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609144" y="2458245"/>
            <a:ext cx="4902559" cy="1727779"/>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69923600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14890058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830997"/>
          </a:xfrm>
          <a:prstGeom prst="rect">
            <a:avLst/>
          </a:prstGeom>
          <a:noFill/>
        </p:spPr>
        <p:txBody>
          <a:bodyPr wrap="square" rtlCol="0">
            <a:spAutoFit/>
          </a:bodyPr>
          <a:lstStyle/>
          <a:p>
            <a:pPr algn="r"/>
            <a:r>
              <a:rPr lang="en-US" sz="4800" b="0" i="0">
                <a:latin typeface="Calibri Light" panose="020F0302020204030204" pitchFamily="34" charset="0"/>
              </a:rPr>
              <a:t>Agenda</a:t>
            </a:r>
            <a:endParaRPr lang="es-ES" sz="4400" b="0" i="0">
              <a:latin typeface="Calibri Light" panose="020F0302020204030204" pitchFamily="34"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813561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aseline="0">
                <a:solidFill>
                  <a:srgbClr val="323232"/>
                </a:solidFill>
              </a:defRPr>
            </a:lvl1pPr>
            <a:lvl2pPr>
              <a:lnSpc>
                <a:spcPct val="100000"/>
              </a:lnSpc>
              <a:buClr>
                <a:schemeClr val="accent2"/>
              </a:buClr>
              <a:defRPr sz="2400" baseline="0">
                <a:solidFill>
                  <a:srgbClr val="323232"/>
                </a:solidFill>
              </a:defRPr>
            </a:lvl2pPr>
            <a:lvl3pPr>
              <a:lnSpc>
                <a:spcPct val="100000"/>
              </a:lnSpc>
              <a:buClr>
                <a:schemeClr val="accent2"/>
              </a:buClr>
              <a:defRPr sz="2000" baseline="0">
                <a:solidFill>
                  <a:srgbClr val="323232"/>
                </a:solidFill>
              </a:defRPr>
            </a:lvl3pPr>
            <a:lvl4pPr>
              <a:lnSpc>
                <a:spcPct val="100000"/>
              </a:lnSpc>
              <a:buClr>
                <a:schemeClr val="accent2"/>
              </a:buClr>
              <a:defRPr sz="1800" baseline="0">
                <a:solidFill>
                  <a:srgbClr val="323232"/>
                </a:solidFill>
              </a:defRPr>
            </a:lvl4pPr>
            <a:lvl5pPr>
              <a:lnSpc>
                <a:spcPct val="100000"/>
              </a:lnSpc>
              <a:buClr>
                <a:schemeClr val="accent2"/>
              </a:buClr>
              <a:defRPr sz="16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p:spPr>
        <p:txBody>
          <a:bodyPr anchor="t">
            <a:noAutofit/>
          </a:bodyPr>
          <a:lstStyle>
            <a:lvl1pPr>
              <a:defRPr lang="en-GB" sz="4800" b="1" kern="1200" noProof="0" dirty="0">
                <a:solidFill>
                  <a:schemeClr val="tx2"/>
                </a:solidFill>
                <a:latin typeface="+mj-lt"/>
                <a:ea typeface="+mj-ea"/>
                <a:cs typeface="+mj-cs"/>
              </a:defRPr>
            </a:lvl1pPr>
          </a:lstStyle>
          <a:p>
            <a:r>
              <a:rPr lang="en-US" noProof="0"/>
              <a:t>Click to edit Master title style</a:t>
            </a:r>
            <a:endParaRPr lang="en-GB" noProof="0"/>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1623261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99882714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576049532"/>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9" name="Title Placeholder 1">
            <a:extLst>
              <a:ext uri="{FF2B5EF4-FFF2-40B4-BE49-F238E27FC236}">
                <a16:creationId xmlns:a16="http://schemas.microsoft.com/office/drawing/2014/main" id="{AF6C4D8C-B518-490C-AD2B-FAB309AF376A}"/>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tx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964582229"/>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80068"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240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969296897"/>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p:nvPr>
        </p:nvSpPr>
        <p:spPr>
          <a:xfrm>
            <a:off x="287338" y="3053017"/>
            <a:ext cx="11460377" cy="886766"/>
          </a:xfrm>
          <a:prstGeom prst="rect">
            <a:avLst/>
          </a:prstGeom>
        </p:spPr>
        <p:txBody>
          <a:bodyPr anchor="b">
            <a:normAutofit/>
          </a:bodyPr>
          <a:lstStyle>
            <a:lvl1pPr algn="ctr">
              <a:lnSpc>
                <a:spcPts val="5000"/>
              </a:lnSpc>
              <a:defRPr lang="en-GB" sz="6000" b="0" i="0" kern="1200" noProof="0" dirty="0">
                <a:solidFill>
                  <a:schemeClr val="bg1"/>
                </a:solidFill>
                <a:latin typeface="Calibri Light" panose="020F0302020204030204" pitchFamily="34" charset="0"/>
                <a:ea typeface="+mj-ea"/>
                <a:cs typeface="+mj-cs"/>
              </a:defRPr>
            </a:lvl1pPr>
          </a:lstStyle>
          <a:p>
            <a:r>
              <a:rPr lang="en-GB" noProof="0"/>
              <a:t>Click to edit Master title style</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822945926"/>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192000"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Thanks!</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cxnSp>
        <p:nvCxnSpPr>
          <p:cNvPr id="12" name="Straight Connector 11">
            <a:extLst>
              <a:ext uri="{FF2B5EF4-FFF2-40B4-BE49-F238E27FC236}">
                <a16:creationId xmlns:a16="http://schemas.microsoft.com/office/drawing/2014/main" id="{7629B5C9-B7D1-4505-9A07-FAF43A3367FB}"/>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b="0" i="0">
              <a:latin typeface="Calibri Light" panose="020F0302020204030204" pitchFamily="34" charset="0"/>
            </a:endParaRPr>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736034129"/>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16982"/>
          </a:xfrm>
          <a:prstGeom prst="rect">
            <a:avLst/>
          </a:prstGeom>
        </p:spPr>
        <p:txBody>
          <a:bodyPr wrap="none">
            <a:spAutoFit/>
          </a:bodyPr>
          <a:lstStyle>
            <a:lvl1pPr marL="0" indent="0" algn="l">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Tree>
    <p:extLst>
      <p:ext uri="{BB962C8B-B14F-4D97-AF65-F5344CB8AC3E}">
        <p14:creationId xmlns:p14="http://schemas.microsoft.com/office/powerpoint/2010/main" val="3147672745"/>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1_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15" name="Group 14"/>
          <p:cNvGrpSpPr/>
          <p:nvPr userDrawn="1"/>
        </p:nvGrpSpPr>
        <p:grpSpPr>
          <a:xfrm>
            <a:off x="11548481" y="73568"/>
            <a:ext cx="409580" cy="338886"/>
            <a:chOff x="10987081" y="138792"/>
            <a:chExt cx="409580" cy="338886"/>
          </a:xfrm>
        </p:grpSpPr>
        <p:grpSp>
          <p:nvGrpSpPr>
            <p:cNvPr id="16" name="Group 26"/>
            <p:cNvGrpSpPr/>
            <p:nvPr userDrawn="1"/>
          </p:nvGrpSpPr>
          <p:grpSpPr>
            <a:xfrm>
              <a:off x="11011908" y="146161"/>
              <a:ext cx="384753" cy="331517"/>
              <a:chOff x="9021034" y="119041"/>
              <a:chExt cx="630093" cy="553987"/>
            </a:xfrm>
          </p:grpSpPr>
          <p:sp>
            <p:nvSpPr>
              <p:cNvPr id="18"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a:solidFill>
                      <a:srgbClr val="E5A912"/>
                    </a:solidFill>
                  </a:rPr>
                  <a:t>RESTRICTED</a:t>
                </a:r>
              </a:p>
            </p:txBody>
          </p:sp>
          <p:grpSp>
            <p:nvGrpSpPr>
              <p:cNvPr id="19" name="Group 30"/>
              <p:cNvGrpSpPr/>
              <p:nvPr userDrawn="1"/>
            </p:nvGrpSpPr>
            <p:grpSpPr>
              <a:xfrm>
                <a:off x="9094418" y="119041"/>
                <a:ext cx="477460" cy="431416"/>
                <a:chOff x="8532895" y="91935"/>
                <a:chExt cx="504900" cy="444531"/>
              </a:xfrm>
            </p:grpSpPr>
            <p:sp>
              <p:nvSpPr>
                <p:cNvPr id="21"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30"/>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31"/>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2" name="Freeform 32"/>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3"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grpSp>
        <p:sp>
          <p:nvSpPr>
            <p:cNvPr id="17"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a:solidFill>
                    <a:srgbClr val="7F7F7F"/>
                  </a:solidFill>
                </a:rPr>
                <a:t>Confidential</a:t>
              </a:r>
            </a:p>
          </p:txBody>
        </p:sp>
      </p:grpSp>
    </p:spTree>
    <p:extLst>
      <p:ext uri="{BB962C8B-B14F-4D97-AF65-F5344CB8AC3E}">
        <p14:creationId xmlns:p14="http://schemas.microsoft.com/office/powerpoint/2010/main" val="90738705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2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Tree>
    <p:extLst>
      <p:ext uri="{BB962C8B-B14F-4D97-AF65-F5344CB8AC3E}">
        <p14:creationId xmlns:p14="http://schemas.microsoft.com/office/powerpoint/2010/main" val="158779840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2945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fr-CA"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fr-CA"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fr-CA"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fr-CA"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a:t>© Amadeus IT Group and its affiliates and subsidiaries</a:t>
            </a:r>
          </a:p>
        </p:txBody>
      </p:sp>
    </p:spTree>
    <p:extLst>
      <p:ext uri="{BB962C8B-B14F-4D97-AF65-F5344CB8AC3E}">
        <p14:creationId xmlns:p14="http://schemas.microsoft.com/office/powerpoint/2010/main" val="2081414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1_Bullets slide">
    <p:spTree>
      <p:nvGrpSpPr>
        <p:cNvPr id="1" name=""/>
        <p:cNvGrpSpPr/>
        <p:nvPr/>
      </p:nvGrpSpPr>
      <p:grpSpPr>
        <a:xfrm>
          <a:off x="0" y="0"/>
          <a:ext cx="0" cy="0"/>
          <a:chOff x="0" y="0"/>
          <a:chExt cx="0" cy="0"/>
        </a:xfrm>
      </p:grpSpPr>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b="0" i="0">
                <a:solidFill>
                  <a:schemeClr val="bg1">
                    <a:lumMod val="50000"/>
                  </a:schemeClr>
                </a:solidFill>
                <a:latin typeface="Calibri Light" panose="020F0302020204030204" pitchFamily="34" charset="0"/>
              </a:defRPr>
            </a:lvl1pPr>
          </a:lstStyle>
          <a:p>
            <a:fld id="{E57627FB-D816-4EA7-98E3-793F2D9BC93A}" type="slidenum">
              <a:rPr lang="en-US" smtClean="0"/>
              <a:pPr/>
              <a:t>‹#›</a:t>
            </a:fld>
            <a:endParaRPr lang="en-US"/>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b="0" i="0">
                <a:solidFill>
                  <a:schemeClr val="bg1">
                    <a:lumMod val="65000"/>
                  </a:schemeClr>
                </a:solidFill>
                <a:latin typeface="Calibri Light" panose="020F0302020204030204" pitchFamily="34" charset="0"/>
              </a:defRPr>
            </a:lvl1pPr>
          </a:lstStyle>
          <a:p>
            <a:r>
              <a:rPr lang="en-US"/>
              <a:t>©Amadeus North America, Inc.</a:t>
            </a:r>
          </a:p>
        </p:txBody>
      </p:sp>
      <p:sp>
        <p:nvSpPr>
          <p:cNvPr id="11" name="Title 1"/>
          <p:cNvSpPr>
            <a:spLocks noGrp="1"/>
          </p:cNvSpPr>
          <p:nvPr>
            <p:ph type="title"/>
          </p:nvPr>
        </p:nvSpPr>
        <p:spPr>
          <a:xfrm>
            <a:off x="268224" y="296865"/>
            <a:ext cx="11253216" cy="482549"/>
          </a:xfrm>
        </p:spPr>
        <p:txBody>
          <a:bodyPr anchor="t">
            <a:noAutofit/>
          </a:bodyPr>
          <a:lstStyle>
            <a:lvl1pPr>
              <a:defRPr sz="3200" b="0" i="0">
                <a:solidFill>
                  <a:srgbClr val="005EB8"/>
                </a:solidFill>
                <a:latin typeface="Calibri Light" panose="020F0302020204030204" pitchFamily="34" charset="0"/>
              </a:defRPr>
            </a:lvl1pPr>
          </a:lstStyle>
          <a:p>
            <a:r>
              <a:rPr lang="en-US" noProof="0"/>
              <a:t>Click to edit Master title style</a:t>
            </a:r>
          </a:p>
        </p:txBody>
      </p:sp>
      <p:sp>
        <p:nvSpPr>
          <p:cNvPr id="15"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b="0" i="0">
                <a:solidFill>
                  <a:srgbClr val="7F7F7F"/>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9248178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3116C7-3E6E-440B-9574-6BFC83403C7E}"/>
              </a:ext>
            </a:extLst>
          </p:cNvPr>
          <p:cNvGraphicFramePr>
            <a:graphicFrameLocks noChangeAspect="1"/>
          </p:cNvGraphicFramePr>
          <p:nvPr userDrawn="1">
            <p:custDataLst>
              <p:tags r:id="rId1"/>
            </p:custDataLst>
            <p:extLst>
              <p:ext uri="{D42A27DB-BD31-4B8C-83A1-F6EECF244321}">
                <p14:modId xmlns:p14="http://schemas.microsoft.com/office/powerpoint/2010/main" val="702926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B73116C7-3E6E-440B-9574-6BFC83403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75268-9740-4465-83B0-0925B3629E8C}"/>
              </a:ext>
            </a:extLst>
          </p:cNvPr>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1355DFD9-BC7A-4816-98BA-04EBB89076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C83B9B08-5784-47C7-90D0-C644E9224087}"/>
              </a:ext>
            </a:extLst>
          </p:cNvPr>
          <p:cNvSpPr>
            <a:spLocks noGrp="1"/>
          </p:cNvSpPr>
          <p:nvPr>
            <p:ph type="dt" sz="half" idx="10"/>
          </p:nvPr>
        </p:nvSpPr>
        <p:spPr/>
        <p:txBody>
          <a:bodyPr/>
          <a:lstStyle/>
          <a:p>
            <a:fld id="{F03BF3E0-A168-40A1-87ED-5C0066BA3D65}" type="datetimeFigureOut">
              <a:rPr lang="it-IT" smtClean="0"/>
              <a:t>23/09/2023</a:t>
            </a:fld>
            <a:endParaRPr lang="it-IT"/>
          </a:p>
        </p:txBody>
      </p:sp>
      <p:sp>
        <p:nvSpPr>
          <p:cNvPr id="5" name="Footer Placeholder 4">
            <a:extLst>
              <a:ext uri="{FF2B5EF4-FFF2-40B4-BE49-F238E27FC236}">
                <a16:creationId xmlns:a16="http://schemas.microsoft.com/office/drawing/2014/main" id="{50BD67C4-DADC-46DC-B1A4-15BB35AEC020}"/>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D5F01F18-324F-4AA2-A918-0BBEA2C09EF3}"/>
              </a:ext>
            </a:extLst>
          </p:cNvPr>
          <p:cNvSpPr>
            <a:spLocks noGrp="1"/>
          </p:cNvSpPr>
          <p:nvPr>
            <p:ph type="sldNum" sz="quarter" idx="12"/>
          </p:nvPr>
        </p:nvSpPr>
        <p:spPr/>
        <p:txBody>
          <a:bodyPr/>
          <a:lstStyle/>
          <a:p>
            <a:fld id="{6B9DCEFB-EB5A-4D46-91B5-9CA07B7B2BB9}" type="slidenum">
              <a:rPr lang="it-IT" smtClean="0"/>
              <a:t>‹#›</a:t>
            </a:fld>
            <a:endParaRPr lang="it-IT"/>
          </a:p>
        </p:txBody>
      </p:sp>
    </p:spTree>
    <p:extLst>
      <p:ext uri="{BB962C8B-B14F-4D97-AF65-F5344CB8AC3E}">
        <p14:creationId xmlns:p14="http://schemas.microsoft.com/office/powerpoint/2010/main" val="8798112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95" name="Title 1"/>
          <p:cNvSpPr>
            <a:spLocks noGrp="1"/>
          </p:cNvSpPr>
          <p:nvPr>
            <p:ph type="title" hasCustomPrompt="1"/>
          </p:nvPr>
        </p:nvSpPr>
        <p:spPr>
          <a:xfrm>
            <a:off x="576472" y="938463"/>
            <a:ext cx="6773452" cy="1092485"/>
          </a:xfrm>
          <a:prstGeom prst="rect">
            <a:avLst/>
          </a:prstGeom>
        </p:spPr>
        <p:txBody>
          <a:bodyPr anchor="b">
            <a:noAutofit/>
          </a:bodyPr>
          <a:lstStyle>
            <a:lvl1pPr>
              <a:lnSpc>
                <a:spcPts val="6000"/>
              </a:lnSpc>
              <a:defRPr sz="6000" b="0" i="0" baseline="0">
                <a:solidFill>
                  <a:schemeClr val="tx2"/>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576265" y="2277861"/>
            <a:ext cx="6773659" cy="864000"/>
          </a:xfrm>
          <a:prstGeom prst="rect">
            <a:avLst/>
          </a:prstGeom>
        </p:spPr>
        <p:txBody>
          <a:bodyPr>
            <a:noAutofit/>
          </a:bodyPr>
          <a:lstStyle>
            <a:lvl1pPr marL="0" indent="0">
              <a:lnSpc>
                <a:spcPct val="100000"/>
              </a:lnSpc>
              <a:buNone/>
              <a:defRPr sz="2400" b="0" i="0" baseline="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rgbClr val="323232"/>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2" name="Rectangle 1">
            <a:extLst>
              <a:ext uri="{FF2B5EF4-FFF2-40B4-BE49-F238E27FC236}">
                <a16:creationId xmlns:a16="http://schemas.microsoft.com/office/drawing/2014/main" id="{A3CE75AB-AFEF-4EA2-8504-CC34FC5DD38C}"/>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3836581690"/>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03115" y="188913"/>
            <a:ext cx="10917903" cy="718316"/>
          </a:xfrm>
          <a:prstGeom prst="rect">
            <a:avLst/>
          </a:prstGeom>
        </p:spPr>
        <p:txBody>
          <a:bodyPr tIns="0" anchor="b">
            <a:noAutofit/>
          </a:bodyPr>
          <a:lstStyle>
            <a:lvl1pPr>
              <a:lnSpc>
                <a:spcPct val="100000"/>
              </a:lnSpc>
              <a:defRPr sz="4800" b="0" i="0">
                <a:solidFill>
                  <a:schemeClr val="tx2"/>
                </a:solidFill>
                <a:latin typeface="Calibri Light" panose="020F0302020204030204" pitchFamily="34" charset="0"/>
              </a:defRPr>
            </a:lvl1pPr>
          </a:lstStyle>
          <a:p>
            <a:r>
              <a:rPr lang="en-GB" noProof="0"/>
              <a:t>Agenda</a:t>
            </a:r>
          </a:p>
        </p:txBody>
      </p:sp>
      <p:sp>
        <p:nvSpPr>
          <p:cNvPr id="5" name="Marcador de texto 4"/>
          <p:cNvSpPr>
            <a:spLocks noGrp="1"/>
          </p:cNvSpPr>
          <p:nvPr>
            <p:ph type="body" sz="quarter" idx="14" hasCustomPrompt="1"/>
          </p:nvPr>
        </p:nvSpPr>
        <p:spPr>
          <a:xfrm>
            <a:off x="637618" y="1470991"/>
            <a:ext cx="10917902" cy="4613152"/>
          </a:xfrm>
          <a:prstGeom prst="rect">
            <a:avLst/>
          </a:prstGeom>
        </p:spPr>
        <p:txBody>
          <a:bodyPr>
            <a:normAutofit/>
          </a:bodyPr>
          <a:lstStyle>
            <a:lvl1pPr marL="457200" indent="-457200">
              <a:lnSpc>
                <a:spcPct val="100000"/>
              </a:lnSpc>
              <a:buClr>
                <a:schemeClr val="accent2"/>
              </a:buClr>
              <a:buSzPct val="100000"/>
              <a:buFont typeface="+mj-lt"/>
              <a:buAutoNum type="arabicPeriod"/>
              <a:defRPr sz="2800" b="0" i="0" baseline="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29021702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_Agenda I">
    <p:spTree>
      <p:nvGrpSpPr>
        <p:cNvPr id="1" name=""/>
        <p:cNvGrpSpPr/>
        <p:nvPr/>
      </p:nvGrpSpPr>
      <p:grpSpPr>
        <a:xfrm>
          <a:off x="0" y="0"/>
          <a:ext cx="0" cy="0"/>
          <a:chOff x="0" y="0"/>
          <a:chExt cx="0" cy="0"/>
        </a:xfrm>
      </p:grpSpPr>
      <p:sp>
        <p:nvSpPr>
          <p:cNvPr id="7" name="CuadroTexto 1">
            <a:extLst>
              <a:ext uri="{FF2B5EF4-FFF2-40B4-BE49-F238E27FC236}">
                <a16:creationId xmlns:a16="http://schemas.microsoft.com/office/drawing/2014/main" id="{46CA62BE-C043-4B38-AD0C-1734835E95D9}"/>
              </a:ext>
            </a:extLst>
          </p:cNvPr>
          <p:cNvSpPr txBox="1"/>
          <p:nvPr userDrawn="1"/>
        </p:nvSpPr>
        <p:spPr>
          <a:xfrm>
            <a:off x="1444169" y="2988294"/>
            <a:ext cx="2489202" cy="830997"/>
          </a:xfrm>
          <a:prstGeom prst="rect">
            <a:avLst/>
          </a:prstGeom>
          <a:noFill/>
        </p:spPr>
        <p:txBody>
          <a:bodyPr wrap="square" rtlCol="0">
            <a:spAutoFit/>
          </a:bodyPr>
          <a:lstStyle/>
          <a:p>
            <a:r>
              <a:rPr lang="en-US" sz="4800" b="0" i="0">
                <a:latin typeface="Calibri Light" panose="020F0302020204030204" pitchFamily="34" charset="0"/>
              </a:rPr>
              <a:t>Agenda</a:t>
            </a:r>
            <a:endParaRPr lang="es-ES" sz="4000" b="0" i="0">
              <a:latin typeface="Calibri Light" panose="020F0302020204030204" pitchFamily="34" charset="0"/>
            </a:endParaRPr>
          </a:p>
        </p:txBody>
      </p:sp>
    </p:spTree>
    <p:extLst>
      <p:ext uri="{BB962C8B-B14F-4D97-AF65-F5344CB8AC3E}">
        <p14:creationId xmlns:p14="http://schemas.microsoft.com/office/powerpoint/2010/main" val="2843085476"/>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tx2"/>
                </a:solidFill>
                <a:latin typeface="Calibri Light" panose="020F0302020204030204" pitchFamily="34" charset="0"/>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Tree>
    <p:extLst>
      <p:ext uri="{BB962C8B-B14F-4D97-AF65-F5344CB8AC3E}">
        <p14:creationId xmlns:p14="http://schemas.microsoft.com/office/powerpoint/2010/main" val="2366408461"/>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Only 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tx2"/>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549286172"/>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44927824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622570" y="198641"/>
            <a:ext cx="10898448"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2985" y="799079"/>
            <a:ext cx="10898236"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33574480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5531530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ivider ">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3" y="2227939"/>
            <a:ext cx="6031363" cy="1950522"/>
          </a:xfrm>
        </p:spPr>
        <p:txBody>
          <a:bodyPr anchor="t">
            <a:noAutofit/>
          </a:bodyPr>
          <a:lstStyle>
            <a:lvl1pPr>
              <a:lnSpc>
                <a:spcPts val="6000"/>
              </a:lnSpc>
              <a:defRPr sz="6000" b="0" i="0" baseline="0">
                <a:solidFill>
                  <a:schemeClr val="tx2"/>
                </a:solidFill>
                <a:latin typeface="Calibri Light" panose="020F0302020204030204" pitchFamily="34" charset="0"/>
              </a:defRPr>
            </a:lvl1pPr>
          </a:lstStyle>
          <a:p>
            <a:r>
              <a:rPr lang="en-GB" noProof="0"/>
              <a:t>Divider</a:t>
            </a:r>
          </a:p>
        </p:txBody>
      </p:sp>
      <p:sp>
        <p:nvSpPr>
          <p:cNvPr id="22" name="Marcador de texto 3"/>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Tree>
    <p:extLst>
      <p:ext uri="{BB962C8B-B14F-4D97-AF65-F5344CB8AC3E}">
        <p14:creationId xmlns:p14="http://schemas.microsoft.com/office/powerpoint/2010/main" val="133242389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7" name="Title 1"/>
          <p:cNvSpPr>
            <a:spLocks noGrp="1"/>
          </p:cNvSpPr>
          <p:nvPr>
            <p:ph type="title"/>
          </p:nvPr>
        </p:nvSpPr>
        <p:spPr>
          <a:xfrm>
            <a:off x="622570" y="188913"/>
            <a:ext cx="10879414"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53" y="779412"/>
            <a:ext cx="10855628"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74550985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ext + Bullets">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622570" y="1480159"/>
            <a:ext cx="4560866" cy="1349538"/>
          </a:xfrm>
          <a:prstGeom prst="rect">
            <a:avLst/>
          </a:prstGeom>
        </p:spPr>
        <p:txBody>
          <a:bodyPr>
            <a:noAutofit/>
          </a:bodyPr>
          <a:lstStyle>
            <a:lvl1pPr marL="0" indent="0">
              <a:lnSpc>
                <a:spcPts val="1425"/>
              </a:lnSpc>
              <a:buNone/>
              <a:defRPr sz="240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3" name="Title 1"/>
          <p:cNvSpPr>
            <a:spLocks noGrp="1"/>
          </p:cNvSpPr>
          <p:nvPr>
            <p:ph type="title"/>
          </p:nvPr>
        </p:nvSpPr>
        <p:spPr>
          <a:xfrm>
            <a:off x="622570" y="188913"/>
            <a:ext cx="10928053"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20"/>
          </p:nvPr>
        </p:nvSpPr>
        <p:spPr>
          <a:xfrm>
            <a:off x="621860" y="779412"/>
            <a:ext cx="10904161"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900300328"/>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Tree>
    <p:extLst>
      <p:ext uri="{BB962C8B-B14F-4D97-AF65-F5344CB8AC3E}">
        <p14:creationId xmlns:p14="http://schemas.microsoft.com/office/powerpoint/2010/main" val="338023456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tx2"/>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rgbClr val="32323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41102676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43" name="Content Placeholder 5"/>
          <p:cNvSpPr>
            <a:spLocks noGrp="1"/>
          </p:cNvSpPr>
          <p:nvPr>
            <p:ph sz="quarter" idx="4"/>
          </p:nvPr>
        </p:nvSpPr>
        <p:spPr>
          <a:xfrm>
            <a:off x="615375" y="4034980"/>
            <a:ext cx="3630108" cy="2240292"/>
          </a:xfrm>
          <a:prstGeom prst="rect">
            <a:avLst/>
          </a:prstGeom>
        </p:spPr>
        <p:txBody>
          <a:bodyPr anchor="b">
            <a:noAutofit/>
          </a:bodyPr>
          <a:lstStyle>
            <a:lvl1pPr marL="0" indent="0">
              <a:lnSpc>
                <a:spcPct val="100000"/>
              </a:lnSpc>
              <a:spcAft>
                <a:spcPts val="900"/>
              </a:spcAft>
              <a:buNone/>
              <a:defRPr sz="2000" b="0" i="0">
                <a:solidFill>
                  <a:srgbClr val="323232"/>
                </a:solidFill>
                <a:latin typeface="Calibri Light" panose="020F0302020204030204" pitchFamily="34" charset="0"/>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GB" noProof="0"/>
              <a:t>Click to edit Master text styles</a:t>
            </a:r>
          </a:p>
        </p:txBody>
      </p:sp>
      <p:sp>
        <p:nvSpPr>
          <p:cNvPr id="24" name="Title 1"/>
          <p:cNvSpPr>
            <a:spLocks noGrp="1"/>
          </p:cNvSpPr>
          <p:nvPr>
            <p:ph type="title"/>
          </p:nvPr>
        </p:nvSpPr>
        <p:spPr>
          <a:xfrm>
            <a:off x="622570" y="188913"/>
            <a:ext cx="902702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5" name="Text Placeholder 19"/>
          <p:cNvSpPr>
            <a:spLocks noGrp="1"/>
          </p:cNvSpPr>
          <p:nvPr>
            <p:ph type="body" sz="quarter" idx="13"/>
          </p:nvPr>
        </p:nvSpPr>
        <p:spPr>
          <a:xfrm>
            <a:off x="620990" y="787824"/>
            <a:ext cx="4807728" cy="4515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563484612"/>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619099" y="2117672"/>
            <a:ext cx="1017744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619099" y="2854989"/>
            <a:ext cx="10177446"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619112" y="3592306"/>
            <a:ext cx="1017820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619101" y="4322886"/>
            <a:ext cx="10177438" cy="709764"/>
          </a:xfrm>
          <a:prstGeom prst="rect">
            <a:avLst/>
          </a:prstGeom>
        </p:spPr>
        <p:txBody>
          <a:bodyPr anchor="t">
            <a:noAutofit/>
          </a:bodyPr>
          <a:lstStyle>
            <a:lvl1pPr marL="0" indent="0">
              <a:lnSpc>
                <a:spcPct val="100000"/>
              </a:lnSpc>
              <a:spcAft>
                <a:spcPts val="675"/>
              </a:spcAft>
              <a:buNone/>
              <a:defRPr sz="2400" b="0" i="0">
                <a:solidFill>
                  <a:srgbClr val="323232"/>
                </a:solidFill>
                <a:latin typeface="Calibri Light" panose="020F0302020204030204" pitchFamily="34" charset="0"/>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5" name="Title 1"/>
          <p:cNvSpPr>
            <a:spLocks noGrp="1"/>
          </p:cNvSpPr>
          <p:nvPr>
            <p:ph type="title"/>
          </p:nvPr>
        </p:nvSpPr>
        <p:spPr>
          <a:xfrm>
            <a:off x="612843" y="188913"/>
            <a:ext cx="10183704"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7" name="Text Placeholder 19"/>
          <p:cNvSpPr>
            <a:spLocks noGrp="1"/>
          </p:cNvSpPr>
          <p:nvPr>
            <p:ph type="body" sz="quarter" idx="13"/>
          </p:nvPr>
        </p:nvSpPr>
        <p:spPr>
          <a:xfrm>
            <a:off x="621839" y="779414"/>
            <a:ext cx="10161440" cy="37614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32398013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2471623" y="2193938"/>
            <a:ext cx="2931239" cy="447261"/>
          </a:xfrm>
          <a:prstGeom prst="rect">
            <a:avLst/>
          </a:prstGeom>
        </p:spPr>
        <p:txBody>
          <a:bodyPr>
            <a:noAutofit/>
          </a:bodyPr>
          <a:lstStyle>
            <a:lvl1pPr marL="0" indent="0" algn="l">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471414" y="2747699"/>
            <a:ext cx="2931447" cy="1312239"/>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30" hasCustomPrompt="1"/>
          </p:nvPr>
        </p:nvSpPr>
        <p:spPr>
          <a:xfrm>
            <a:off x="2471405" y="4494906"/>
            <a:ext cx="2931448" cy="447261"/>
          </a:xfrm>
          <a:prstGeom prst="rect">
            <a:avLst/>
          </a:prstGeom>
        </p:spPr>
        <p:txBody>
          <a:bodyPr>
            <a:noAutofit/>
          </a:bodyPr>
          <a:lstStyle>
            <a:lvl1pPr marL="0" indent="0" algn="l">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471405" y="5048653"/>
            <a:ext cx="2931448" cy="1260072"/>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5" name="Content Placeholder 2"/>
          <p:cNvSpPr>
            <a:spLocks noGrp="1"/>
          </p:cNvSpPr>
          <p:nvPr>
            <p:ph idx="32" hasCustomPrompt="1"/>
          </p:nvPr>
        </p:nvSpPr>
        <p:spPr>
          <a:xfrm>
            <a:off x="8216705" y="2202357"/>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8216497" y="2747699"/>
            <a:ext cx="2835011" cy="1312239"/>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7" name="Content Placeholder 2"/>
          <p:cNvSpPr>
            <a:spLocks noGrp="1"/>
          </p:cNvSpPr>
          <p:nvPr>
            <p:ph idx="34" hasCustomPrompt="1"/>
          </p:nvPr>
        </p:nvSpPr>
        <p:spPr>
          <a:xfrm>
            <a:off x="8216705" y="4494905"/>
            <a:ext cx="2835011" cy="447261"/>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8216705" y="5048653"/>
            <a:ext cx="2835011" cy="1260072"/>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7" name="Title 1"/>
          <p:cNvSpPr>
            <a:spLocks noGrp="1"/>
          </p:cNvSpPr>
          <p:nvPr>
            <p:ph type="title"/>
          </p:nvPr>
        </p:nvSpPr>
        <p:spPr>
          <a:xfrm>
            <a:off x="622572" y="188913"/>
            <a:ext cx="1093778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1" name="Text Placeholder 19"/>
          <p:cNvSpPr>
            <a:spLocks noGrp="1"/>
          </p:cNvSpPr>
          <p:nvPr>
            <p:ph type="body" sz="quarter" idx="13"/>
          </p:nvPr>
        </p:nvSpPr>
        <p:spPr>
          <a:xfrm>
            <a:off x="621882" y="779413"/>
            <a:ext cx="10913867" cy="42581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02191705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2207676"/>
            <a:ext cx="3713163" cy="998708"/>
          </a:xfrm>
          <a:prstGeom prst="rect">
            <a:avLst/>
          </a:prstGeom>
          <a:solidFill>
            <a:schemeClr val="bg1"/>
          </a:solidFill>
        </p:spPr>
        <p:txBody>
          <a:bodyPr anchor="ctr">
            <a:normAutofit/>
          </a:bodyPr>
          <a:lstStyle>
            <a:lvl1pPr marL="0" indent="0" algn="ctr">
              <a:buNone/>
              <a:defRPr sz="3300" b="0" i="0">
                <a:solidFill>
                  <a:schemeClr val="accent2"/>
                </a:solidFill>
                <a:latin typeface="Calibri Light" panose="020F0302020204030204" pitchFamily="34" charset="0"/>
              </a:defRPr>
            </a:lvl1pPr>
          </a:lstStyle>
          <a:p>
            <a:pPr lvl="0"/>
            <a:r>
              <a:rPr lang="en-GB" noProof="0"/>
              <a:t>Title </a:t>
            </a:r>
          </a:p>
        </p:txBody>
      </p:sp>
      <p:sp>
        <p:nvSpPr>
          <p:cNvPr id="18" name="Content Placeholder 2"/>
          <p:cNvSpPr>
            <a:spLocks noGrp="1"/>
          </p:cNvSpPr>
          <p:nvPr>
            <p:ph idx="24" hasCustomPrompt="1"/>
          </p:nvPr>
        </p:nvSpPr>
        <p:spPr>
          <a:xfrm>
            <a:off x="8422786" y="4175599"/>
            <a:ext cx="2963793"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420531" y="4697061"/>
            <a:ext cx="2994075" cy="1611665"/>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2" name="Content Placeholder 2"/>
          <p:cNvSpPr>
            <a:spLocks noGrp="1"/>
          </p:cNvSpPr>
          <p:nvPr>
            <p:ph idx="26" hasCustomPrompt="1"/>
          </p:nvPr>
        </p:nvSpPr>
        <p:spPr>
          <a:xfrm>
            <a:off x="4459199"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456951"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4" name="Content Placeholder 2"/>
          <p:cNvSpPr>
            <a:spLocks noGrp="1"/>
          </p:cNvSpPr>
          <p:nvPr>
            <p:ph idx="28" hasCustomPrompt="1"/>
          </p:nvPr>
        </p:nvSpPr>
        <p:spPr>
          <a:xfrm>
            <a:off x="622512" y="4228531"/>
            <a:ext cx="2991827" cy="447261"/>
          </a:xfrm>
          <a:prstGeom prst="rect">
            <a:avLst/>
          </a:prstGeom>
        </p:spPr>
        <p:txBody>
          <a:bodyPr anchor="ctr">
            <a:noAutofit/>
          </a:bodyPr>
          <a:lstStyle>
            <a:lvl1pPr marL="0" indent="0" algn="ctr">
              <a:buNone/>
              <a:defRPr sz="20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620264" y="4749993"/>
            <a:ext cx="2994075" cy="1558733"/>
          </a:xfrm>
          <a:prstGeom prst="rect">
            <a:avLst/>
          </a:prstGeom>
        </p:spPr>
        <p:txBody>
          <a:bodyPr>
            <a:noAutofit/>
          </a:bodyPr>
          <a:lstStyle>
            <a:lvl1pPr marL="0" indent="0" algn="ctr">
              <a:lnSpc>
                <a:spcPct val="100000"/>
              </a:lnSpc>
              <a:buNone/>
              <a:defRPr sz="20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6" name="Title 1"/>
          <p:cNvSpPr>
            <a:spLocks noGrp="1"/>
          </p:cNvSpPr>
          <p:nvPr>
            <p:ph type="title"/>
          </p:nvPr>
        </p:nvSpPr>
        <p:spPr>
          <a:xfrm>
            <a:off x="622570" y="188913"/>
            <a:ext cx="1090859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9" name="Text Placeholder 19"/>
          <p:cNvSpPr>
            <a:spLocks noGrp="1"/>
          </p:cNvSpPr>
          <p:nvPr>
            <p:ph type="body" sz="quarter" idx="13"/>
          </p:nvPr>
        </p:nvSpPr>
        <p:spPr>
          <a:xfrm>
            <a:off x="621818" y="779413"/>
            <a:ext cx="10884747" cy="406116"/>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89384377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9" name="Marcador de texto 4"/>
          <p:cNvSpPr>
            <a:spLocks noGrp="1"/>
          </p:cNvSpPr>
          <p:nvPr>
            <p:ph type="body" sz="quarter" idx="36" hasCustomPrompt="1"/>
          </p:nvPr>
        </p:nvSpPr>
        <p:spPr>
          <a:xfrm>
            <a:off x="1307634" y="2847398"/>
            <a:ext cx="1255923"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1</a:t>
            </a:r>
          </a:p>
        </p:txBody>
      </p:sp>
      <p:sp>
        <p:nvSpPr>
          <p:cNvPr id="30" name="Content Placeholder 2"/>
          <p:cNvSpPr>
            <a:spLocks noGrp="1"/>
          </p:cNvSpPr>
          <p:nvPr>
            <p:ph idx="37" hasCustomPrompt="1"/>
          </p:nvPr>
        </p:nvSpPr>
        <p:spPr>
          <a:xfrm>
            <a:off x="3409175"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4117730"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01823"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911748"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026759" y="3788112"/>
            <a:ext cx="2688372" cy="447261"/>
          </a:xfrm>
          <a:prstGeom prst="rect">
            <a:avLst/>
          </a:prstGeom>
        </p:spPr>
        <p:txBody>
          <a:bodyPr anchor="ctr">
            <a:noAutofit/>
          </a:bodyPr>
          <a:lstStyle>
            <a:lvl1pPr marL="0" indent="0" algn="ctr">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4589189"/>
            <a:ext cx="2688564" cy="1412072"/>
          </a:xfrm>
          <a:prstGeom prst="rect">
            <a:avLst/>
          </a:prstGeom>
        </p:spPr>
        <p:txBody>
          <a:bodyPr>
            <a:noAutofit/>
          </a:bodyPr>
          <a:lstStyle>
            <a:lvl1pPr marL="0" indent="0" algn="ctr">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736687" y="2847398"/>
            <a:ext cx="1271279" cy="844926"/>
          </a:xfrm>
          <a:prstGeom prst="rect">
            <a:avLst/>
          </a:prstGeom>
        </p:spPr>
        <p:txBody>
          <a:bodyPr>
            <a:normAutofit/>
          </a:bodyPr>
          <a:lstStyle>
            <a:lvl1pPr marL="0" indent="0" algn="ctr">
              <a:buNone/>
              <a:defRPr sz="4500" b="0" i="0">
                <a:solidFill>
                  <a:schemeClr val="tx2"/>
                </a:solidFill>
                <a:latin typeface="Calibri Light" panose="020F0302020204030204" pitchFamily="34" charset="0"/>
              </a:defRPr>
            </a:lvl1pPr>
          </a:lstStyle>
          <a:p>
            <a:pPr lvl="0"/>
            <a:r>
              <a:rPr lang="en-GB" noProof="0"/>
              <a:t>04</a:t>
            </a:r>
          </a:p>
        </p:txBody>
      </p:sp>
      <p:sp>
        <p:nvSpPr>
          <p:cNvPr id="23" name="Title 1"/>
          <p:cNvSpPr>
            <a:spLocks noGrp="1"/>
          </p:cNvSpPr>
          <p:nvPr>
            <p:ph type="title"/>
          </p:nvPr>
        </p:nvSpPr>
        <p:spPr>
          <a:xfrm>
            <a:off x="622938" y="188913"/>
            <a:ext cx="10937413"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4" name="Text Placeholder 19"/>
          <p:cNvSpPr>
            <a:spLocks noGrp="1"/>
          </p:cNvSpPr>
          <p:nvPr>
            <p:ph type="body" sz="quarter" idx="13"/>
          </p:nvPr>
        </p:nvSpPr>
        <p:spPr>
          <a:xfrm>
            <a:off x="622249" y="779413"/>
            <a:ext cx="10913500" cy="353817"/>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12782967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0" i="0" baseline="0">
                <a:solidFill>
                  <a:schemeClr val="tx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2489780"/>
          </a:xfrm>
          <a:prstGeom prst="rect">
            <a:avLst/>
          </a:prstGeom>
        </p:spPr>
        <p:txBody>
          <a:bodyPr>
            <a:noAutofit/>
          </a:bodyPr>
          <a:lstStyle>
            <a:lvl1pPr marL="0" indent="0" algn="l">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b="0" i="0">
                <a:solidFill>
                  <a:schemeClr val="tx2"/>
                </a:solidFill>
                <a:latin typeface="Calibri Light" panose="020F0302020204030204" pitchFamily="34" charset="0"/>
              </a:defRPr>
            </a:lvl1pPr>
          </a:lstStyle>
          <a:p>
            <a:pPr lvl="0"/>
            <a:r>
              <a:rPr lang="en-GB" noProof="0"/>
              <a:t>04</a:t>
            </a:r>
          </a:p>
        </p:txBody>
      </p:sp>
      <p:sp>
        <p:nvSpPr>
          <p:cNvPr id="25" name="Title 1"/>
          <p:cNvSpPr>
            <a:spLocks noGrp="1"/>
          </p:cNvSpPr>
          <p:nvPr>
            <p:ph type="title"/>
          </p:nvPr>
        </p:nvSpPr>
        <p:spPr>
          <a:xfrm>
            <a:off x="622570" y="188913"/>
            <a:ext cx="10918325"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9" name="Text Placeholder 19"/>
          <p:cNvSpPr>
            <a:spLocks noGrp="1"/>
          </p:cNvSpPr>
          <p:nvPr>
            <p:ph type="body" sz="quarter" idx="13"/>
          </p:nvPr>
        </p:nvSpPr>
        <p:spPr>
          <a:xfrm>
            <a:off x="621839" y="779412"/>
            <a:ext cx="1089445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2983909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latin typeface="Calibri Light" panose="020F030202020403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012916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90A840C-D557-9E4F-A0B3-7E7E4FBFEAB6}"/>
              </a:ext>
            </a:extLst>
          </p:cNvPr>
          <p:cNvSpPr>
            <a:spLocks noGrp="1"/>
          </p:cNvSpPr>
          <p:nvPr>
            <p:ph type="pic" sz="quarter" idx="11" hasCustomPrompt="1"/>
          </p:nvPr>
        </p:nvSpPr>
        <p:spPr>
          <a:xfrm>
            <a:off x="468512" y="-34177"/>
            <a:ext cx="11696986" cy="6858005"/>
          </a:xfrm>
          <a:prstGeom prst="rect">
            <a:avLst/>
          </a:prstGeom>
          <a:solidFill>
            <a:schemeClr val="tx1"/>
          </a:solidFill>
        </p:spPr>
        <p:txBody>
          <a:bodyPr/>
          <a:lstStyle>
            <a:lvl1pPr marL="0" indent="0">
              <a:buNone/>
              <a:defRPr/>
            </a:lvl1pPr>
          </a:lstStyle>
          <a:p>
            <a:r>
              <a:rPr lang="en-DE"/>
              <a:t> </a:t>
            </a:r>
          </a:p>
        </p:txBody>
      </p:sp>
      <p:sp>
        <p:nvSpPr>
          <p:cNvPr id="5" name="Rectangle 4">
            <a:extLst>
              <a:ext uri="{FF2B5EF4-FFF2-40B4-BE49-F238E27FC236}">
                <a16:creationId xmlns:a16="http://schemas.microsoft.com/office/drawing/2014/main" id="{A3A3AE62-4A95-9C45-BD25-C8660A836CC6}"/>
              </a:ext>
            </a:extLst>
          </p:cNvPr>
          <p:cNvSpPr/>
          <p:nvPr userDrawn="1"/>
        </p:nvSpPr>
        <p:spPr>
          <a:xfrm rot="16200000">
            <a:off x="-3181494" y="3181488"/>
            <a:ext cx="6858003" cy="49501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6" name="Group 5">
            <a:extLst>
              <a:ext uri="{FF2B5EF4-FFF2-40B4-BE49-F238E27FC236}">
                <a16:creationId xmlns:a16="http://schemas.microsoft.com/office/drawing/2014/main" id="{0E65CC02-C422-1D4D-A9A6-D758A7048AFE}"/>
              </a:ext>
            </a:extLst>
          </p:cNvPr>
          <p:cNvGrpSpPr/>
          <p:nvPr userDrawn="1"/>
        </p:nvGrpSpPr>
        <p:grpSpPr>
          <a:xfrm rot="16200000">
            <a:off x="-663877" y="1002053"/>
            <a:ext cx="1796264" cy="149227"/>
            <a:chOff x="1856561" y="571293"/>
            <a:chExt cx="1606306" cy="133446"/>
          </a:xfrm>
        </p:grpSpPr>
        <p:pic>
          <p:nvPicPr>
            <p:cNvPr id="7" name="Picture 6">
              <a:extLst>
                <a:ext uri="{FF2B5EF4-FFF2-40B4-BE49-F238E27FC236}">
                  <a16:creationId xmlns:a16="http://schemas.microsoft.com/office/drawing/2014/main" id="{D83CD45F-1CA3-5D4D-B6CB-54424B640B00}"/>
                </a:ext>
              </a:extLst>
            </p:cNvPr>
            <p:cNvPicPr>
              <a:picLocks noChangeAspect="1"/>
            </p:cNvPicPr>
            <p:nvPr/>
          </p:nvPicPr>
          <p:blipFill>
            <a:blip r:embed="rId2"/>
            <a:stretch>
              <a:fillRect/>
            </a:stretch>
          </p:blipFill>
          <p:spPr>
            <a:xfrm>
              <a:off x="1856561" y="571293"/>
              <a:ext cx="729587" cy="133446"/>
            </a:xfrm>
            <a:prstGeom prst="rect">
              <a:avLst/>
            </a:prstGeom>
          </p:spPr>
        </p:pic>
        <p:pic>
          <p:nvPicPr>
            <p:cNvPr id="8" name="Picture 7">
              <a:extLst>
                <a:ext uri="{FF2B5EF4-FFF2-40B4-BE49-F238E27FC236}">
                  <a16:creationId xmlns:a16="http://schemas.microsoft.com/office/drawing/2014/main" id="{F9BCFCA3-667A-6544-B6AD-6C9937AB7401}"/>
                </a:ext>
              </a:extLst>
            </p:cNvPr>
            <p:cNvPicPr>
              <a:picLocks noChangeAspect="1"/>
            </p:cNvPicPr>
            <p:nvPr/>
          </p:nvPicPr>
          <p:blipFill>
            <a:blip r:embed="rId3"/>
            <a:stretch>
              <a:fillRect/>
            </a:stretch>
          </p:blipFill>
          <p:spPr>
            <a:xfrm>
              <a:off x="2790827" y="598644"/>
              <a:ext cx="672040" cy="98870"/>
            </a:xfrm>
            <a:prstGeom prst="rect">
              <a:avLst/>
            </a:prstGeom>
          </p:spPr>
        </p:pic>
        <p:cxnSp>
          <p:nvCxnSpPr>
            <p:cNvPr id="9" name="Straight Connector 8">
              <a:extLst>
                <a:ext uri="{FF2B5EF4-FFF2-40B4-BE49-F238E27FC236}">
                  <a16:creationId xmlns:a16="http://schemas.microsoft.com/office/drawing/2014/main" id="{F053EFFE-D6A9-534D-9E0C-E1EA99B42833}"/>
                </a:ext>
              </a:extLst>
            </p:cNvPr>
            <p:cNvCxnSpPr/>
            <p:nvPr/>
          </p:nvCxnSpPr>
          <p:spPr>
            <a:xfrm>
              <a:off x="2694302" y="596424"/>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 Placeholder 18">
            <a:extLst>
              <a:ext uri="{FF2B5EF4-FFF2-40B4-BE49-F238E27FC236}">
                <a16:creationId xmlns:a16="http://schemas.microsoft.com/office/drawing/2014/main" id="{77A8D188-987A-CB45-83C7-656C6C9EF3AC}"/>
              </a:ext>
            </a:extLst>
          </p:cNvPr>
          <p:cNvSpPr>
            <a:spLocks noGrp="1"/>
          </p:cNvSpPr>
          <p:nvPr>
            <p:ph type="body" sz="quarter" idx="13" hasCustomPrompt="1"/>
          </p:nvPr>
        </p:nvSpPr>
        <p:spPr>
          <a:xfrm>
            <a:off x="681165" y="2427111"/>
            <a:ext cx="6506819" cy="845040"/>
          </a:xfrm>
          <a:prstGeom prst="rect">
            <a:avLst/>
          </a:prstGeom>
        </p:spPr>
        <p:txBody>
          <a:bodyPr anchor="b"/>
          <a:lstStyle>
            <a:lvl1pPr marL="0" indent="0" algn="l">
              <a:buNone/>
              <a:defRPr sz="5400" spc="-150">
                <a:solidFill>
                  <a:schemeClr val="bg1"/>
                </a:solidFill>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The quick</a:t>
            </a:r>
            <a:endParaRPr lang="en-DE"/>
          </a:p>
        </p:txBody>
      </p:sp>
      <p:sp>
        <p:nvSpPr>
          <p:cNvPr id="24" name="Text Placeholder 23">
            <a:extLst>
              <a:ext uri="{FF2B5EF4-FFF2-40B4-BE49-F238E27FC236}">
                <a16:creationId xmlns:a16="http://schemas.microsoft.com/office/drawing/2014/main" id="{CE116B43-E2CF-DF49-8EC5-E273D7D2134D}"/>
              </a:ext>
            </a:extLst>
          </p:cNvPr>
          <p:cNvSpPr>
            <a:spLocks noGrp="1"/>
          </p:cNvSpPr>
          <p:nvPr>
            <p:ph type="body" sz="quarter" idx="14" hasCustomPrompt="1"/>
          </p:nvPr>
        </p:nvSpPr>
        <p:spPr>
          <a:xfrm>
            <a:off x="503097" y="-14488"/>
            <a:ext cx="11696985" cy="2191093"/>
          </a:xfrm>
          <a:prstGeom prst="rect">
            <a:avLst/>
          </a:prstGeom>
          <a:gradFill>
            <a:gsLst>
              <a:gs pos="0">
                <a:schemeClr val="tx1">
                  <a:lumMod val="45000"/>
                  <a:alpha val="43000"/>
                </a:schemeClr>
              </a:gs>
              <a:gs pos="100000">
                <a:schemeClr val="tx1">
                  <a:lumMod val="0"/>
                  <a:alpha val="0"/>
                </a:schemeClr>
              </a:gs>
            </a:gsLst>
            <a:lin ang="5400000" scaled="1"/>
          </a:gradFill>
        </p:spPr>
        <p:txBody>
          <a:bodyPr/>
          <a:lstStyle>
            <a:lvl1pPr marL="0" indent="0">
              <a:buNone/>
              <a:defRPr/>
            </a:lvl1pPr>
          </a:lstStyle>
          <a:p>
            <a:pPr lvl="0"/>
            <a:r>
              <a:rPr lang="en-DE"/>
              <a:t> </a:t>
            </a:r>
          </a:p>
        </p:txBody>
      </p:sp>
      <p:sp>
        <p:nvSpPr>
          <p:cNvPr id="11" name="Text Placeholder 18">
            <a:extLst>
              <a:ext uri="{FF2B5EF4-FFF2-40B4-BE49-F238E27FC236}">
                <a16:creationId xmlns:a16="http://schemas.microsoft.com/office/drawing/2014/main" id="{AA770413-9688-0B43-B47F-F78229611823}"/>
              </a:ext>
            </a:extLst>
          </p:cNvPr>
          <p:cNvSpPr>
            <a:spLocks noGrp="1"/>
          </p:cNvSpPr>
          <p:nvPr>
            <p:ph type="body" sz="quarter" idx="15" hasCustomPrompt="1"/>
          </p:nvPr>
        </p:nvSpPr>
        <p:spPr>
          <a:xfrm>
            <a:off x="1674587" y="3093156"/>
            <a:ext cx="8417679" cy="2046109"/>
          </a:xfrm>
          <a:prstGeom prst="rect">
            <a:avLst/>
          </a:prstGeom>
        </p:spPr>
        <p:txBody>
          <a:bodyPr anchor="b"/>
          <a:lstStyle>
            <a:lvl1pPr marL="0" indent="0" algn="l">
              <a:buNone/>
              <a:defRPr sz="13800" b="1" i="0" spc="-150">
                <a:solidFill>
                  <a:schemeClr val="bg1"/>
                </a:solidFill>
                <a:latin typeface="Gibson SemBd" panose="02000000000000000000" pitchFamily="2" charset="77"/>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brown fox</a:t>
            </a:r>
            <a:endParaRPr lang="en-DE"/>
          </a:p>
        </p:txBody>
      </p:sp>
      <p:sp>
        <p:nvSpPr>
          <p:cNvPr id="12" name="Text Placeholder 18">
            <a:extLst>
              <a:ext uri="{FF2B5EF4-FFF2-40B4-BE49-F238E27FC236}">
                <a16:creationId xmlns:a16="http://schemas.microsoft.com/office/drawing/2014/main" id="{C9DB7E5C-8BF4-7A4C-B8A5-9BC3D7CF1074}"/>
              </a:ext>
            </a:extLst>
          </p:cNvPr>
          <p:cNvSpPr>
            <a:spLocks noGrp="1"/>
          </p:cNvSpPr>
          <p:nvPr>
            <p:ph type="body" sz="quarter" idx="16" hasCustomPrompt="1"/>
          </p:nvPr>
        </p:nvSpPr>
        <p:spPr>
          <a:xfrm>
            <a:off x="4779031" y="5170311"/>
            <a:ext cx="6506819" cy="845040"/>
          </a:xfrm>
          <a:prstGeom prst="rect">
            <a:avLst/>
          </a:prstGeom>
        </p:spPr>
        <p:txBody>
          <a:bodyPr anchor="b"/>
          <a:lstStyle>
            <a:lvl1pPr marL="0" indent="0" algn="l">
              <a:buNone/>
              <a:defRPr sz="5400" spc="-150">
                <a:solidFill>
                  <a:schemeClr val="bg1"/>
                </a:solidFill>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GB"/>
              <a:t>J</a:t>
            </a:r>
            <a:r>
              <a:rPr lang="en-DE"/>
              <a:t>umps over the lazy dog.</a:t>
            </a:r>
          </a:p>
        </p:txBody>
      </p:sp>
    </p:spTree>
    <p:extLst>
      <p:ext uri="{BB962C8B-B14F-4D97-AF65-F5344CB8AC3E}">
        <p14:creationId xmlns:p14="http://schemas.microsoft.com/office/powerpoint/2010/main" val="179750931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7403" y="2291032"/>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1</a:t>
            </a:r>
          </a:p>
        </p:txBody>
      </p:sp>
      <p:sp>
        <p:nvSpPr>
          <p:cNvPr id="24" name="Marcador de texto 4"/>
          <p:cNvSpPr>
            <a:spLocks noGrp="1"/>
          </p:cNvSpPr>
          <p:nvPr>
            <p:ph type="body" sz="quarter" idx="38" hasCustomPrompt="1"/>
          </p:nvPr>
        </p:nvSpPr>
        <p:spPr>
          <a:xfrm>
            <a:off x="627403" y="3380951"/>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7403" y="4459850"/>
            <a:ext cx="956105" cy="663649"/>
          </a:xfrm>
          <a:prstGeom prst="rect">
            <a:avLst/>
          </a:prstGeom>
        </p:spPr>
        <p:txBody>
          <a:bodyPr>
            <a:noAutofit/>
          </a:bodyPr>
          <a:lstStyle>
            <a:lvl1pPr marL="0" indent="0" algn="ctr">
              <a:buNone/>
              <a:defRPr sz="4500" b="0" i="0">
                <a:solidFill>
                  <a:schemeClr val="tx1"/>
                </a:solidFill>
                <a:latin typeface="Calibri Light" panose="020F0302020204030204" pitchFamily="34" charset="0"/>
              </a:defRPr>
            </a:lvl1pPr>
          </a:lstStyle>
          <a:p>
            <a:pPr lvl="0"/>
            <a:r>
              <a:rPr lang="en-GB" noProof="0"/>
              <a:t>0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b="0" i="0">
                <a:solidFill>
                  <a:srgbClr val="323232"/>
                </a:solidFill>
                <a:latin typeface="Calibri Light" panose="020F0302020204030204"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15" name="Title 1"/>
          <p:cNvSpPr>
            <a:spLocks noGrp="1"/>
          </p:cNvSpPr>
          <p:nvPr>
            <p:ph type="title"/>
          </p:nvPr>
        </p:nvSpPr>
        <p:spPr>
          <a:xfrm>
            <a:off x="627403" y="188913"/>
            <a:ext cx="10893250"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7403" y="779412"/>
            <a:ext cx="108694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965112652"/>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400" b="0" i="0" baseline="0">
                <a:solidFill>
                  <a:schemeClr val="accent2"/>
                </a:solidFill>
                <a:latin typeface="Calibri Light" panose="020F0302020204030204" pitchFamily="34" charset="0"/>
              </a:defRPr>
            </a:lvl1pPr>
          </a:lstStyle>
          <a:p>
            <a:pPr lvl="0"/>
            <a:r>
              <a:rPr lang="en-GB" noProof="0"/>
              <a:t>Title here</a:t>
            </a:r>
          </a:p>
        </p:txBody>
      </p:sp>
      <p:sp>
        <p:nvSpPr>
          <p:cNvPr id="19" name="Marcador de texto 33"/>
          <p:cNvSpPr>
            <a:spLocks noGrp="1"/>
          </p:cNvSpPr>
          <p:nvPr>
            <p:ph type="body" sz="quarter" idx="16" hasCustomPrompt="1"/>
          </p:nvPr>
        </p:nvSpPr>
        <p:spPr>
          <a:xfrm>
            <a:off x="625121" y="4420860"/>
            <a:ext cx="2942647" cy="431800"/>
          </a:xfrm>
          <a:prstGeom prst="rect">
            <a:avLst/>
          </a:prstGeom>
        </p:spPr>
        <p:txBody>
          <a:bodyPr>
            <a:noAutofit/>
          </a:bodyPr>
          <a:lstStyle>
            <a:lvl1pPr marL="0" indent="0">
              <a:buNone/>
              <a:defRPr sz="2800" b="0" i="0" baseline="0">
                <a:solidFill>
                  <a:schemeClr val="accent2"/>
                </a:solidFill>
                <a:latin typeface="Calibri Light" panose="020F0302020204030204" pitchFamily="34" charset="0"/>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3200" b="0" i="0" baseline="0">
                <a:solidFill>
                  <a:schemeClr val="accent2"/>
                </a:solidFill>
                <a:latin typeface="Calibri Light" panose="020F0302020204030204" pitchFamily="34" charset="0"/>
              </a:defRPr>
            </a:lvl1pPr>
          </a:lstStyle>
          <a:p>
            <a:pPr lvl="0"/>
            <a:r>
              <a:rPr lang="en-GB" noProof="0"/>
              <a:t>Highlight here</a:t>
            </a:r>
          </a:p>
        </p:txBody>
      </p:sp>
      <p:sp>
        <p:nvSpPr>
          <p:cNvPr id="22" name="Marcador de texto 2"/>
          <p:cNvSpPr>
            <a:spLocks noGrp="1"/>
          </p:cNvSpPr>
          <p:nvPr>
            <p:ph type="body" sz="quarter" idx="18" hasCustomPrompt="1"/>
          </p:nvPr>
        </p:nvSpPr>
        <p:spPr>
          <a:xfrm>
            <a:off x="625121" y="4875698"/>
            <a:ext cx="2929143" cy="1307738"/>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538163" indent="-139700">
              <a:lnSpc>
                <a:spcPct val="100000"/>
              </a:lnSpc>
              <a:defRPr sz="2400" b="0" i="0">
                <a:solidFill>
                  <a:srgbClr val="323232"/>
                </a:solidFill>
                <a:latin typeface="Calibri Light" panose="020F0302020204030204" pitchFamily="34" charset="0"/>
              </a:defRPr>
            </a:lvl2pPr>
            <a:lvl3pPr marL="985838" indent="-138113">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400" b="0" i="0">
                <a:solidFill>
                  <a:srgbClr val="323232"/>
                </a:solidFill>
                <a:latin typeface="Calibri Light" panose="020F0302020204030204" pitchFamily="34" charset="0"/>
              </a:defRPr>
            </a:lvl2pPr>
            <a:lvl3pPr marL="1076325" indent="-161925">
              <a:lnSpc>
                <a:spcPct val="100000"/>
              </a:lnSpc>
              <a:defRPr sz="2400" b="0" i="0">
                <a:solidFill>
                  <a:srgbClr val="323232"/>
                </a:solidFill>
                <a:latin typeface="Calibri Light" panose="020F0302020204030204" pitchFamily="34" charset="0"/>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400" b="0" i="0">
                <a:solidFill>
                  <a:srgbClr val="323232"/>
                </a:solidFill>
                <a:latin typeface="Calibri Light" panose="020F0302020204030204" pitchFamily="34" charset="0"/>
              </a:defRPr>
            </a:lvl1pPr>
            <a:lvl2pPr marL="627063" indent="-169863">
              <a:lnSpc>
                <a:spcPct val="100000"/>
              </a:lnSpc>
              <a:defRPr sz="2000" b="0" i="0">
                <a:solidFill>
                  <a:srgbClr val="323232"/>
                </a:solidFill>
                <a:latin typeface="Calibri Light" panose="020F0302020204030204" pitchFamily="34" charset="0"/>
              </a:defRPr>
            </a:lvl2pPr>
            <a:lvl3pPr marL="1076325" indent="-228600">
              <a:lnSpc>
                <a:spcPct val="100000"/>
              </a:lnSpc>
              <a:defRPr sz="1600" b="0" i="0">
                <a:solidFill>
                  <a:srgbClr val="323232"/>
                </a:solidFill>
                <a:latin typeface="Calibri Light" panose="020F0302020204030204" pitchFamily="34" charset="0"/>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14" name="Title 1"/>
          <p:cNvSpPr>
            <a:spLocks noGrp="1"/>
          </p:cNvSpPr>
          <p:nvPr>
            <p:ph type="title"/>
          </p:nvPr>
        </p:nvSpPr>
        <p:spPr>
          <a:xfrm>
            <a:off x="625120" y="188913"/>
            <a:ext cx="10944959"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4447" y="779412"/>
            <a:ext cx="10921030"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15134406"/>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b="0" i="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29"/>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0" i="0" baseline="0">
                <a:solidFill>
                  <a:schemeClr val="accent2"/>
                </a:solidFill>
                <a:latin typeface="Calibri Light" panose="020F0302020204030204" pitchFamily="34" charset="0"/>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7"/>
            <a:ext cx="2047703" cy="1976596"/>
          </a:xfrm>
          <a:prstGeom prst="rect">
            <a:avLst/>
          </a:prstGeom>
        </p:spPr>
        <p:txBody>
          <a:bodyPr>
            <a:noAutofit/>
          </a:bodyPr>
          <a:lstStyle>
            <a:lvl1pPr marL="0" indent="0">
              <a:lnSpc>
                <a:spcPct val="100000"/>
              </a:lnSpc>
              <a:buNone/>
              <a:defRPr sz="2400" b="0" i="0">
                <a:solidFill>
                  <a:srgbClr val="323232"/>
                </a:solidFill>
                <a:latin typeface="Calibri Light" panose="020F0302020204030204" pitchFamily="34" charset="0"/>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Click to edit Master text styles</a:t>
            </a:r>
          </a:p>
        </p:txBody>
      </p:sp>
      <p:sp>
        <p:nvSpPr>
          <p:cNvPr id="19" name="Title 1"/>
          <p:cNvSpPr>
            <a:spLocks noGrp="1"/>
          </p:cNvSpPr>
          <p:nvPr>
            <p:ph type="title"/>
          </p:nvPr>
        </p:nvSpPr>
        <p:spPr>
          <a:xfrm>
            <a:off x="622572" y="188913"/>
            <a:ext cx="10600057" cy="590501"/>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20" name="Text Placeholder 19"/>
          <p:cNvSpPr>
            <a:spLocks noGrp="1"/>
          </p:cNvSpPr>
          <p:nvPr>
            <p:ph type="body" sz="quarter" idx="13"/>
          </p:nvPr>
        </p:nvSpPr>
        <p:spPr>
          <a:xfrm>
            <a:off x="621882" y="779412"/>
            <a:ext cx="10576883"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3631130204"/>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b="0" i="0">
              <a:latin typeface="Calibri Light" panose="020F0302020204030204" pitchFamily="34" charset="0"/>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tx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7" name="Title 1">
            <a:extLst>
              <a:ext uri="{FF2B5EF4-FFF2-40B4-BE49-F238E27FC236}">
                <a16:creationId xmlns:a16="http://schemas.microsoft.com/office/drawing/2014/main" id="{E697ED9A-0659-49E4-BB5C-CF4EFC0BFD84}"/>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tx1"/>
                </a:solidFill>
                <a:latin typeface="Calibri Light" panose="020F0302020204030204" pitchFamily="34" charset="0"/>
                <a:cs typeface="72 Black" panose="020B0A04030603020204" pitchFamily="34" charset="0"/>
              </a:defRPr>
            </a:lvl1pPr>
          </a:lstStyle>
          <a:p>
            <a:r>
              <a:rPr lang="en-GB" noProof="0"/>
              <a:t>Thanks!</a:t>
            </a:r>
          </a:p>
        </p:txBody>
      </p:sp>
      <p:sp>
        <p:nvSpPr>
          <p:cNvPr id="16" name="Rectangle 15">
            <a:extLst>
              <a:ext uri="{FF2B5EF4-FFF2-40B4-BE49-F238E27FC236}">
                <a16:creationId xmlns:a16="http://schemas.microsoft.com/office/drawing/2014/main" id="{F010D3F0-BB51-4FD7-81A0-57DCAAEA13AD}"/>
              </a:ext>
            </a:extLst>
          </p:cNvPr>
          <p:cNvSpPr/>
          <p:nvPr userDrawn="1"/>
        </p:nvSpPr>
        <p:spPr>
          <a:xfrm>
            <a:off x="97277" y="6542742"/>
            <a:ext cx="330740" cy="2860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Tree>
    <p:extLst>
      <p:ext uri="{BB962C8B-B14F-4D97-AF65-F5344CB8AC3E}">
        <p14:creationId xmlns:p14="http://schemas.microsoft.com/office/powerpoint/2010/main" val="4110784843"/>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ver blu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4" name="Title 1"/>
          <p:cNvSpPr>
            <a:spLocks noGrp="1"/>
          </p:cNvSpPr>
          <p:nvPr>
            <p:ph type="title" hasCustomPrompt="1"/>
          </p:nvPr>
        </p:nvSpPr>
        <p:spPr>
          <a:xfrm>
            <a:off x="6807837" y="2016688"/>
            <a:ext cx="4601584" cy="1325563"/>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15" name="Text Placeholder 19"/>
          <p:cNvSpPr>
            <a:spLocks noGrp="1"/>
          </p:cNvSpPr>
          <p:nvPr>
            <p:ph type="body" sz="quarter" idx="13" hasCustomPrompt="1"/>
          </p:nvPr>
        </p:nvSpPr>
        <p:spPr>
          <a:xfrm>
            <a:off x="6807261" y="3555310"/>
            <a:ext cx="4602163" cy="978910"/>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3CD77402-1D8B-4D24-B9AC-58C09C72AFC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491726D4-2FB5-4D17-BC26-A8D05A9DF958}"/>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C64DF928-C585-49D1-A423-0AED70B06394}"/>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63115B28-2539-486B-A968-DA21BAA6176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93856108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ver blue I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2235201" y="1801092"/>
            <a:ext cx="7467796" cy="1913318"/>
          </a:xfrm>
          <a:prstGeom prst="rect">
            <a:avLst/>
          </a:prstGeom>
        </p:spPr>
        <p:txBody>
          <a:bodyPr anchor="b">
            <a:norm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6" name="CuadroTexto 10">
            <a:extLst>
              <a:ext uri="{FF2B5EF4-FFF2-40B4-BE49-F238E27FC236}">
                <a16:creationId xmlns:a16="http://schemas.microsoft.com/office/drawing/2014/main" id="{B70BD604-575B-42A7-A0F0-4C9B8FCDE4BD}"/>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8" name="Freeform 5">
            <a:extLst>
              <a:ext uri="{FF2B5EF4-FFF2-40B4-BE49-F238E27FC236}">
                <a16:creationId xmlns:a16="http://schemas.microsoft.com/office/drawing/2014/main" id="{574B07EB-BC85-4341-B882-7ADA0F4E9B5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Rectangle 8">
            <a:extLst>
              <a:ext uri="{FF2B5EF4-FFF2-40B4-BE49-F238E27FC236}">
                <a16:creationId xmlns:a16="http://schemas.microsoft.com/office/drawing/2014/main" id="{0E2754DC-7063-4A31-AF3F-3A06F92DE4BC}"/>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0" name="Title Placeholder 1">
            <a:extLst>
              <a:ext uri="{FF2B5EF4-FFF2-40B4-BE49-F238E27FC236}">
                <a16:creationId xmlns:a16="http://schemas.microsoft.com/office/drawing/2014/main" id="{2038F8C7-89F5-4E59-9C95-CFF71DA1E2EB}"/>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25368727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07DEA65-7AFE-422A-B37B-C161F206AF44}"/>
              </a:ext>
            </a:extLst>
          </p:cNvPr>
          <p:cNvSpPr>
            <a:spLocks noGrp="1"/>
          </p:cNvSpPr>
          <p:nvPr>
            <p:ph type="title" hasCustomPrompt="1"/>
          </p:nvPr>
        </p:nvSpPr>
        <p:spPr>
          <a:xfrm>
            <a:off x="576473" y="2227939"/>
            <a:ext cx="6031363" cy="1950522"/>
          </a:xfrm>
          <a:prstGeom prst="rect">
            <a:avLst/>
          </a:prstGeom>
        </p:spPr>
        <p:txBody>
          <a:bodyPr anchor="t">
            <a:noAutofit/>
          </a:bodyPr>
          <a:lstStyle>
            <a:lvl1pPr>
              <a:lnSpc>
                <a:spcPts val="6000"/>
              </a:lnSpc>
              <a:defRPr sz="6000" b="0" i="0" baseline="0">
                <a:solidFill>
                  <a:schemeClr val="bg2"/>
                </a:solidFill>
                <a:latin typeface="Calibri Light" panose="020F0302020204030204" pitchFamily="34" charset="0"/>
              </a:defRPr>
            </a:lvl1pPr>
          </a:lstStyle>
          <a:p>
            <a:r>
              <a:rPr lang="en-GB" noProof="0"/>
              <a:t>Divider</a:t>
            </a:r>
          </a:p>
        </p:txBody>
      </p:sp>
      <p:sp>
        <p:nvSpPr>
          <p:cNvPr id="4" name="Marcador de texto 3">
            <a:extLst>
              <a:ext uri="{FF2B5EF4-FFF2-40B4-BE49-F238E27FC236}">
                <a16:creationId xmlns:a16="http://schemas.microsoft.com/office/drawing/2014/main" id="{8D07D753-0762-4F94-9B64-E0F407942833}"/>
              </a:ext>
            </a:extLst>
          </p:cNvPr>
          <p:cNvSpPr>
            <a:spLocks noGrp="1"/>
          </p:cNvSpPr>
          <p:nvPr>
            <p:ph type="body" sz="quarter" idx="15" hasCustomPrompt="1"/>
          </p:nvPr>
        </p:nvSpPr>
        <p:spPr>
          <a:xfrm>
            <a:off x="576263" y="727984"/>
            <a:ext cx="1382712" cy="1309160"/>
          </a:xfrm>
          <a:prstGeom prst="rect">
            <a:avLst/>
          </a:prstGeom>
        </p:spPr>
        <p:txBody>
          <a:bodyPr>
            <a:noAutofit/>
          </a:bodyPr>
          <a:lstStyle>
            <a:lvl1pPr marL="0" indent="0">
              <a:lnSpc>
                <a:spcPct val="100000"/>
              </a:lnSpc>
              <a:buNone/>
              <a:defRPr sz="9600" b="0" i="0">
                <a:solidFill>
                  <a:schemeClr val="accent3"/>
                </a:solidFill>
                <a:latin typeface="Calibri Light" panose="020F0302020204030204" pitchFamily="34" charset="0"/>
              </a:defRPr>
            </a:lvl1pPr>
          </a:lstStyle>
          <a:p>
            <a:pPr lvl="0"/>
            <a:r>
              <a:rPr lang="en-GB" noProof="0"/>
              <a:t>1.</a:t>
            </a:r>
          </a:p>
        </p:txBody>
      </p:sp>
      <p:sp>
        <p:nvSpPr>
          <p:cNvPr id="5" name="CuadroTexto 10">
            <a:extLst>
              <a:ext uri="{FF2B5EF4-FFF2-40B4-BE49-F238E27FC236}">
                <a16:creationId xmlns:a16="http://schemas.microsoft.com/office/drawing/2014/main" id="{B7EBE7C3-D00C-4073-B46F-5E3DC4E4D917}"/>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36A390C1-AAA9-4C50-82E8-2EEA474B0BEB}"/>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0" name="Rectangle 9">
            <a:extLst>
              <a:ext uri="{FF2B5EF4-FFF2-40B4-BE49-F238E27FC236}">
                <a16:creationId xmlns:a16="http://schemas.microsoft.com/office/drawing/2014/main" id="{FE149D31-20F1-49BD-968C-5B918B13D7BB}"/>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8" name="Title Placeholder 1">
            <a:extLst>
              <a:ext uri="{FF2B5EF4-FFF2-40B4-BE49-F238E27FC236}">
                <a16:creationId xmlns:a16="http://schemas.microsoft.com/office/drawing/2014/main" id="{5BA04D31-CA07-4CBD-B716-AFE2C43B2CC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235285581"/>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Only title and sub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22576" y="188913"/>
            <a:ext cx="10908597" cy="590501"/>
          </a:xfrm>
          <a:prstGeom prst="rect">
            <a:avLst/>
          </a:prstGeom>
        </p:spPr>
        <p:txBody>
          <a:bodyPr anchor="t">
            <a:noAutofit/>
          </a:bodyPr>
          <a:lstStyle>
            <a:lvl1pPr>
              <a:defRPr sz="4800" b="0" i="0">
                <a:solidFill>
                  <a:schemeClr val="bg1"/>
                </a:solidFill>
                <a:latin typeface="Calibri Light" panose="020F0302020204030204" pitchFamily="34" charset="0"/>
              </a:defRPr>
            </a:lvl1pPr>
          </a:lstStyle>
          <a:p>
            <a:r>
              <a:rPr lang="en-GB" noProof="0"/>
              <a:t>Click to edit Master title style</a:t>
            </a:r>
          </a:p>
        </p:txBody>
      </p:sp>
      <p:sp>
        <p:nvSpPr>
          <p:cNvPr id="10" name="Text Placeholder 19"/>
          <p:cNvSpPr>
            <a:spLocks noGrp="1"/>
          </p:cNvSpPr>
          <p:nvPr>
            <p:ph type="body" sz="quarter" idx="13"/>
          </p:nvPr>
        </p:nvSpPr>
        <p:spPr>
          <a:xfrm>
            <a:off x="621824" y="795425"/>
            <a:ext cx="10884747" cy="468000"/>
          </a:xfrm>
          <a:prstGeom prst="rect">
            <a:avLst/>
          </a:prstGeom>
        </p:spPr>
        <p:txBody>
          <a:bodyPr>
            <a:noAutofit/>
          </a:bodyPr>
          <a:lstStyle>
            <a:lvl1pPr marL="0" indent="0">
              <a:lnSpc>
                <a:spcPct val="100000"/>
              </a:lnSpc>
              <a:buNone/>
              <a:defRPr sz="2400" b="0" i="0">
                <a:solidFill>
                  <a:schemeClr val="accent3"/>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3C87E0A6-1059-4218-A64B-28A129C44D03}"/>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3CC17AF5-E76C-4559-B749-924D696639A4}"/>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2D3C73B5-94A6-4942-8968-42C287007868}"/>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28362299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Only titl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758B4-A988-46D3-8D13-CEA00AAAAFF4}"/>
              </a:ext>
            </a:extLst>
          </p:cNvPr>
          <p:cNvSpPr>
            <a:spLocks noGrp="1"/>
          </p:cNvSpPr>
          <p:nvPr>
            <p:ph type="title"/>
          </p:nvPr>
        </p:nvSpPr>
        <p:spPr>
          <a:xfrm>
            <a:off x="623741" y="188913"/>
            <a:ext cx="11252793" cy="582052"/>
          </a:xfrm>
          <a:prstGeom prst="rect">
            <a:avLst/>
          </a:prstGeom>
        </p:spPr>
        <p:txBody>
          <a:bodyPr/>
          <a:lstStyle>
            <a:lvl1pPr>
              <a:defRPr b="0" i="0">
                <a:solidFill>
                  <a:schemeClr val="bg1"/>
                </a:solidFill>
                <a:latin typeface="Calibri Light" panose="020F0302020204030204" pitchFamily="34" charset="0"/>
              </a:defRPr>
            </a:lvl1pPr>
          </a:lstStyle>
          <a:p>
            <a:r>
              <a:rPr lang="en-GB"/>
              <a:t>Click to edit Master title style</a:t>
            </a:r>
            <a:endParaRPr lang="en-US"/>
          </a:p>
        </p:txBody>
      </p:sp>
      <p:sp>
        <p:nvSpPr>
          <p:cNvPr id="3" name="CuadroTexto 10">
            <a:extLst>
              <a:ext uri="{FF2B5EF4-FFF2-40B4-BE49-F238E27FC236}">
                <a16:creationId xmlns:a16="http://schemas.microsoft.com/office/drawing/2014/main" id="{6D752194-312E-47AC-9722-C409CD52BE6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6" name="Freeform 5">
            <a:extLst>
              <a:ext uri="{FF2B5EF4-FFF2-40B4-BE49-F238E27FC236}">
                <a16:creationId xmlns:a16="http://schemas.microsoft.com/office/drawing/2014/main" id="{08DDA232-D2BF-4C20-95E7-C3EDF7F007B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Title Placeholder 1">
            <a:extLst>
              <a:ext uri="{FF2B5EF4-FFF2-40B4-BE49-F238E27FC236}">
                <a16:creationId xmlns:a16="http://schemas.microsoft.com/office/drawing/2014/main" id="{DBE0268A-29F6-4D08-A0C3-C08AAAB15D3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224302006"/>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Quote I">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135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4" name="CuadroTexto 10">
            <a:extLst>
              <a:ext uri="{FF2B5EF4-FFF2-40B4-BE49-F238E27FC236}">
                <a16:creationId xmlns:a16="http://schemas.microsoft.com/office/drawing/2014/main" id="{E2D4E830-7B4E-4540-AC6D-A0A67B010508}"/>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7" name="Freeform 5">
            <a:extLst>
              <a:ext uri="{FF2B5EF4-FFF2-40B4-BE49-F238E27FC236}">
                <a16:creationId xmlns:a16="http://schemas.microsoft.com/office/drawing/2014/main" id="{5F1611E6-5CAE-4418-A639-570A1F89B7E9}"/>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8" name="Title Placeholder 1">
            <a:extLst>
              <a:ext uri="{FF2B5EF4-FFF2-40B4-BE49-F238E27FC236}">
                <a16:creationId xmlns:a16="http://schemas.microsoft.com/office/drawing/2014/main" id="{800C79F7-BB96-4AF9-ADBA-12C1D69FDB09}"/>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1445560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32" name="Content Placeholder 47">
            <a:extLst>
              <a:ext uri="{FF2B5EF4-FFF2-40B4-BE49-F238E27FC236}">
                <a16:creationId xmlns:a16="http://schemas.microsoft.com/office/drawing/2014/main" id="{74E5F6F2-482B-604C-ADCB-947DF73DB667}"/>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pic>
        <p:nvPicPr>
          <p:cNvPr id="18" name="Picture 17">
            <a:extLst>
              <a:ext uri="{FF2B5EF4-FFF2-40B4-BE49-F238E27FC236}">
                <a16:creationId xmlns:a16="http://schemas.microsoft.com/office/drawing/2014/main" id="{B4C02D0F-C2A5-F84C-94BC-84A3544C78D8}"/>
              </a:ext>
            </a:extLst>
          </p:cNvPr>
          <p:cNvPicPr>
            <a:picLocks noChangeAspect="1"/>
          </p:cNvPicPr>
          <p:nvPr userDrawn="1"/>
        </p:nvPicPr>
        <p:blipFill>
          <a:blip r:embed="rId3"/>
          <a:stretch>
            <a:fillRect/>
          </a:stretch>
        </p:blipFill>
        <p:spPr>
          <a:xfrm>
            <a:off x="312933" y="93977"/>
            <a:ext cx="345445" cy="345445"/>
          </a:xfrm>
          <a:prstGeom prst="ellipse">
            <a:avLst/>
          </a:prstGeom>
          <a:ln w="12700">
            <a:solidFill>
              <a:schemeClr val="bg2"/>
            </a:solidFill>
          </a:ln>
        </p:spPr>
      </p:pic>
    </p:spTree>
    <p:extLst>
      <p:ext uri="{BB962C8B-B14F-4D97-AF65-F5344CB8AC3E}">
        <p14:creationId xmlns:p14="http://schemas.microsoft.com/office/powerpoint/2010/main" val="1527951239"/>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hank you slide_blue">
    <p:bg>
      <p:bgPr>
        <a:gradFill>
          <a:gsLst>
            <a:gs pos="0">
              <a:schemeClr val="accent1"/>
            </a:gs>
            <a:gs pos="100000">
              <a:schemeClr val="accent2"/>
            </a:gs>
          </a:gsLst>
          <a:lin ang="5400000" scaled="1"/>
        </a:gradFill>
        <a:effectLst/>
      </p:bgPr>
    </p:bg>
    <p:spTree>
      <p:nvGrpSpPr>
        <p:cNvPr id="1" name=""/>
        <p:cNvGrpSpPr/>
        <p:nvPr/>
      </p:nvGrpSpPr>
      <p:grpSpPr>
        <a:xfrm>
          <a:off x="0" y="0"/>
          <a:ext cx="0" cy="0"/>
          <a:chOff x="0" y="0"/>
          <a:chExt cx="0" cy="0"/>
        </a:xfrm>
      </p:grpSpPr>
      <p:cxnSp>
        <p:nvCxnSpPr>
          <p:cNvPr id="3" name="Straight Connector 11">
            <a:extLst>
              <a:ext uri="{FF2B5EF4-FFF2-40B4-BE49-F238E27FC236}">
                <a16:creationId xmlns:a16="http://schemas.microsoft.com/office/drawing/2014/main" id="{10531CDB-A57E-4A60-AB8B-074D0FF3A082}"/>
              </a:ext>
            </a:extLst>
          </p:cNvPr>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3">
            <a:extLst>
              <a:ext uri="{FF2B5EF4-FFF2-40B4-BE49-F238E27FC236}">
                <a16:creationId xmlns:a16="http://schemas.microsoft.com/office/drawing/2014/main" id="{256453E9-AD24-4897-B4DA-C517291560AD}"/>
              </a:ext>
            </a:extLst>
          </p:cNvPr>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 name="Text Placeholder 23">
            <a:extLst>
              <a:ext uri="{FF2B5EF4-FFF2-40B4-BE49-F238E27FC236}">
                <a16:creationId xmlns:a16="http://schemas.microsoft.com/office/drawing/2014/main" id="{05159A74-272B-48E9-B8E6-54D3612E4934}"/>
              </a:ext>
            </a:extLst>
          </p:cNvPr>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6" name="Text Placeholder 23">
            <a:extLst>
              <a:ext uri="{FF2B5EF4-FFF2-40B4-BE49-F238E27FC236}">
                <a16:creationId xmlns:a16="http://schemas.microsoft.com/office/drawing/2014/main" id="{5A23AD91-9A0F-4979-BAC4-4B8BD8891662}"/>
              </a:ext>
            </a:extLst>
          </p:cNvPr>
          <p:cNvSpPr>
            <a:spLocks noGrp="1"/>
          </p:cNvSpPr>
          <p:nvPr>
            <p:ph type="body" sz="quarter" idx="38" hasCustomPrompt="1"/>
          </p:nvPr>
        </p:nvSpPr>
        <p:spPr>
          <a:xfrm>
            <a:off x="551598" y="6323083"/>
            <a:ext cx="1602490"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7" name="Freeform 5">
            <a:extLst>
              <a:ext uri="{FF2B5EF4-FFF2-40B4-BE49-F238E27FC236}">
                <a16:creationId xmlns:a16="http://schemas.microsoft.com/office/drawing/2014/main" id="{55D3A50A-B8C0-42CF-8A64-674E4C176C3D}"/>
              </a:ext>
            </a:extLst>
          </p:cNvPr>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solidFill>
                <a:schemeClr val="bg1"/>
              </a:solidFill>
              <a:latin typeface="Calibri Light" panose="020F0302020204030204" pitchFamily="34" charset="0"/>
            </a:endParaRPr>
          </a:p>
        </p:txBody>
      </p:sp>
      <p:sp>
        <p:nvSpPr>
          <p:cNvPr id="8" name="Freeform 5">
            <a:extLst>
              <a:ext uri="{FF2B5EF4-FFF2-40B4-BE49-F238E27FC236}">
                <a16:creationId xmlns:a16="http://schemas.microsoft.com/office/drawing/2014/main" id="{DB4235E6-6A60-45EA-9015-C26BE4DB265C}"/>
              </a:ext>
            </a:extLst>
          </p:cNvPr>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9" name="Freeform 6">
            <a:extLst>
              <a:ext uri="{FF2B5EF4-FFF2-40B4-BE49-F238E27FC236}">
                <a16:creationId xmlns:a16="http://schemas.microsoft.com/office/drawing/2014/main" id="{521AAC2B-CA63-4AAC-B67C-BF4DAC8C91C0}"/>
              </a:ext>
            </a:extLst>
          </p:cNvPr>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0" name="Freeform 7">
            <a:extLst>
              <a:ext uri="{FF2B5EF4-FFF2-40B4-BE49-F238E27FC236}">
                <a16:creationId xmlns:a16="http://schemas.microsoft.com/office/drawing/2014/main" id="{2CE07255-A310-4A25-8FFC-E4062F315F3C}"/>
              </a:ext>
            </a:extLst>
          </p:cNvPr>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1" name="Freeform 8">
            <a:extLst>
              <a:ext uri="{FF2B5EF4-FFF2-40B4-BE49-F238E27FC236}">
                <a16:creationId xmlns:a16="http://schemas.microsoft.com/office/drawing/2014/main" id="{BACD246D-E6B7-4909-ADE6-F22FBCB02C4E}"/>
              </a:ext>
            </a:extLst>
          </p:cNvPr>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2" name="Freeform 9">
            <a:extLst>
              <a:ext uri="{FF2B5EF4-FFF2-40B4-BE49-F238E27FC236}">
                <a16:creationId xmlns:a16="http://schemas.microsoft.com/office/drawing/2014/main" id="{AB314623-6564-4964-BF06-C27B4BDEDB30}"/>
              </a:ext>
            </a:extLst>
          </p:cNvPr>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3" name="Freeform 10">
            <a:extLst>
              <a:ext uri="{FF2B5EF4-FFF2-40B4-BE49-F238E27FC236}">
                <a16:creationId xmlns:a16="http://schemas.microsoft.com/office/drawing/2014/main" id="{B6629996-F98B-476F-8CE4-5948F8123F9C}"/>
              </a:ext>
            </a:extLst>
          </p:cNvPr>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4" name="Freeform 11">
            <a:extLst>
              <a:ext uri="{FF2B5EF4-FFF2-40B4-BE49-F238E27FC236}">
                <a16:creationId xmlns:a16="http://schemas.microsoft.com/office/drawing/2014/main" id="{5DDD7AD1-F563-43C5-8CED-8DCAAEDA1F31}"/>
              </a:ext>
            </a:extLst>
          </p:cNvPr>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a:solidFill>
                <a:schemeClr val="bg1"/>
              </a:solidFill>
              <a:latin typeface="Calibri Light" panose="020F0302020204030204" pitchFamily="34" charset="0"/>
            </a:endParaRPr>
          </a:p>
        </p:txBody>
      </p:sp>
      <p:sp>
        <p:nvSpPr>
          <p:cNvPr id="15" name="Title 1">
            <a:extLst>
              <a:ext uri="{FF2B5EF4-FFF2-40B4-BE49-F238E27FC236}">
                <a16:creationId xmlns:a16="http://schemas.microsoft.com/office/drawing/2014/main" id="{C8CB2EF8-59E0-4FD0-AD43-66E1D3554102}"/>
              </a:ext>
            </a:extLst>
          </p:cNvPr>
          <p:cNvSpPr>
            <a:spLocks noGrp="1"/>
          </p:cNvSpPr>
          <p:nvPr>
            <p:ph type="title" hasCustomPrompt="1"/>
          </p:nvPr>
        </p:nvSpPr>
        <p:spPr>
          <a:xfrm>
            <a:off x="539067" y="2839916"/>
            <a:ext cx="4051441" cy="1178168"/>
          </a:xfrm>
          <a:prstGeom prst="rect">
            <a:avLst/>
          </a:prstGeom>
        </p:spPr>
        <p:txBody>
          <a:bodyPr anchor="t"/>
          <a:lstStyle>
            <a:lvl1pPr>
              <a:lnSpc>
                <a:spcPts val="6000"/>
              </a:lnSpc>
              <a:defRPr sz="6000" b="0" i="0" baseline="0">
                <a:solidFill>
                  <a:schemeClr val="bg1"/>
                </a:solidFill>
                <a:latin typeface="Calibri Light" panose="020F0302020204030204" pitchFamily="34" charset="0"/>
                <a:cs typeface="72 Black" panose="020B0A04030603020204" pitchFamily="34" charset="0"/>
              </a:defRPr>
            </a:lvl1pPr>
          </a:lstStyle>
          <a:p>
            <a:r>
              <a:rPr lang="en-GB" noProof="0"/>
              <a:t>Thanks!</a:t>
            </a:r>
          </a:p>
        </p:txBody>
      </p:sp>
      <p:sp>
        <p:nvSpPr>
          <p:cNvPr id="16" name="CuadroTexto 10">
            <a:extLst>
              <a:ext uri="{FF2B5EF4-FFF2-40B4-BE49-F238E27FC236}">
                <a16:creationId xmlns:a16="http://schemas.microsoft.com/office/drawing/2014/main" id="{E9A79284-5DD4-47DA-B9EE-016C9EC88A8A}"/>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18" name="Freeform 5">
            <a:extLst>
              <a:ext uri="{FF2B5EF4-FFF2-40B4-BE49-F238E27FC236}">
                <a16:creationId xmlns:a16="http://schemas.microsoft.com/office/drawing/2014/main" id="{87CD2232-1DA9-4A1D-9AE6-3DC16992A0B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2" name="Rectangle 1">
            <a:extLst>
              <a:ext uri="{FF2B5EF4-FFF2-40B4-BE49-F238E27FC236}">
                <a16:creationId xmlns:a16="http://schemas.microsoft.com/office/drawing/2014/main" id="{36511371-2A21-46F7-B813-809B6AE872C9}"/>
              </a:ext>
            </a:extLst>
          </p:cNvPr>
          <p:cNvSpPr/>
          <p:nvPr userDrawn="1"/>
        </p:nvSpPr>
        <p:spPr>
          <a:xfrm>
            <a:off x="162970" y="6518623"/>
            <a:ext cx="242224" cy="226801"/>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Light" panose="020F0302020204030204" pitchFamily="34" charset="0"/>
            </a:endParaRPr>
          </a:p>
        </p:txBody>
      </p:sp>
      <p:sp>
        <p:nvSpPr>
          <p:cNvPr id="19" name="Title Placeholder 1">
            <a:extLst>
              <a:ext uri="{FF2B5EF4-FFF2-40B4-BE49-F238E27FC236}">
                <a16:creationId xmlns:a16="http://schemas.microsoft.com/office/drawing/2014/main" id="{C7F95009-36DC-442D-863D-2990E18CA36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09910637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over with photo background 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41266" y="-1574"/>
            <a:ext cx="12233266" cy="6858000"/>
          </a:xfrm>
          <a:prstGeom prst="rect">
            <a:avLst/>
          </a:prstGeom>
          <a:solidFill>
            <a:schemeClr val="accent3"/>
          </a:solidFill>
        </p:spPr>
        <p:txBody>
          <a:bodyPr anchor="ctr">
            <a:normAutofit/>
          </a:bodyPr>
          <a:lstStyle>
            <a:lvl1pPr marL="0" indent="0" algn="l">
              <a:buNone/>
              <a:defRPr sz="1800" b="0" i="0" baseline="0">
                <a:latin typeface="Calibri Light" panose="020F0302020204030204" pitchFamily="34" charset="0"/>
              </a:defRPr>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609144" y="2458245"/>
            <a:ext cx="4902559" cy="1727779"/>
          </a:xfrm>
          <a:prstGeom prst="rect">
            <a:avLst/>
          </a:prstGeom>
        </p:spPr>
        <p:txBody>
          <a:bodyPr anchor="b">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32" name="Text Placeholder 19"/>
          <p:cNvSpPr>
            <a:spLocks noGrp="1"/>
          </p:cNvSpPr>
          <p:nvPr>
            <p:ph type="body" sz="quarter" idx="13" hasCustomPrompt="1"/>
          </p:nvPr>
        </p:nvSpPr>
        <p:spPr>
          <a:xfrm>
            <a:off x="6609138" y="4373324"/>
            <a:ext cx="4902559" cy="498992"/>
          </a:xfrm>
          <a:prstGeom prst="rect">
            <a:avLst/>
          </a:prstGeom>
        </p:spPr>
        <p:txBody>
          <a:bodyPr>
            <a:noAutofit/>
          </a:bodyPr>
          <a:lstStyle>
            <a:lvl1pPr marL="0" indent="0" algn="r">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C35669CB-04DA-4670-81EB-D22FEFFF435D}"/>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27129356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ver with photo background ll">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0" y="-1588"/>
            <a:ext cx="12237396"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76472" y="2407534"/>
            <a:ext cx="4601584" cy="1440800"/>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Add your title here</a:t>
            </a:r>
          </a:p>
        </p:txBody>
      </p:sp>
      <p:sp>
        <p:nvSpPr>
          <p:cNvPr id="96" name="Text Placeholder 19"/>
          <p:cNvSpPr>
            <a:spLocks noGrp="1"/>
          </p:cNvSpPr>
          <p:nvPr>
            <p:ph type="body" sz="quarter" idx="13"/>
          </p:nvPr>
        </p:nvSpPr>
        <p:spPr>
          <a:xfrm>
            <a:off x="576265" y="4005062"/>
            <a:ext cx="4602163" cy="498992"/>
          </a:xfrm>
          <a:prstGeom prst="rect">
            <a:avLst/>
          </a:prstGeom>
        </p:spPr>
        <p:txBody>
          <a:bodyPr>
            <a:noAutofit/>
          </a:bodyPr>
          <a:lstStyle>
            <a:lvl1pPr marL="0" indent="0">
              <a:lnSpc>
                <a:spcPct val="100000"/>
              </a:lnSpc>
              <a:buNone/>
              <a:defRPr sz="1800" b="0" i="0" baseline="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0" i="0" baseline="0">
                <a:solidFill>
                  <a:schemeClr val="bg1"/>
                </a:solidFill>
                <a:latin typeface="Calibri Light" panose="020F0302020204030204" pitchFamily="34" charset="0"/>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Title Placeholder 1">
            <a:extLst>
              <a:ext uri="{FF2B5EF4-FFF2-40B4-BE49-F238E27FC236}">
                <a16:creationId xmlns:a16="http://schemas.microsoft.com/office/drawing/2014/main" id="{DB219172-E453-4AE8-8FEE-AB0783FF288E}"/>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20789054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48B3BB-6E44-44E1-9366-4688186028E2}"/>
              </a:ext>
              <a:ext uri="{C183D7F6-B498-43B3-948B-1728B52AA6E4}">
                <adec:decorative xmlns:adec="http://schemas.microsoft.com/office/drawing/2017/decorative" val="1"/>
              </a:ext>
            </a:extLst>
          </p:cNvPr>
          <p:cNvSpPr>
            <a:spLocks noGrp="1"/>
          </p:cNvSpPr>
          <p:nvPr>
            <p:ph type="pic" sz="quarter" idx="10"/>
          </p:nvPr>
        </p:nvSpPr>
        <p:spPr>
          <a:xfrm>
            <a:off x="0" y="0"/>
            <a:ext cx="60960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7" name="CuadroTexto 12">
            <a:extLst>
              <a:ext uri="{FF2B5EF4-FFF2-40B4-BE49-F238E27FC236}">
                <a16:creationId xmlns:a16="http://schemas.microsoft.com/office/drawing/2014/main" id="{76899117-F298-4203-BE83-DC068E0AFA25}"/>
              </a:ext>
            </a:extLst>
          </p:cNvPr>
          <p:cNvSpPr txBox="1"/>
          <p:nvPr userDrawn="1"/>
        </p:nvSpPr>
        <p:spPr>
          <a:xfrm>
            <a:off x="6796984" y="990320"/>
            <a:ext cx="4530772" cy="830997"/>
          </a:xfrm>
          <a:prstGeom prst="rect">
            <a:avLst/>
          </a:prstGeom>
          <a:noFill/>
        </p:spPr>
        <p:txBody>
          <a:bodyPr wrap="square" rtlCol="0">
            <a:spAutoFit/>
          </a:bodyPr>
          <a:lstStyle/>
          <a:p>
            <a:pPr algn="r"/>
            <a:r>
              <a:rPr lang="en-US" sz="4800" b="0" i="0">
                <a:latin typeface="Calibri Light" panose="020F0302020204030204" pitchFamily="34" charset="0"/>
              </a:rPr>
              <a:t>Agenda</a:t>
            </a:r>
            <a:endParaRPr lang="es-ES" sz="4400" b="0" i="0">
              <a:latin typeface="Calibri Light" panose="020F0302020204030204" pitchFamily="34" charset="0"/>
            </a:endParaRPr>
          </a:p>
        </p:txBody>
      </p:sp>
      <p:sp>
        <p:nvSpPr>
          <p:cNvPr id="8" name="CuadroTexto 10">
            <a:extLst>
              <a:ext uri="{FF2B5EF4-FFF2-40B4-BE49-F238E27FC236}">
                <a16:creationId xmlns:a16="http://schemas.microsoft.com/office/drawing/2014/main" id="{A7C44F9A-6D7E-41F9-891E-82EF6D6E3561}"/>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DE69E27C-D7C8-4DAC-9DAF-7664AA3B673F}"/>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63623078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0"/>
            <a:ext cx="1221794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AE47041D-D3CB-45D5-8FC5-C3615D686D5D}"/>
              </a:ext>
            </a:extLst>
          </p:cNvPr>
          <p:cNvSpPr>
            <a:spLocks noGrp="1"/>
          </p:cNvSpPr>
          <p:nvPr>
            <p:ph type="title" hasCustomPrompt="1"/>
          </p:nvPr>
        </p:nvSpPr>
        <p:spPr>
          <a:xfrm>
            <a:off x="554345" y="3537099"/>
            <a:ext cx="6031363" cy="195052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B06444F1-9310-409F-97B3-F6B7A13E2408}"/>
              </a:ext>
            </a:extLst>
          </p:cNvPr>
          <p:cNvSpPr>
            <a:spLocks noGrp="1"/>
          </p:cNvSpPr>
          <p:nvPr>
            <p:ph type="body" sz="quarter" idx="15" hasCustomPrompt="1"/>
          </p:nvPr>
        </p:nvSpPr>
        <p:spPr>
          <a:xfrm>
            <a:off x="554134" y="2037144"/>
            <a:ext cx="1679779" cy="1309160"/>
          </a:xfrm>
          <a:prstGeom prst="rect">
            <a:avLst/>
          </a:prstGeom>
        </p:spPr>
        <p:txBody>
          <a:bodyPr>
            <a:noAutofit/>
          </a:bodyPr>
          <a:lstStyle>
            <a:lvl1pPr marL="0" indent="0">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A3F6526D-CB08-4F6C-A136-1F255261D295}"/>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96104847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_Divider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C81ACA0-1B7A-40E4-81ED-3D0711EABB82}"/>
              </a:ext>
              <a:ext uri="{C183D7F6-B498-43B3-948B-1728B52AA6E4}">
                <adec:decorative xmlns:adec="http://schemas.microsoft.com/office/drawing/2017/decorative" val="1"/>
              </a:ext>
            </a:extLst>
          </p:cNvPr>
          <p:cNvSpPr>
            <a:spLocks noGrp="1"/>
          </p:cNvSpPr>
          <p:nvPr>
            <p:ph type="pic" sz="quarter" idx="16"/>
          </p:nvPr>
        </p:nvSpPr>
        <p:spPr>
          <a:xfrm>
            <a:off x="0" y="-99060"/>
            <a:ext cx="12192000" cy="695706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b="0" i="0" noProof="0">
              <a:latin typeface="Calibri Light" panose="020F0302020204030204" pitchFamily="34" charset="0"/>
            </a:endParaRPr>
          </a:p>
        </p:txBody>
      </p:sp>
      <p:sp>
        <p:nvSpPr>
          <p:cNvPr id="10" name="Title 1">
            <a:extLst>
              <a:ext uri="{FF2B5EF4-FFF2-40B4-BE49-F238E27FC236}">
                <a16:creationId xmlns:a16="http://schemas.microsoft.com/office/drawing/2014/main" id="{9F9E9224-24D8-4DCF-9C33-2E58B219C3F2}"/>
              </a:ext>
            </a:extLst>
          </p:cNvPr>
          <p:cNvSpPr>
            <a:spLocks noGrp="1"/>
          </p:cNvSpPr>
          <p:nvPr>
            <p:ph type="title" hasCustomPrompt="1"/>
          </p:nvPr>
        </p:nvSpPr>
        <p:spPr>
          <a:xfrm>
            <a:off x="5635638" y="3537099"/>
            <a:ext cx="6031363" cy="1950522"/>
          </a:xfrm>
          <a:prstGeom prst="rect">
            <a:avLst/>
          </a:prstGeom>
        </p:spPr>
        <p:txBody>
          <a:bodyPr anchor="t">
            <a:noAutofit/>
          </a:bodyPr>
          <a:lstStyle>
            <a:lvl1pPr algn="r">
              <a:lnSpc>
                <a:spcPts val="6000"/>
              </a:lnSpc>
              <a:defRPr sz="6000" b="0" i="0" baseline="0">
                <a:solidFill>
                  <a:schemeClr val="bg1"/>
                </a:solidFill>
                <a:latin typeface="Calibri Light" panose="020F0302020204030204" pitchFamily="34" charset="0"/>
              </a:defRPr>
            </a:lvl1pPr>
          </a:lstStyle>
          <a:p>
            <a:r>
              <a:rPr lang="en-GB" noProof="0"/>
              <a:t>Divider</a:t>
            </a:r>
          </a:p>
        </p:txBody>
      </p:sp>
      <p:sp>
        <p:nvSpPr>
          <p:cNvPr id="11" name="Marcador de texto 3">
            <a:extLst>
              <a:ext uri="{FF2B5EF4-FFF2-40B4-BE49-F238E27FC236}">
                <a16:creationId xmlns:a16="http://schemas.microsoft.com/office/drawing/2014/main" id="{8E0541BB-1CF6-4451-A262-B98E85231DF4}"/>
              </a:ext>
            </a:extLst>
          </p:cNvPr>
          <p:cNvSpPr>
            <a:spLocks noGrp="1"/>
          </p:cNvSpPr>
          <p:nvPr>
            <p:ph type="body" sz="quarter" idx="15" hasCustomPrompt="1"/>
          </p:nvPr>
        </p:nvSpPr>
        <p:spPr>
          <a:xfrm>
            <a:off x="10000527" y="2037144"/>
            <a:ext cx="1666474" cy="1309160"/>
          </a:xfrm>
          <a:prstGeom prst="rect">
            <a:avLst/>
          </a:prstGeom>
        </p:spPr>
        <p:txBody>
          <a:bodyPr>
            <a:noAutofit/>
          </a:bodyPr>
          <a:lstStyle>
            <a:lvl1pPr marL="0" indent="0" algn="r">
              <a:lnSpc>
                <a:spcPct val="100000"/>
              </a:lnSpc>
              <a:buNone/>
              <a:defRPr sz="9600" b="0" i="0">
                <a:solidFill>
                  <a:schemeClr val="bg1"/>
                </a:solidFill>
                <a:latin typeface="Calibri Light" panose="020F0302020204030204" pitchFamily="34" charset="0"/>
              </a:defRPr>
            </a:lvl1pPr>
          </a:lstStyle>
          <a:p>
            <a:pPr lvl="0"/>
            <a:r>
              <a:rPr lang="en-GB" noProof="0"/>
              <a:t>01</a:t>
            </a:r>
          </a:p>
        </p:txBody>
      </p:sp>
      <p:sp>
        <p:nvSpPr>
          <p:cNvPr id="12" name="Title Placeholder 1">
            <a:extLst>
              <a:ext uri="{FF2B5EF4-FFF2-40B4-BE49-F238E27FC236}">
                <a16:creationId xmlns:a16="http://schemas.microsoft.com/office/drawing/2014/main" id="{4BB64B33-DD78-4377-8FF2-3DF3DF87D61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16449688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Text and two photos">
    <p:spTree>
      <p:nvGrpSpPr>
        <p:cNvPr id="1" name=""/>
        <p:cNvGrpSpPr/>
        <p:nvPr/>
      </p:nvGrpSpPr>
      <p:grpSpPr>
        <a:xfrm>
          <a:off x="0" y="0"/>
          <a:ext cx="0" cy="0"/>
          <a:chOff x="0" y="0"/>
          <a:chExt cx="0" cy="0"/>
        </a:xfrm>
      </p:grpSpPr>
      <p:sp>
        <p:nvSpPr>
          <p:cNvPr id="12" name="Picture Placeholder 2">
            <a:extLst>
              <a:ext uri="{C183D7F6-B498-43B3-948B-1728B52AA6E4}">
                <adec:decorative xmlns:adec="http://schemas.microsoft.com/office/drawing/2017/decorative" val="1"/>
              </a:ext>
            </a:extLst>
          </p:cNvPr>
          <p:cNvSpPr>
            <a:spLocks noGrp="1"/>
          </p:cNvSpPr>
          <p:nvPr>
            <p:ph type="pic" sz="quarter" idx="15" hasCustomPrompt="1"/>
          </p:nvPr>
        </p:nvSpPr>
        <p:spPr>
          <a:xfrm>
            <a:off x="6050347" y="3548744"/>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6106866"/>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22" name="Picture Placeholder 2">
            <a:extLst>
              <a:ext uri="{C183D7F6-B498-43B3-948B-1728B52AA6E4}">
                <adec:decorative xmlns:adec="http://schemas.microsoft.com/office/drawing/2017/decorative" val="1"/>
              </a:ext>
            </a:extLst>
          </p:cNvPr>
          <p:cNvSpPr>
            <a:spLocks noGrp="1"/>
          </p:cNvSpPr>
          <p:nvPr>
            <p:ph type="pic" sz="quarter" idx="20" hasCustomPrompt="1"/>
          </p:nvPr>
        </p:nvSpPr>
        <p:spPr>
          <a:xfrm>
            <a:off x="6050084" y="564189"/>
            <a:ext cx="5717597" cy="25422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b="0" i="0">
                <a:latin typeface="Calibri Light" panose="020F0302020204030204" pitchFamily="34" charset="0"/>
              </a:defRPr>
            </a:lvl1pPr>
          </a:lstStyle>
          <a:p>
            <a:br>
              <a:rPr lang="en-GB" noProof="0"/>
            </a:br>
            <a:br>
              <a:rPr lang="en-GB" noProof="0"/>
            </a:br>
            <a:br>
              <a:rPr lang="en-GB" noProof="0"/>
            </a:br>
            <a:br>
              <a:rPr lang="en-GB" noProof="0"/>
            </a:br>
            <a:r>
              <a:rPr lang="en-GB" noProof="0"/>
              <a:t>Insert your picture here</a:t>
            </a:r>
          </a:p>
        </p:txBody>
      </p:sp>
      <p:sp>
        <p:nvSpPr>
          <p:cNvPr id="16" name="Title 1"/>
          <p:cNvSpPr>
            <a:spLocks noGrp="1"/>
          </p:cNvSpPr>
          <p:nvPr>
            <p:ph type="title"/>
          </p:nvPr>
        </p:nvSpPr>
        <p:spPr>
          <a:xfrm>
            <a:off x="622570" y="188913"/>
            <a:ext cx="5274264" cy="1535715"/>
          </a:xfrm>
          <a:prstGeom prst="rect">
            <a:avLst/>
          </a:prstGeom>
        </p:spPr>
        <p:txBody>
          <a:bodyPr anchor="t">
            <a:noAutofit/>
          </a:bodyPr>
          <a:lstStyle>
            <a:lvl1pPr>
              <a:defRPr lang="en-US" sz="4800" b="0" i="0" kern="1200" noProof="0" dirty="0" smtClean="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95" y="1832714"/>
            <a:ext cx="5262734"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11" name="Marcador de texto 2"/>
          <p:cNvSpPr>
            <a:spLocks noGrp="1"/>
          </p:cNvSpPr>
          <p:nvPr>
            <p:ph type="body" sz="quarter" idx="19" hasCustomPrompt="1"/>
          </p:nvPr>
        </p:nvSpPr>
        <p:spPr>
          <a:xfrm>
            <a:off x="614001" y="2511706"/>
            <a:ext cx="5146720" cy="3789649"/>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143850"/>
            <a:ext cx="5717599" cy="201873"/>
          </a:xfrm>
          <a:prstGeom prst="rect">
            <a:avLst/>
          </a:prstGeom>
        </p:spPr>
        <p:txBody>
          <a:bodyPr>
            <a:noAutofit/>
          </a:bodyPr>
          <a:lstStyle>
            <a:lvl1pPr marL="0" indent="0">
              <a:buNone/>
              <a:defRPr sz="1200" b="0" i="0" baseline="0">
                <a:solidFill>
                  <a:srgbClr val="323232"/>
                </a:solidFill>
                <a:latin typeface="Calibri Light" panose="020F0302020204030204" pitchFamily="34" charset="0"/>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GB" noProof="0"/>
              <a:t>Click to edit Master text styles</a:t>
            </a:r>
          </a:p>
        </p:txBody>
      </p:sp>
      <p:sp>
        <p:nvSpPr>
          <p:cNvPr id="9" name="Title Placeholder 1">
            <a:extLst>
              <a:ext uri="{FF2B5EF4-FFF2-40B4-BE49-F238E27FC236}">
                <a16:creationId xmlns:a16="http://schemas.microsoft.com/office/drawing/2014/main" id="{AF6C4D8C-B518-490C-AD2B-FAB309AF376A}"/>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tx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98585873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80068"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hasCustomPrompt="1"/>
          </p:nvPr>
        </p:nvSpPr>
        <p:spPr>
          <a:xfrm>
            <a:off x="622570" y="899886"/>
            <a:ext cx="10684166" cy="4267200"/>
          </a:xfrm>
          <a:prstGeom prst="rect">
            <a:avLst/>
          </a:prstGeom>
        </p:spPr>
        <p:txBody>
          <a:bodyPr anchor="b">
            <a:normAutofit/>
          </a:bodyPr>
          <a:lstStyle>
            <a:lvl1pPr>
              <a:lnSpc>
                <a:spcPts val="5000"/>
              </a:lnSpc>
              <a:defRPr lang="en-GB" sz="4800" b="0" i="0" kern="1200" noProof="0" dirty="0">
                <a:solidFill>
                  <a:schemeClr val="bg1"/>
                </a:solidFill>
                <a:latin typeface="Calibri Light" panose="020F0302020204030204" pitchFamily="34" charset="0"/>
                <a:ea typeface="+mj-ea"/>
                <a:cs typeface="+mj-cs"/>
              </a:defRPr>
            </a:lvl1pPr>
          </a:lstStyle>
          <a:p>
            <a:r>
              <a:rPr lang="en-GB" noProof="0"/>
              <a:t>“Click to insert your quote”</a:t>
            </a:r>
          </a:p>
        </p:txBody>
      </p:sp>
      <p:sp>
        <p:nvSpPr>
          <p:cNvPr id="6" name="Text Placeholder 19"/>
          <p:cNvSpPr>
            <a:spLocks noGrp="1"/>
          </p:cNvSpPr>
          <p:nvPr>
            <p:ph type="body" sz="quarter" idx="13"/>
          </p:nvPr>
        </p:nvSpPr>
        <p:spPr>
          <a:xfrm>
            <a:off x="622570" y="5240908"/>
            <a:ext cx="4263250" cy="498992"/>
          </a:xfrm>
          <a:prstGeom prst="rect">
            <a:avLst/>
          </a:prstGeom>
        </p:spPr>
        <p:txBody>
          <a:bodyPr>
            <a:noAutofit/>
          </a:bodyPr>
          <a:lstStyle>
            <a:lvl1pPr marL="0" indent="0">
              <a:lnSpc>
                <a:spcPts val="1425"/>
              </a:lnSpc>
              <a:buNone/>
              <a:defRPr sz="2400" b="0" i="0">
                <a:solidFill>
                  <a:schemeClr val="bg1"/>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1" name="CuadroTexto 10">
            <a:extLst>
              <a:ext uri="{FF2B5EF4-FFF2-40B4-BE49-F238E27FC236}">
                <a16:creationId xmlns:a16="http://schemas.microsoft.com/office/drawing/2014/main" id="{1A69431B-D0BB-43C1-A8DE-A9DA59AC719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52030FC9-F6AE-45BE-BA62-A3BD75989390}"/>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956227012"/>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Photo and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3D27CE-EE74-4A10-B22E-DEF851609FE6}"/>
              </a:ext>
              <a:ext uri="{C183D7F6-B498-43B3-948B-1728B52AA6E4}">
                <adec:decorative xmlns:adec="http://schemas.microsoft.com/office/drawing/2017/decorative" val="1"/>
              </a:ext>
            </a:extLst>
          </p:cNvPr>
          <p:cNvSpPr>
            <a:spLocks noGrp="1"/>
          </p:cNvSpPr>
          <p:nvPr>
            <p:ph type="pic" sz="quarter" idx="14"/>
          </p:nvPr>
        </p:nvSpPr>
        <p:spPr>
          <a:xfrm>
            <a:off x="-152400" y="0"/>
            <a:ext cx="12344400" cy="6858000"/>
          </a:xfrm>
          <a:prstGeom prst="rect">
            <a:avLst/>
          </a:prstGeom>
          <a:solidFill>
            <a:schemeClr val="accent3"/>
          </a:solidFill>
        </p:spPr>
        <p:txBody>
          <a:bodyPr/>
          <a:lstStyle>
            <a:lvl1pPr>
              <a:defRPr b="0" i="0">
                <a:latin typeface="Calibri Light" panose="020F0302020204030204" pitchFamily="34" charset="0"/>
              </a:defRPr>
            </a:lvl1pPr>
          </a:lstStyle>
          <a:p>
            <a:r>
              <a:rPr lang="en-GB"/>
              <a:t>Click icon to add picture</a:t>
            </a:r>
            <a:endParaRPr lang="en-US"/>
          </a:p>
        </p:txBody>
      </p:sp>
      <p:sp>
        <p:nvSpPr>
          <p:cNvPr id="10" name="Title 1"/>
          <p:cNvSpPr>
            <a:spLocks noGrp="1"/>
          </p:cNvSpPr>
          <p:nvPr>
            <p:ph type="title"/>
          </p:nvPr>
        </p:nvSpPr>
        <p:spPr>
          <a:xfrm>
            <a:off x="287338" y="3053017"/>
            <a:ext cx="11460377" cy="886766"/>
          </a:xfrm>
          <a:prstGeom prst="rect">
            <a:avLst/>
          </a:prstGeom>
        </p:spPr>
        <p:txBody>
          <a:bodyPr anchor="b">
            <a:normAutofit/>
          </a:bodyPr>
          <a:lstStyle>
            <a:lvl1pPr algn="ctr">
              <a:lnSpc>
                <a:spcPts val="5000"/>
              </a:lnSpc>
              <a:defRPr lang="en-GB" sz="6000" b="0" i="0" kern="1200" noProof="0" dirty="0">
                <a:solidFill>
                  <a:schemeClr val="bg1"/>
                </a:solidFill>
                <a:latin typeface="Calibri Light" panose="020F0302020204030204" pitchFamily="34" charset="0"/>
                <a:ea typeface="+mj-ea"/>
                <a:cs typeface="+mj-cs"/>
              </a:defRPr>
            </a:lvl1pPr>
          </a:lstStyle>
          <a:p>
            <a:r>
              <a:rPr lang="en-GB" noProof="0"/>
              <a:t>Click to edit Master title style</a:t>
            </a:r>
          </a:p>
        </p:txBody>
      </p:sp>
      <p:sp>
        <p:nvSpPr>
          <p:cNvPr id="8" name="Freeform 5">
            <a:extLst>
              <a:ext uri="{FF2B5EF4-FFF2-40B4-BE49-F238E27FC236}">
                <a16:creationId xmlns:a16="http://schemas.microsoft.com/office/drawing/2014/main" id="{4DB71DE8-BE24-438E-A080-8A0DB306E607}"/>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7" name="CuadroTexto 10">
            <a:extLst>
              <a:ext uri="{FF2B5EF4-FFF2-40B4-BE49-F238E27FC236}">
                <a16:creationId xmlns:a16="http://schemas.microsoft.com/office/drawing/2014/main" id="{39B65EE4-2E96-4607-B95A-64913F0F302F}"/>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solidFill>
                <a:latin typeface="Calibri Light" panose="020F0302020204030204" pitchFamily="34" charset="0"/>
                <a:cs typeface="Arial" panose="020B0604020202020204" pitchFamily="34" charset="0"/>
              </a:rPr>
              <a:pPr/>
              <a:t>‹#›</a:t>
            </a:fld>
            <a:endParaRPr lang="en-GB" sz="1000" b="0" i="0" noProof="0">
              <a:solidFill>
                <a:schemeClr val="bg1"/>
              </a:solidFill>
              <a:latin typeface="Calibri Light" panose="020F030202020403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48B1AB5C-37F7-460B-B5A3-5EDB7DFA9942}"/>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414403140"/>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hank you slide with picture">
    <p:spTree>
      <p:nvGrpSpPr>
        <p:cNvPr id="1" name=""/>
        <p:cNvGrpSpPr/>
        <p:nvPr/>
      </p:nvGrpSpPr>
      <p:grpSpPr>
        <a:xfrm>
          <a:off x="0" y="0"/>
          <a:ext cx="0" cy="0"/>
          <a:chOff x="0" y="0"/>
          <a:chExt cx="0" cy="0"/>
        </a:xfrm>
      </p:grpSpPr>
      <p:sp>
        <p:nvSpPr>
          <p:cNvPr id="61" name="Picture Placeholder 6">
            <a:extLst>
              <a:ext uri="{C183D7F6-B498-43B3-948B-1728B52AA6E4}">
                <adec:decorative xmlns:adec="http://schemas.microsoft.com/office/drawing/2017/decorative" val="1"/>
              </a:ext>
            </a:extLst>
          </p:cNvPr>
          <p:cNvSpPr>
            <a:spLocks noGrp="1"/>
          </p:cNvSpPr>
          <p:nvPr>
            <p:ph type="pic" sz="quarter" idx="12" hasCustomPrompt="1"/>
          </p:nvPr>
        </p:nvSpPr>
        <p:spPr>
          <a:xfrm>
            <a:off x="-9728" y="-11316"/>
            <a:ext cx="12192000" cy="6858000"/>
          </a:xfrm>
          <a:prstGeom prst="rect">
            <a:avLst/>
          </a:prstGeom>
          <a:solidFill>
            <a:schemeClr val="accent3"/>
          </a:solidFill>
        </p:spPr>
        <p:txBody>
          <a:bodyPr anchor="ctr">
            <a:normAutofit/>
          </a:bodyPr>
          <a:lstStyle>
            <a:lvl1pPr marL="0" indent="0" algn="ctr">
              <a:buNone/>
              <a:defRPr sz="1800" b="0" i="0" baseline="0">
                <a:latin typeface="Calibri Light" panose="020F0302020204030204" pitchFamily="34" charset="0"/>
              </a:defRPr>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95" name="Title 1"/>
          <p:cNvSpPr>
            <a:spLocks noGrp="1"/>
          </p:cNvSpPr>
          <p:nvPr>
            <p:ph type="title" hasCustomPrompt="1"/>
          </p:nvPr>
        </p:nvSpPr>
        <p:spPr>
          <a:xfrm>
            <a:off x="547288" y="2840476"/>
            <a:ext cx="4601584" cy="988402"/>
          </a:xfrm>
          <a:prstGeom prst="rect">
            <a:avLst/>
          </a:prstGeom>
        </p:spPr>
        <p:txBody>
          <a:bodyPr anchor="t">
            <a:noAutofit/>
          </a:bodyPr>
          <a:lstStyle>
            <a:lvl1pPr>
              <a:lnSpc>
                <a:spcPts val="6000"/>
              </a:lnSpc>
              <a:defRPr sz="6000" b="0" i="0" baseline="0">
                <a:solidFill>
                  <a:schemeClr val="bg1"/>
                </a:solidFill>
                <a:latin typeface="Calibri Light" panose="020F0302020204030204" pitchFamily="34" charset="0"/>
              </a:defRPr>
            </a:lvl1pPr>
          </a:lstStyle>
          <a:p>
            <a:r>
              <a:rPr lang="en-GB" noProof="0"/>
              <a:t>Thanks!</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b="0" i="0">
              <a:latin typeface="Calibri Light" panose="020F0302020204030204" pitchFamily="34" charset="0"/>
            </a:endParaRPr>
          </a:p>
        </p:txBody>
      </p:sp>
      <p:sp>
        <p:nvSpPr>
          <p:cNvPr id="10" name="Freeform 5"/>
          <p:cNvSpPr>
            <a:spLocks noEditPoints="1"/>
          </p:cNvSpPr>
          <p:nvPr userDrawn="1"/>
        </p:nvSpPr>
        <p:spPr bwMode="auto">
          <a:xfrm>
            <a:off x="517319" y="490534"/>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cxnSp>
        <p:nvCxnSpPr>
          <p:cNvPr id="12" name="Straight Connector 11">
            <a:extLst>
              <a:ext uri="{FF2B5EF4-FFF2-40B4-BE49-F238E27FC236}">
                <a16:creationId xmlns:a16="http://schemas.microsoft.com/office/drawing/2014/main" id="{7629B5C9-B7D1-4505-9A07-FAF43A3367FB}"/>
              </a:ext>
            </a:extLst>
          </p:cNvPr>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AutoShape 3">
            <a:extLst>
              <a:ext uri="{FF2B5EF4-FFF2-40B4-BE49-F238E27FC236}">
                <a16:creationId xmlns:a16="http://schemas.microsoft.com/office/drawing/2014/main" id="{72072D00-A538-411F-8A2A-09E8C1C9E02D}"/>
              </a:ext>
            </a:extLst>
          </p:cNvPr>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b="0" i="0">
              <a:latin typeface="Calibri Light" panose="020F0302020204030204" pitchFamily="34" charset="0"/>
            </a:endParaRPr>
          </a:p>
        </p:txBody>
      </p:sp>
      <p:sp>
        <p:nvSpPr>
          <p:cNvPr id="14" name="Text Placeholder 23">
            <a:extLst>
              <a:ext uri="{FF2B5EF4-FFF2-40B4-BE49-F238E27FC236}">
                <a16:creationId xmlns:a16="http://schemas.microsoft.com/office/drawing/2014/main" id="{5802582D-D76C-46E8-9C02-FBE6BE605098}"/>
              </a:ext>
            </a:extLst>
          </p:cNvPr>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15" name="Text Placeholder 23">
            <a:extLst>
              <a:ext uri="{FF2B5EF4-FFF2-40B4-BE49-F238E27FC236}">
                <a16:creationId xmlns:a16="http://schemas.microsoft.com/office/drawing/2014/main" id="{F2AAF8E3-8DE6-45D1-821B-DB6C730D2C1E}"/>
              </a:ext>
            </a:extLst>
          </p:cNvPr>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16" name="Text Placeholder 23">
            <a:extLst>
              <a:ext uri="{FF2B5EF4-FFF2-40B4-BE49-F238E27FC236}">
                <a16:creationId xmlns:a16="http://schemas.microsoft.com/office/drawing/2014/main" id="{8319AA32-9109-4EDF-B0B4-AF176F2F4A0B}"/>
              </a:ext>
            </a:extLst>
          </p:cNvPr>
          <p:cNvSpPr>
            <a:spLocks noGrp="1"/>
          </p:cNvSpPr>
          <p:nvPr>
            <p:ph type="body" sz="quarter" idx="38" hasCustomPrompt="1"/>
          </p:nvPr>
        </p:nvSpPr>
        <p:spPr>
          <a:xfrm>
            <a:off x="539067" y="6298613"/>
            <a:ext cx="1601606" cy="390246"/>
          </a:xfrm>
          <a:prstGeom prst="rect">
            <a:avLst/>
          </a:prstGeom>
        </p:spPr>
        <p:txBody>
          <a:bodyPr>
            <a:noAutofit/>
          </a:bodyPr>
          <a:lstStyle>
            <a:lvl1pPr marL="0" indent="0" algn="l">
              <a:lnSpc>
                <a:spcPct val="100000"/>
              </a:lnSpc>
              <a:buNone/>
              <a:defRPr lang="en-GB" sz="1100" b="0" i="0" kern="1200" noProof="0" dirty="0" smtClean="0">
                <a:solidFill>
                  <a:schemeClr val="bg1"/>
                </a:solidFill>
                <a:latin typeface="Calibri Light" panose="020F0302020204030204" pitchFamily="34" charset="0"/>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7" name="Freeform 5">
            <a:extLst>
              <a:ext uri="{FF2B5EF4-FFF2-40B4-BE49-F238E27FC236}">
                <a16:creationId xmlns:a16="http://schemas.microsoft.com/office/drawing/2014/main" id="{DB1AD877-2A0B-4FFB-BBFF-D8ACB033AAA6}"/>
              </a:ext>
            </a:extLst>
          </p:cNvPr>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18" name="Freeform 5">
            <a:extLst>
              <a:ext uri="{FF2B5EF4-FFF2-40B4-BE49-F238E27FC236}">
                <a16:creationId xmlns:a16="http://schemas.microsoft.com/office/drawing/2014/main" id="{7BD326D9-737F-4B64-B8AE-ED70F4AA2CAF}"/>
              </a:ext>
            </a:extLst>
          </p:cNvPr>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19" name="Freeform 6">
            <a:extLst>
              <a:ext uri="{FF2B5EF4-FFF2-40B4-BE49-F238E27FC236}">
                <a16:creationId xmlns:a16="http://schemas.microsoft.com/office/drawing/2014/main" id="{1C53D199-AADA-4776-B036-A6F0C05EBFB5}"/>
              </a:ext>
            </a:extLst>
          </p:cNvPr>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0" name="Freeform 7">
            <a:extLst>
              <a:ext uri="{FF2B5EF4-FFF2-40B4-BE49-F238E27FC236}">
                <a16:creationId xmlns:a16="http://schemas.microsoft.com/office/drawing/2014/main" id="{9C148423-4B48-448D-9F3E-B109FFCD82C2}"/>
              </a:ext>
            </a:extLst>
          </p:cNvPr>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1" name="Freeform 8">
            <a:extLst>
              <a:ext uri="{FF2B5EF4-FFF2-40B4-BE49-F238E27FC236}">
                <a16:creationId xmlns:a16="http://schemas.microsoft.com/office/drawing/2014/main" id="{D28DAA78-9F2B-489A-AC0D-2CA773E7933F}"/>
              </a:ext>
            </a:extLst>
          </p:cNvPr>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2" name="Freeform 9">
            <a:extLst>
              <a:ext uri="{FF2B5EF4-FFF2-40B4-BE49-F238E27FC236}">
                <a16:creationId xmlns:a16="http://schemas.microsoft.com/office/drawing/2014/main" id="{5270EB8C-C3FF-4F25-B21E-152F461A315D}"/>
              </a:ext>
            </a:extLst>
          </p:cNvPr>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3" name="Freeform 10">
            <a:extLst>
              <a:ext uri="{FF2B5EF4-FFF2-40B4-BE49-F238E27FC236}">
                <a16:creationId xmlns:a16="http://schemas.microsoft.com/office/drawing/2014/main" id="{1FB69745-9988-4F9D-BDEE-C3DCC35B369E}"/>
              </a:ext>
            </a:extLst>
          </p:cNvPr>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4" name="Freeform 11">
            <a:extLst>
              <a:ext uri="{FF2B5EF4-FFF2-40B4-BE49-F238E27FC236}">
                <a16:creationId xmlns:a16="http://schemas.microsoft.com/office/drawing/2014/main" id="{5804EA62-A486-42EF-9F3A-6BFD123CDBD2}"/>
              </a:ext>
            </a:extLst>
          </p:cNvPr>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0" i="0">
              <a:latin typeface="Calibri Light" panose="020F0302020204030204" pitchFamily="34" charset="0"/>
            </a:endParaRPr>
          </a:p>
        </p:txBody>
      </p:sp>
      <p:sp>
        <p:nvSpPr>
          <p:cNvPr id="26" name="Title Placeholder 1">
            <a:extLst>
              <a:ext uri="{FF2B5EF4-FFF2-40B4-BE49-F238E27FC236}">
                <a16:creationId xmlns:a16="http://schemas.microsoft.com/office/drawing/2014/main" id="{2E39B673-BB32-413C-9DC2-FF3FB13F13F3}"/>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42232644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ard + Coun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pic>
        <p:nvPicPr>
          <p:cNvPr id="26" name="Picture 25">
            <a:extLst>
              <a:ext uri="{FF2B5EF4-FFF2-40B4-BE49-F238E27FC236}">
                <a16:creationId xmlns:a16="http://schemas.microsoft.com/office/drawing/2014/main" id="{43FB8492-7937-5B4C-811E-EF340072848E}"/>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
        <p:nvSpPr>
          <p:cNvPr id="18" name="Content Placeholder 47">
            <a:extLst>
              <a:ext uri="{FF2B5EF4-FFF2-40B4-BE49-F238E27FC236}">
                <a16:creationId xmlns:a16="http://schemas.microsoft.com/office/drawing/2014/main" id="{1A5F5276-5A52-4B44-AEDE-57EBC294D06D}"/>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67127689"/>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1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16982"/>
          </a:xfrm>
          <a:prstGeom prst="rect">
            <a:avLst/>
          </a:prstGeom>
        </p:spPr>
        <p:txBody>
          <a:bodyPr wrap="none">
            <a:spAutoFit/>
          </a:bodyPr>
          <a:lstStyle>
            <a:lvl1pPr marL="0" indent="0" algn="l">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Tree>
    <p:extLst>
      <p:ext uri="{BB962C8B-B14F-4D97-AF65-F5344CB8AC3E}">
        <p14:creationId xmlns:p14="http://schemas.microsoft.com/office/powerpoint/2010/main" val="367626456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1_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15" name="Group 14"/>
          <p:cNvGrpSpPr/>
          <p:nvPr userDrawn="1"/>
        </p:nvGrpSpPr>
        <p:grpSpPr>
          <a:xfrm>
            <a:off x="11548481" y="73568"/>
            <a:ext cx="409580" cy="338886"/>
            <a:chOff x="10987081" y="138792"/>
            <a:chExt cx="409580" cy="338886"/>
          </a:xfrm>
        </p:grpSpPr>
        <p:grpSp>
          <p:nvGrpSpPr>
            <p:cNvPr id="16" name="Group 26"/>
            <p:cNvGrpSpPr/>
            <p:nvPr userDrawn="1"/>
          </p:nvGrpSpPr>
          <p:grpSpPr>
            <a:xfrm>
              <a:off x="11011908" y="146161"/>
              <a:ext cx="384753" cy="331517"/>
              <a:chOff x="9021034" y="119041"/>
              <a:chExt cx="630093" cy="553987"/>
            </a:xfrm>
          </p:grpSpPr>
          <p:sp>
            <p:nvSpPr>
              <p:cNvPr id="18" name="TextBox 29"/>
              <p:cNvSpPr txBox="1"/>
              <p:nvPr userDrawn="1"/>
            </p:nvSpPr>
            <p:spPr>
              <a:xfrm>
                <a:off x="9021034" y="514076"/>
                <a:ext cx="630093" cy="158952"/>
              </a:xfrm>
              <a:prstGeom prst="rect">
                <a:avLst/>
              </a:prstGeom>
              <a:noFill/>
            </p:spPr>
            <p:txBody>
              <a:bodyPr wrap="square" lIns="0" tIns="18000" rIns="0" bIns="0" rtlCol="0">
                <a:spAutoFit/>
              </a:bodyPr>
              <a:lstStyle/>
              <a:p>
                <a:pPr algn="ctr"/>
                <a:r>
                  <a:rPr lang="en-GB" sz="500" b="1">
                    <a:solidFill>
                      <a:srgbClr val="E5A912"/>
                    </a:solidFill>
                  </a:rPr>
                  <a:t>RESTRICTED</a:t>
                </a:r>
              </a:p>
            </p:txBody>
          </p:sp>
          <p:grpSp>
            <p:nvGrpSpPr>
              <p:cNvPr id="19" name="Group 30"/>
              <p:cNvGrpSpPr/>
              <p:nvPr userDrawn="1"/>
            </p:nvGrpSpPr>
            <p:grpSpPr>
              <a:xfrm>
                <a:off x="9094418" y="119041"/>
                <a:ext cx="477460" cy="431416"/>
                <a:chOff x="8532895" y="91935"/>
                <a:chExt cx="504900" cy="444531"/>
              </a:xfrm>
            </p:grpSpPr>
            <p:sp>
              <p:nvSpPr>
                <p:cNvPr id="21" name="Freeform 22"/>
                <p:cNvSpPr>
                  <a:spLocks/>
                </p:cNvSpPr>
                <p:nvPr userDrawn="1"/>
              </p:nvSpPr>
              <p:spPr bwMode="auto">
                <a:xfrm>
                  <a:off x="8746928" y="157791"/>
                  <a:ext cx="87809" cy="107018"/>
                </a:xfrm>
                <a:custGeom>
                  <a:avLst/>
                  <a:gdLst>
                    <a:gd name="T0" fmla="*/ 44 w 64"/>
                    <a:gd name="T1" fmla="*/ 56 h 78"/>
                    <a:gd name="T2" fmla="*/ 44 w 64"/>
                    <a:gd name="T3" fmla="*/ 56 h 78"/>
                    <a:gd name="T4" fmla="*/ 46 w 64"/>
                    <a:gd name="T5" fmla="*/ 46 h 78"/>
                    <a:gd name="T6" fmla="*/ 50 w 64"/>
                    <a:gd name="T7" fmla="*/ 36 h 78"/>
                    <a:gd name="T8" fmla="*/ 56 w 64"/>
                    <a:gd name="T9" fmla="*/ 26 h 78"/>
                    <a:gd name="T10" fmla="*/ 64 w 64"/>
                    <a:gd name="T11" fmla="*/ 20 h 78"/>
                    <a:gd name="T12" fmla="*/ 64 w 64"/>
                    <a:gd name="T13" fmla="*/ 20 h 78"/>
                    <a:gd name="T14" fmla="*/ 58 w 64"/>
                    <a:gd name="T15" fmla="*/ 12 h 78"/>
                    <a:gd name="T16" fmla="*/ 50 w 64"/>
                    <a:gd name="T17" fmla="*/ 6 h 78"/>
                    <a:gd name="T18" fmla="*/ 42 w 64"/>
                    <a:gd name="T19" fmla="*/ 2 h 78"/>
                    <a:gd name="T20" fmla="*/ 30 w 64"/>
                    <a:gd name="T21" fmla="*/ 0 h 78"/>
                    <a:gd name="T22" fmla="*/ 30 w 64"/>
                    <a:gd name="T23" fmla="*/ 0 h 78"/>
                    <a:gd name="T24" fmla="*/ 34 w 64"/>
                    <a:gd name="T25" fmla="*/ 8 h 78"/>
                    <a:gd name="T26" fmla="*/ 34 w 64"/>
                    <a:gd name="T27" fmla="*/ 18 h 78"/>
                    <a:gd name="T28" fmla="*/ 34 w 64"/>
                    <a:gd name="T29" fmla="*/ 18 h 78"/>
                    <a:gd name="T30" fmla="*/ 34 w 64"/>
                    <a:gd name="T31" fmla="*/ 26 h 78"/>
                    <a:gd name="T32" fmla="*/ 32 w 64"/>
                    <a:gd name="T33" fmla="*/ 32 h 78"/>
                    <a:gd name="T34" fmla="*/ 28 w 64"/>
                    <a:gd name="T35" fmla="*/ 40 h 78"/>
                    <a:gd name="T36" fmla="*/ 24 w 64"/>
                    <a:gd name="T37" fmla="*/ 46 h 78"/>
                    <a:gd name="T38" fmla="*/ 14 w 64"/>
                    <a:gd name="T39" fmla="*/ 56 h 78"/>
                    <a:gd name="T40" fmla="*/ 8 w 64"/>
                    <a:gd name="T41" fmla="*/ 60 h 78"/>
                    <a:gd name="T42" fmla="*/ 0 w 64"/>
                    <a:gd name="T43" fmla="*/ 62 h 78"/>
                    <a:gd name="T44" fmla="*/ 0 w 64"/>
                    <a:gd name="T45" fmla="*/ 62 h 78"/>
                    <a:gd name="T46" fmla="*/ 6 w 64"/>
                    <a:gd name="T47" fmla="*/ 68 h 78"/>
                    <a:gd name="T48" fmla="*/ 14 w 64"/>
                    <a:gd name="T49" fmla="*/ 74 h 78"/>
                    <a:gd name="T50" fmla="*/ 22 w 64"/>
                    <a:gd name="T51" fmla="*/ 76 h 78"/>
                    <a:gd name="T52" fmla="*/ 30 w 64"/>
                    <a:gd name="T53" fmla="*/ 78 h 78"/>
                    <a:gd name="T54" fmla="*/ 30 w 64"/>
                    <a:gd name="T55" fmla="*/ 78 h 78"/>
                    <a:gd name="T56" fmla="*/ 40 w 64"/>
                    <a:gd name="T57" fmla="*/ 76 h 78"/>
                    <a:gd name="T58" fmla="*/ 46 w 64"/>
                    <a:gd name="T59" fmla="*/ 72 h 78"/>
                    <a:gd name="T60" fmla="*/ 46 w 64"/>
                    <a:gd name="T61" fmla="*/ 72 h 78"/>
                    <a:gd name="T62" fmla="*/ 44 w 64"/>
                    <a:gd name="T63" fmla="*/ 56 h 78"/>
                    <a:gd name="T64" fmla="*/ 44 w 64"/>
                    <a:gd name="T6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8">
                      <a:moveTo>
                        <a:pt x="44" y="56"/>
                      </a:moveTo>
                      <a:lnTo>
                        <a:pt x="44" y="56"/>
                      </a:lnTo>
                      <a:lnTo>
                        <a:pt x="46" y="46"/>
                      </a:lnTo>
                      <a:lnTo>
                        <a:pt x="50" y="36"/>
                      </a:lnTo>
                      <a:lnTo>
                        <a:pt x="56" y="26"/>
                      </a:lnTo>
                      <a:lnTo>
                        <a:pt x="64" y="20"/>
                      </a:lnTo>
                      <a:lnTo>
                        <a:pt x="64" y="20"/>
                      </a:lnTo>
                      <a:lnTo>
                        <a:pt x="58" y="12"/>
                      </a:lnTo>
                      <a:lnTo>
                        <a:pt x="50" y="6"/>
                      </a:lnTo>
                      <a:lnTo>
                        <a:pt x="42" y="2"/>
                      </a:lnTo>
                      <a:lnTo>
                        <a:pt x="30" y="0"/>
                      </a:lnTo>
                      <a:lnTo>
                        <a:pt x="30" y="0"/>
                      </a:lnTo>
                      <a:lnTo>
                        <a:pt x="34" y="8"/>
                      </a:lnTo>
                      <a:lnTo>
                        <a:pt x="34" y="18"/>
                      </a:lnTo>
                      <a:lnTo>
                        <a:pt x="34" y="18"/>
                      </a:lnTo>
                      <a:lnTo>
                        <a:pt x="34" y="26"/>
                      </a:lnTo>
                      <a:lnTo>
                        <a:pt x="32" y="32"/>
                      </a:lnTo>
                      <a:lnTo>
                        <a:pt x="28" y="40"/>
                      </a:lnTo>
                      <a:lnTo>
                        <a:pt x="24" y="46"/>
                      </a:lnTo>
                      <a:lnTo>
                        <a:pt x="14" y="56"/>
                      </a:lnTo>
                      <a:lnTo>
                        <a:pt x="8" y="60"/>
                      </a:lnTo>
                      <a:lnTo>
                        <a:pt x="0" y="62"/>
                      </a:lnTo>
                      <a:lnTo>
                        <a:pt x="0" y="62"/>
                      </a:lnTo>
                      <a:lnTo>
                        <a:pt x="6" y="68"/>
                      </a:lnTo>
                      <a:lnTo>
                        <a:pt x="14" y="74"/>
                      </a:lnTo>
                      <a:lnTo>
                        <a:pt x="22" y="76"/>
                      </a:lnTo>
                      <a:lnTo>
                        <a:pt x="30" y="78"/>
                      </a:lnTo>
                      <a:lnTo>
                        <a:pt x="30" y="78"/>
                      </a:lnTo>
                      <a:lnTo>
                        <a:pt x="40" y="76"/>
                      </a:lnTo>
                      <a:lnTo>
                        <a:pt x="46" y="72"/>
                      </a:lnTo>
                      <a:lnTo>
                        <a:pt x="46" y="72"/>
                      </a:lnTo>
                      <a:lnTo>
                        <a:pt x="44" y="56"/>
                      </a:lnTo>
                      <a:lnTo>
                        <a:pt x="44" y="5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23"/>
                <p:cNvSpPr>
                  <a:spLocks/>
                </p:cNvSpPr>
                <p:nvPr userDrawn="1"/>
              </p:nvSpPr>
              <p:spPr bwMode="auto">
                <a:xfrm>
                  <a:off x="8664607" y="113887"/>
                  <a:ext cx="123481" cy="126225"/>
                </a:xfrm>
                <a:custGeom>
                  <a:avLst/>
                  <a:gdLst>
                    <a:gd name="T0" fmla="*/ 90 w 90"/>
                    <a:gd name="T1" fmla="*/ 46 h 92"/>
                    <a:gd name="T2" fmla="*/ 90 w 90"/>
                    <a:gd name="T3" fmla="*/ 46 h 92"/>
                    <a:gd name="T4" fmla="*/ 88 w 90"/>
                    <a:gd name="T5" fmla="*/ 56 h 92"/>
                    <a:gd name="T6" fmla="*/ 86 w 90"/>
                    <a:gd name="T7" fmla="*/ 64 h 92"/>
                    <a:gd name="T8" fmla="*/ 82 w 90"/>
                    <a:gd name="T9" fmla="*/ 72 h 92"/>
                    <a:gd name="T10" fmla="*/ 76 w 90"/>
                    <a:gd name="T11" fmla="*/ 80 h 92"/>
                    <a:gd name="T12" fmla="*/ 70 w 90"/>
                    <a:gd name="T13" fmla="*/ 84 h 92"/>
                    <a:gd name="T14" fmla="*/ 62 w 90"/>
                    <a:gd name="T15" fmla="*/ 90 h 92"/>
                    <a:gd name="T16" fmla="*/ 54 w 90"/>
                    <a:gd name="T17" fmla="*/ 92 h 92"/>
                    <a:gd name="T18" fmla="*/ 44 w 90"/>
                    <a:gd name="T19" fmla="*/ 92 h 92"/>
                    <a:gd name="T20" fmla="*/ 44 w 90"/>
                    <a:gd name="T21" fmla="*/ 92 h 92"/>
                    <a:gd name="T22" fmla="*/ 36 w 90"/>
                    <a:gd name="T23" fmla="*/ 92 h 92"/>
                    <a:gd name="T24" fmla="*/ 26 w 90"/>
                    <a:gd name="T25" fmla="*/ 90 h 92"/>
                    <a:gd name="T26" fmla="*/ 18 w 90"/>
                    <a:gd name="T27" fmla="*/ 84 h 92"/>
                    <a:gd name="T28" fmla="*/ 12 w 90"/>
                    <a:gd name="T29" fmla="*/ 80 h 92"/>
                    <a:gd name="T30" fmla="*/ 6 w 90"/>
                    <a:gd name="T31" fmla="*/ 72 h 92"/>
                    <a:gd name="T32" fmla="*/ 2 w 90"/>
                    <a:gd name="T33" fmla="*/ 64 h 92"/>
                    <a:gd name="T34" fmla="*/ 0 w 90"/>
                    <a:gd name="T35" fmla="*/ 56 h 92"/>
                    <a:gd name="T36" fmla="*/ 0 w 90"/>
                    <a:gd name="T37" fmla="*/ 46 h 92"/>
                    <a:gd name="T38" fmla="*/ 0 w 90"/>
                    <a:gd name="T39" fmla="*/ 46 h 92"/>
                    <a:gd name="T40" fmla="*/ 0 w 90"/>
                    <a:gd name="T41" fmla="*/ 38 h 92"/>
                    <a:gd name="T42" fmla="*/ 2 w 90"/>
                    <a:gd name="T43" fmla="*/ 28 h 92"/>
                    <a:gd name="T44" fmla="*/ 6 w 90"/>
                    <a:gd name="T45" fmla="*/ 20 h 92"/>
                    <a:gd name="T46" fmla="*/ 12 w 90"/>
                    <a:gd name="T47" fmla="*/ 14 h 92"/>
                    <a:gd name="T48" fmla="*/ 18 w 90"/>
                    <a:gd name="T49" fmla="*/ 8 h 92"/>
                    <a:gd name="T50" fmla="*/ 26 w 90"/>
                    <a:gd name="T51" fmla="*/ 4 h 92"/>
                    <a:gd name="T52" fmla="*/ 36 w 90"/>
                    <a:gd name="T53" fmla="*/ 0 h 92"/>
                    <a:gd name="T54" fmla="*/ 44 w 90"/>
                    <a:gd name="T55" fmla="*/ 0 h 92"/>
                    <a:gd name="T56" fmla="*/ 44 w 90"/>
                    <a:gd name="T57" fmla="*/ 0 h 92"/>
                    <a:gd name="T58" fmla="*/ 54 w 90"/>
                    <a:gd name="T59" fmla="*/ 0 h 92"/>
                    <a:gd name="T60" fmla="*/ 62 w 90"/>
                    <a:gd name="T61" fmla="*/ 4 h 92"/>
                    <a:gd name="T62" fmla="*/ 70 w 90"/>
                    <a:gd name="T63" fmla="*/ 8 h 92"/>
                    <a:gd name="T64" fmla="*/ 76 w 90"/>
                    <a:gd name="T65" fmla="*/ 14 h 92"/>
                    <a:gd name="T66" fmla="*/ 82 w 90"/>
                    <a:gd name="T67" fmla="*/ 20 h 92"/>
                    <a:gd name="T68" fmla="*/ 86 w 90"/>
                    <a:gd name="T69" fmla="*/ 28 h 92"/>
                    <a:gd name="T70" fmla="*/ 88 w 90"/>
                    <a:gd name="T71" fmla="*/ 38 h 92"/>
                    <a:gd name="T72" fmla="*/ 90 w 90"/>
                    <a:gd name="T73" fmla="*/ 46 h 92"/>
                    <a:gd name="T74" fmla="*/ 90 w 90"/>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2">
                      <a:moveTo>
                        <a:pt x="90" y="46"/>
                      </a:moveTo>
                      <a:lnTo>
                        <a:pt x="90" y="46"/>
                      </a:lnTo>
                      <a:lnTo>
                        <a:pt x="88" y="56"/>
                      </a:lnTo>
                      <a:lnTo>
                        <a:pt x="86" y="64"/>
                      </a:lnTo>
                      <a:lnTo>
                        <a:pt x="82" y="72"/>
                      </a:lnTo>
                      <a:lnTo>
                        <a:pt x="76" y="80"/>
                      </a:lnTo>
                      <a:lnTo>
                        <a:pt x="70" y="84"/>
                      </a:lnTo>
                      <a:lnTo>
                        <a:pt x="62" y="90"/>
                      </a:lnTo>
                      <a:lnTo>
                        <a:pt x="54" y="92"/>
                      </a:lnTo>
                      <a:lnTo>
                        <a:pt x="44" y="92"/>
                      </a:lnTo>
                      <a:lnTo>
                        <a:pt x="44" y="92"/>
                      </a:lnTo>
                      <a:lnTo>
                        <a:pt x="36" y="92"/>
                      </a:lnTo>
                      <a:lnTo>
                        <a:pt x="26" y="90"/>
                      </a:lnTo>
                      <a:lnTo>
                        <a:pt x="18" y="84"/>
                      </a:lnTo>
                      <a:lnTo>
                        <a:pt x="12" y="80"/>
                      </a:lnTo>
                      <a:lnTo>
                        <a:pt x="6" y="72"/>
                      </a:lnTo>
                      <a:lnTo>
                        <a:pt x="2" y="64"/>
                      </a:lnTo>
                      <a:lnTo>
                        <a:pt x="0" y="56"/>
                      </a:lnTo>
                      <a:lnTo>
                        <a:pt x="0" y="46"/>
                      </a:lnTo>
                      <a:lnTo>
                        <a:pt x="0" y="46"/>
                      </a:lnTo>
                      <a:lnTo>
                        <a:pt x="0" y="38"/>
                      </a:lnTo>
                      <a:lnTo>
                        <a:pt x="2" y="28"/>
                      </a:lnTo>
                      <a:lnTo>
                        <a:pt x="6" y="20"/>
                      </a:lnTo>
                      <a:lnTo>
                        <a:pt x="12" y="14"/>
                      </a:lnTo>
                      <a:lnTo>
                        <a:pt x="18" y="8"/>
                      </a:lnTo>
                      <a:lnTo>
                        <a:pt x="26" y="4"/>
                      </a:lnTo>
                      <a:lnTo>
                        <a:pt x="36" y="0"/>
                      </a:lnTo>
                      <a:lnTo>
                        <a:pt x="44" y="0"/>
                      </a:lnTo>
                      <a:lnTo>
                        <a:pt x="44" y="0"/>
                      </a:lnTo>
                      <a:lnTo>
                        <a:pt x="54" y="0"/>
                      </a:lnTo>
                      <a:lnTo>
                        <a:pt x="62" y="4"/>
                      </a:lnTo>
                      <a:lnTo>
                        <a:pt x="70" y="8"/>
                      </a:lnTo>
                      <a:lnTo>
                        <a:pt x="76" y="14"/>
                      </a:lnTo>
                      <a:lnTo>
                        <a:pt x="82" y="20"/>
                      </a:lnTo>
                      <a:lnTo>
                        <a:pt x="86" y="28"/>
                      </a:lnTo>
                      <a:lnTo>
                        <a:pt x="88" y="38"/>
                      </a:lnTo>
                      <a:lnTo>
                        <a:pt x="90" y="46"/>
                      </a:lnTo>
                      <a:lnTo>
                        <a:pt x="90" y="4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24"/>
                <p:cNvSpPr>
                  <a:spLocks/>
                </p:cNvSpPr>
                <p:nvPr userDrawn="1"/>
              </p:nvSpPr>
              <p:spPr bwMode="auto">
                <a:xfrm>
                  <a:off x="8606985" y="253832"/>
                  <a:ext cx="170129" cy="252449"/>
                </a:xfrm>
                <a:custGeom>
                  <a:avLst/>
                  <a:gdLst>
                    <a:gd name="T0" fmla="*/ 118 w 124"/>
                    <a:gd name="T1" fmla="*/ 184 h 184"/>
                    <a:gd name="T2" fmla="*/ 118 w 124"/>
                    <a:gd name="T3" fmla="*/ 184 h 184"/>
                    <a:gd name="T4" fmla="*/ 124 w 124"/>
                    <a:gd name="T5" fmla="*/ 158 h 184"/>
                    <a:gd name="T6" fmla="*/ 124 w 124"/>
                    <a:gd name="T7" fmla="*/ 128 h 184"/>
                    <a:gd name="T8" fmla="*/ 124 w 124"/>
                    <a:gd name="T9" fmla="*/ 128 h 184"/>
                    <a:gd name="T10" fmla="*/ 124 w 124"/>
                    <a:gd name="T11" fmla="*/ 102 h 184"/>
                    <a:gd name="T12" fmla="*/ 120 w 124"/>
                    <a:gd name="T13" fmla="*/ 78 h 184"/>
                    <a:gd name="T14" fmla="*/ 114 w 124"/>
                    <a:gd name="T15" fmla="*/ 56 h 184"/>
                    <a:gd name="T16" fmla="*/ 106 w 124"/>
                    <a:gd name="T17" fmla="*/ 36 h 184"/>
                    <a:gd name="T18" fmla="*/ 98 w 124"/>
                    <a:gd name="T19" fmla="*/ 22 h 184"/>
                    <a:gd name="T20" fmla="*/ 86 w 124"/>
                    <a:gd name="T21" fmla="*/ 10 h 184"/>
                    <a:gd name="T22" fmla="*/ 74 w 124"/>
                    <a:gd name="T23" fmla="*/ 2 h 184"/>
                    <a:gd name="T24" fmla="*/ 68 w 124"/>
                    <a:gd name="T25" fmla="*/ 0 h 184"/>
                    <a:gd name="T26" fmla="*/ 62 w 124"/>
                    <a:gd name="T27" fmla="*/ 0 h 184"/>
                    <a:gd name="T28" fmla="*/ 62 w 124"/>
                    <a:gd name="T29" fmla="*/ 0 h 184"/>
                    <a:gd name="T30" fmla="*/ 56 w 124"/>
                    <a:gd name="T31" fmla="*/ 0 h 184"/>
                    <a:gd name="T32" fmla="*/ 50 w 124"/>
                    <a:gd name="T33" fmla="*/ 2 h 184"/>
                    <a:gd name="T34" fmla="*/ 38 w 124"/>
                    <a:gd name="T35" fmla="*/ 10 h 184"/>
                    <a:gd name="T36" fmla="*/ 28 w 124"/>
                    <a:gd name="T37" fmla="*/ 22 h 184"/>
                    <a:gd name="T38" fmla="*/ 18 w 124"/>
                    <a:gd name="T39" fmla="*/ 36 h 184"/>
                    <a:gd name="T40" fmla="*/ 10 w 124"/>
                    <a:gd name="T41" fmla="*/ 56 h 184"/>
                    <a:gd name="T42" fmla="*/ 4 w 124"/>
                    <a:gd name="T43" fmla="*/ 78 h 184"/>
                    <a:gd name="T44" fmla="*/ 0 w 124"/>
                    <a:gd name="T45" fmla="*/ 102 h 184"/>
                    <a:gd name="T46" fmla="*/ 0 w 124"/>
                    <a:gd name="T47" fmla="*/ 128 h 184"/>
                    <a:gd name="T48" fmla="*/ 0 w 124"/>
                    <a:gd name="T49" fmla="*/ 128 h 184"/>
                    <a:gd name="T50" fmla="*/ 2 w 124"/>
                    <a:gd name="T51" fmla="*/ 158 h 184"/>
                    <a:gd name="T52" fmla="*/ 6 w 124"/>
                    <a:gd name="T53" fmla="*/ 184 h 184"/>
                    <a:gd name="T54" fmla="*/ 118 w 124"/>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84">
                      <a:moveTo>
                        <a:pt x="118" y="184"/>
                      </a:moveTo>
                      <a:lnTo>
                        <a:pt x="118" y="184"/>
                      </a:lnTo>
                      <a:lnTo>
                        <a:pt x="124" y="158"/>
                      </a:lnTo>
                      <a:lnTo>
                        <a:pt x="124" y="128"/>
                      </a:lnTo>
                      <a:lnTo>
                        <a:pt x="124" y="128"/>
                      </a:lnTo>
                      <a:lnTo>
                        <a:pt x="124" y="102"/>
                      </a:lnTo>
                      <a:lnTo>
                        <a:pt x="120" y="78"/>
                      </a:lnTo>
                      <a:lnTo>
                        <a:pt x="114" y="56"/>
                      </a:lnTo>
                      <a:lnTo>
                        <a:pt x="106" y="36"/>
                      </a:lnTo>
                      <a:lnTo>
                        <a:pt x="98" y="22"/>
                      </a:lnTo>
                      <a:lnTo>
                        <a:pt x="86" y="10"/>
                      </a:lnTo>
                      <a:lnTo>
                        <a:pt x="74" y="2"/>
                      </a:lnTo>
                      <a:lnTo>
                        <a:pt x="68" y="0"/>
                      </a:lnTo>
                      <a:lnTo>
                        <a:pt x="62" y="0"/>
                      </a:lnTo>
                      <a:lnTo>
                        <a:pt x="62" y="0"/>
                      </a:lnTo>
                      <a:lnTo>
                        <a:pt x="56" y="0"/>
                      </a:lnTo>
                      <a:lnTo>
                        <a:pt x="50" y="2"/>
                      </a:lnTo>
                      <a:lnTo>
                        <a:pt x="38" y="10"/>
                      </a:lnTo>
                      <a:lnTo>
                        <a:pt x="28" y="22"/>
                      </a:lnTo>
                      <a:lnTo>
                        <a:pt x="18" y="36"/>
                      </a:lnTo>
                      <a:lnTo>
                        <a:pt x="10" y="56"/>
                      </a:lnTo>
                      <a:lnTo>
                        <a:pt x="4" y="78"/>
                      </a:lnTo>
                      <a:lnTo>
                        <a:pt x="0" y="102"/>
                      </a:lnTo>
                      <a:lnTo>
                        <a:pt x="0" y="128"/>
                      </a:lnTo>
                      <a:lnTo>
                        <a:pt x="0" y="128"/>
                      </a:lnTo>
                      <a:lnTo>
                        <a:pt x="2" y="158"/>
                      </a:lnTo>
                      <a:lnTo>
                        <a:pt x="6" y="184"/>
                      </a:lnTo>
                      <a:lnTo>
                        <a:pt x="118" y="184"/>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25"/>
                <p:cNvSpPr>
                  <a:spLocks/>
                </p:cNvSpPr>
                <p:nvPr userDrawn="1"/>
              </p:nvSpPr>
              <p:spPr bwMode="auto">
                <a:xfrm>
                  <a:off x="8815530" y="179744"/>
                  <a:ext cx="109760" cy="112504"/>
                </a:xfrm>
                <a:custGeom>
                  <a:avLst/>
                  <a:gdLst>
                    <a:gd name="T0" fmla="*/ 80 w 80"/>
                    <a:gd name="T1" fmla="*/ 40 h 82"/>
                    <a:gd name="T2" fmla="*/ 80 w 80"/>
                    <a:gd name="T3" fmla="*/ 40 h 82"/>
                    <a:gd name="T4" fmla="*/ 78 w 80"/>
                    <a:gd name="T5" fmla="*/ 50 h 82"/>
                    <a:gd name="T6" fmla="*/ 76 w 80"/>
                    <a:gd name="T7" fmla="*/ 56 h 82"/>
                    <a:gd name="T8" fmla="*/ 72 w 80"/>
                    <a:gd name="T9" fmla="*/ 64 h 82"/>
                    <a:gd name="T10" fmla="*/ 68 w 80"/>
                    <a:gd name="T11" fmla="*/ 70 h 82"/>
                    <a:gd name="T12" fmla="*/ 62 w 80"/>
                    <a:gd name="T13" fmla="*/ 74 h 82"/>
                    <a:gd name="T14" fmla="*/ 56 w 80"/>
                    <a:gd name="T15" fmla="*/ 78 h 82"/>
                    <a:gd name="T16" fmla="*/ 48 w 80"/>
                    <a:gd name="T17" fmla="*/ 82 h 82"/>
                    <a:gd name="T18" fmla="*/ 40 w 80"/>
                    <a:gd name="T19" fmla="*/ 82 h 82"/>
                    <a:gd name="T20" fmla="*/ 40 w 80"/>
                    <a:gd name="T21" fmla="*/ 82 h 82"/>
                    <a:gd name="T22" fmla="*/ 32 w 80"/>
                    <a:gd name="T23" fmla="*/ 82 h 82"/>
                    <a:gd name="T24" fmla="*/ 24 w 80"/>
                    <a:gd name="T25" fmla="*/ 78 h 82"/>
                    <a:gd name="T26" fmla="*/ 18 w 80"/>
                    <a:gd name="T27" fmla="*/ 74 h 82"/>
                    <a:gd name="T28" fmla="*/ 12 w 80"/>
                    <a:gd name="T29" fmla="*/ 70 h 82"/>
                    <a:gd name="T30" fmla="*/ 6 w 80"/>
                    <a:gd name="T31" fmla="*/ 64 h 82"/>
                    <a:gd name="T32" fmla="*/ 4 w 80"/>
                    <a:gd name="T33" fmla="*/ 56 h 82"/>
                    <a:gd name="T34" fmla="*/ 0 w 80"/>
                    <a:gd name="T35" fmla="*/ 50 h 82"/>
                    <a:gd name="T36" fmla="*/ 0 w 80"/>
                    <a:gd name="T37" fmla="*/ 40 h 82"/>
                    <a:gd name="T38" fmla="*/ 0 w 80"/>
                    <a:gd name="T39" fmla="*/ 40 h 82"/>
                    <a:gd name="T40" fmla="*/ 0 w 80"/>
                    <a:gd name="T41" fmla="*/ 32 h 82"/>
                    <a:gd name="T42" fmla="*/ 4 w 80"/>
                    <a:gd name="T43" fmla="*/ 26 h 82"/>
                    <a:gd name="T44" fmla="*/ 6 w 80"/>
                    <a:gd name="T45" fmla="*/ 18 h 82"/>
                    <a:gd name="T46" fmla="*/ 12 w 80"/>
                    <a:gd name="T47" fmla="*/ 12 h 82"/>
                    <a:gd name="T48" fmla="*/ 18 w 80"/>
                    <a:gd name="T49" fmla="*/ 8 h 82"/>
                    <a:gd name="T50" fmla="*/ 24 w 80"/>
                    <a:gd name="T51" fmla="*/ 4 h 82"/>
                    <a:gd name="T52" fmla="*/ 32 w 80"/>
                    <a:gd name="T53" fmla="*/ 0 h 82"/>
                    <a:gd name="T54" fmla="*/ 40 w 80"/>
                    <a:gd name="T55" fmla="*/ 0 h 82"/>
                    <a:gd name="T56" fmla="*/ 40 w 80"/>
                    <a:gd name="T57" fmla="*/ 0 h 82"/>
                    <a:gd name="T58" fmla="*/ 48 w 80"/>
                    <a:gd name="T59" fmla="*/ 0 h 82"/>
                    <a:gd name="T60" fmla="*/ 56 w 80"/>
                    <a:gd name="T61" fmla="*/ 4 h 82"/>
                    <a:gd name="T62" fmla="*/ 62 w 80"/>
                    <a:gd name="T63" fmla="*/ 8 h 82"/>
                    <a:gd name="T64" fmla="*/ 68 w 80"/>
                    <a:gd name="T65" fmla="*/ 12 h 82"/>
                    <a:gd name="T66" fmla="*/ 72 w 80"/>
                    <a:gd name="T67" fmla="*/ 18 h 82"/>
                    <a:gd name="T68" fmla="*/ 76 w 80"/>
                    <a:gd name="T69" fmla="*/ 26 h 82"/>
                    <a:gd name="T70" fmla="*/ 78 w 80"/>
                    <a:gd name="T71" fmla="*/ 32 h 82"/>
                    <a:gd name="T72" fmla="*/ 80 w 80"/>
                    <a:gd name="T73" fmla="*/ 40 h 82"/>
                    <a:gd name="T74" fmla="*/ 80 w 80"/>
                    <a:gd name="T75"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2">
                      <a:moveTo>
                        <a:pt x="80" y="40"/>
                      </a:moveTo>
                      <a:lnTo>
                        <a:pt x="80" y="40"/>
                      </a:lnTo>
                      <a:lnTo>
                        <a:pt x="78" y="50"/>
                      </a:lnTo>
                      <a:lnTo>
                        <a:pt x="76" y="56"/>
                      </a:lnTo>
                      <a:lnTo>
                        <a:pt x="72" y="64"/>
                      </a:lnTo>
                      <a:lnTo>
                        <a:pt x="68" y="70"/>
                      </a:lnTo>
                      <a:lnTo>
                        <a:pt x="62" y="74"/>
                      </a:lnTo>
                      <a:lnTo>
                        <a:pt x="56" y="78"/>
                      </a:lnTo>
                      <a:lnTo>
                        <a:pt x="48" y="82"/>
                      </a:lnTo>
                      <a:lnTo>
                        <a:pt x="40" y="82"/>
                      </a:lnTo>
                      <a:lnTo>
                        <a:pt x="40" y="82"/>
                      </a:lnTo>
                      <a:lnTo>
                        <a:pt x="32" y="82"/>
                      </a:lnTo>
                      <a:lnTo>
                        <a:pt x="24" y="78"/>
                      </a:lnTo>
                      <a:lnTo>
                        <a:pt x="18" y="74"/>
                      </a:lnTo>
                      <a:lnTo>
                        <a:pt x="12" y="70"/>
                      </a:lnTo>
                      <a:lnTo>
                        <a:pt x="6" y="64"/>
                      </a:lnTo>
                      <a:lnTo>
                        <a:pt x="4" y="56"/>
                      </a:lnTo>
                      <a:lnTo>
                        <a:pt x="0" y="50"/>
                      </a:lnTo>
                      <a:lnTo>
                        <a:pt x="0" y="40"/>
                      </a:lnTo>
                      <a:lnTo>
                        <a:pt x="0" y="40"/>
                      </a:lnTo>
                      <a:lnTo>
                        <a:pt x="0" y="32"/>
                      </a:lnTo>
                      <a:lnTo>
                        <a:pt x="4" y="26"/>
                      </a:lnTo>
                      <a:lnTo>
                        <a:pt x="6" y="18"/>
                      </a:lnTo>
                      <a:lnTo>
                        <a:pt x="12" y="12"/>
                      </a:lnTo>
                      <a:lnTo>
                        <a:pt x="18" y="8"/>
                      </a:lnTo>
                      <a:lnTo>
                        <a:pt x="24" y="4"/>
                      </a:lnTo>
                      <a:lnTo>
                        <a:pt x="32" y="0"/>
                      </a:lnTo>
                      <a:lnTo>
                        <a:pt x="40" y="0"/>
                      </a:lnTo>
                      <a:lnTo>
                        <a:pt x="40" y="0"/>
                      </a:lnTo>
                      <a:lnTo>
                        <a:pt x="48" y="0"/>
                      </a:lnTo>
                      <a:lnTo>
                        <a:pt x="56" y="4"/>
                      </a:lnTo>
                      <a:lnTo>
                        <a:pt x="62" y="8"/>
                      </a:lnTo>
                      <a:lnTo>
                        <a:pt x="68" y="12"/>
                      </a:lnTo>
                      <a:lnTo>
                        <a:pt x="72" y="18"/>
                      </a:lnTo>
                      <a:lnTo>
                        <a:pt x="76" y="26"/>
                      </a:lnTo>
                      <a:lnTo>
                        <a:pt x="78" y="32"/>
                      </a:lnTo>
                      <a:lnTo>
                        <a:pt x="80" y="40"/>
                      </a:lnTo>
                      <a:lnTo>
                        <a:pt x="80" y="4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26"/>
                <p:cNvSpPr>
                  <a:spLocks/>
                </p:cNvSpPr>
                <p:nvPr userDrawn="1"/>
              </p:nvSpPr>
              <p:spPr bwMode="auto">
                <a:xfrm>
                  <a:off x="8812785" y="300480"/>
                  <a:ext cx="139945" cy="205801"/>
                </a:xfrm>
                <a:custGeom>
                  <a:avLst/>
                  <a:gdLst>
                    <a:gd name="T0" fmla="*/ 96 w 102"/>
                    <a:gd name="T1" fmla="*/ 150 h 150"/>
                    <a:gd name="T2" fmla="*/ 96 w 102"/>
                    <a:gd name="T3" fmla="*/ 150 h 150"/>
                    <a:gd name="T4" fmla="*/ 100 w 102"/>
                    <a:gd name="T5" fmla="*/ 128 h 150"/>
                    <a:gd name="T6" fmla="*/ 102 w 102"/>
                    <a:gd name="T7" fmla="*/ 104 h 150"/>
                    <a:gd name="T8" fmla="*/ 102 w 102"/>
                    <a:gd name="T9" fmla="*/ 104 h 150"/>
                    <a:gd name="T10" fmla="*/ 102 w 102"/>
                    <a:gd name="T11" fmla="*/ 84 h 150"/>
                    <a:gd name="T12" fmla="*/ 98 w 102"/>
                    <a:gd name="T13" fmla="*/ 64 h 150"/>
                    <a:gd name="T14" fmla="*/ 94 w 102"/>
                    <a:gd name="T15" fmla="*/ 46 h 150"/>
                    <a:gd name="T16" fmla="*/ 86 w 102"/>
                    <a:gd name="T17" fmla="*/ 32 h 150"/>
                    <a:gd name="T18" fmla="*/ 80 w 102"/>
                    <a:gd name="T19" fmla="*/ 18 h 150"/>
                    <a:gd name="T20" fmla="*/ 70 w 102"/>
                    <a:gd name="T21" fmla="*/ 8 h 150"/>
                    <a:gd name="T22" fmla="*/ 60 w 102"/>
                    <a:gd name="T23" fmla="*/ 2 h 150"/>
                    <a:gd name="T24" fmla="*/ 50 w 102"/>
                    <a:gd name="T25" fmla="*/ 0 h 150"/>
                    <a:gd name="T26" fmla="*/ 50 w 102"/>
                    <a:gd name="T27" fmla="*/ 0 h 150"/>
                    <a:gd name="T28" fmla="*/ 40 w 102"/>
                    <a:gd name="T29" fmla="*/ 2 h 150"/>
                    <a:gd name="T30" fmla="*/ 30 w 102"/>
                    <a:gd name="T31" fmla="*/ 8 h 150"/>
                    <a:gd name="T32" fmla="*/ 22 w 102"/>
                    <a:gd name="T33" fmla="*/ 18 h 150"/>
                    <a:gd name="T34" fmla="*/ 14 w 102"/>
                    <a:gd name="T35" fmla="*/ 32 h 150"/>
                    <a:gd name="T36" fmla="*/ 8 w 102"/>
                    <a:gd name="T37" fmla="*/ 46 h 150"/>
                    <a:gd name="T38" fmla="*/ 4 w 102"/>
                    <a:gd name="T39" fmla="*/ 64 h 150"/>
                    <a:gd name="T40" fmla="*/ 0 w 102"/>
                    <a:gd name="T41" fmla="*/ 84 h 150"/>
                    <a:gd name="T42" fmla="*/ 0 w 102"/>
                    <a:gd name="T43" fmla="*/ 104 h 150"/>
                    <a:gd name="T44" fmla="*/ 0 w 102"/>
                    <a:gd name="T45" fmla="*/ 104 h 150"/>
                    <a:gd name="T46" fmla="*/ 0 w 102"/>
                    <a:gd name="T47" fmla="*/ 128 h 150"/>
                    <a:gd name="T48" fmla="*/ 4 w 102"/>
                    <a:gd name="T49" fmla="*/ 150 h 150"/>
                    <a:gd name="T50" fmla="*/ 96 w 102"/>
                    <a:gd name="T5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50">
                      <a:moveTo>
                        <a:pt x="96" y="150"/>
                      </a:moveTo>
                      <a:lnTo>
                        <a:pt x="96" y="150"/>
                      </a:lnTo>
                      <a:lnTo>
                        <a:pt x="100" y="128"/>
                      </a:lnTo>
                      <a:lnTo>
                        <a:pt x="102" y="104"/>
                      </a:lnTo>
                      <a:lnTo>
                        <a:pt x="102" y="104"/>
                      </a:lnTo>
                      <a:lnTo>
                        <a:pt x="102" y="84"/>
                      </a:lnTo>
                      <a:lnTo>
                        <a:pt x="98" y="64"/>
                      </a:lnTo>
                      <a:lnTo>
                        <a:pt x="94" y="46"/>
                      </a:lnTo>
                      <a:lnTo>
                        <a:pt x="86" y="32"/>
                      </a:lnTo>
                      <a:lnTo>
                        <a:pt x="80" y="18"/>
                      </a:lnTo>
                      <a:lnTo>
                        <a:pt x="70" y="8"/>
                      </a:lnTo>
                      <a:lnTo>
                        <a:pt x="60" y="2"/>
                      </a:lnTo>
                      <a:lnTo>
                        <a:pt x="50" y="0"/>
                      </a:lnTo>
                      <a:lnTo>
                        <a:pt x="50" y="0"/>
                      </a:lnTo>
                      <a:lnTo>
                        <a:pt x="40" y="2"/>
                      </a:lnTo>
                      <a:lnTo>
                        <a:pt x="30" y="8"/>
                      </a:lnTo>
                      <a:lnTo>
                        <a:pt x="22" y="18"/>
                      </a:lnTo>
                      <a:lnTo>
                        <a:pt x="14" y="32"/>
                      </a:lnTo>
                      <a:lnTo>
                        <a:pt x="8" y="46"/>
                      </a:lnTo>
                      <a:lnTo>
                        <a:pt x="4" y="64"/>
                      </a:lnTo>
                      <a:lnTo>
                        <a:pt x="0" y="84"/>
                      </a:lnTo>
                      <a:lnTo>
                        <a:pt x="0" y="104"/>
                      </a:lnTo>
                      <a:lnTo>
                        <a:pt x="0" y="104"/>
                      </a:lnTo>
                      <a:lnTo>
                        <a:pt x="0" y="128"/>
                      </a:lnTo>
                      <a:lnTo>
                        <a:pt x="4" y="150"/>
                      </a:lnTo>
                      <a:lnTo>
                        <a:pt x="96" y="15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27"/>
                <p:cNvSpPr>
                  <a:spLocks/>
                </p:cNvSpPr>
                <p:nvPr userDrawn="1"/>
              </p:nvSpPr>
              <p:spPr bwMode="auto">
                <a:xfrm>
                  <a:off x="8755160" y="278529"/>
                  <a:ext cx="87809" cy="227754"/>
                </a:xfrm>
                <a:custGeom>
                  <a:avLst/>
                  <a:gdLst>
                    <a:gd name="T0" fmla="*/ 16 w 64"/>
                    <a:gd name="T1" fmla="*/ 166 h 166"/>
                    <a:gd name="T2" fmla="*/ 38 w 64"/>
                    <a:gd name="T3" fmla="*/ 166 h 166"/>
                    <a:gd name="T4" fmla="*/ 38 w 64"/>
                    <a:gd name="T5" fmla="*/ 166 h 166"/>
                    <a:gd name="T6" fmla="*/ 36 w 64"/>
                    <a:gd name="T7" fmla="*/ 144 h 166"/>
                    <a:gd name="T8" fmla="*/ 36 w 64"/>
                    <a:gd name="T9" fmla="*/ 120 h 166"/>
                    <a:gd name="T10" fmla="*/ 36 w 64"/>
                    <a:gd name="T11" fmla="*/ 120 h 166"/>
                    <a:gd name="T12" fmla="*/ 38 w 64"/>
                    <a:gd name="T13" fmla="*/ 92 h 166"/>
                    <a:gd name="T14" fmla="*/ 44 w 64"/>
                    <a:gd name="T15" fmla="*/ 66 h 166"/>
                    <a:gd name="T16" fmla="*/ 52 w 64"/>
                    <a:gd name="T17" fmla="*/ 42 h 166"/>
                    <a:gd name="T18" fmla="*/ 58 w 64"/>
                    <a:gd name="T19" fmla="*/ 34 h 166"/>
                    <a:gd name="T20" fmla="*/ 64 w 64"/>
                    <a:gd name="T21" fmla="*/ 26 h 166"/>
                    <a:gd name="T22" fmla="*/ 64 w 64"/>
                    <a:gd name="T23" fmla="*/ 26 h 166"/>
                    <a:gd name="T24" fmla="*/ 56 w 64"/>
                    <a:gd name="T25" fmla="*/ 14 h 166"/>
                    <a:gd name="T26" fmla="*/ 46 w 64"/>
                    <a:gd name="T27" fmla="*/ 6 h 166"/>
                    <a:gd name="T28" fmla="*/ 36 w 64"/>
                    <a:gd name="T29" fmla="*/ 2 h 166"/>
                    <a:gd name="T30" fmla="*/ 26 w 64"/>
                    <a:gd name="T31" fmla="*/ 0 h 166"/>
                    <a:gd name="T32" fmla="*/ 26 w 64"/>
                    <a:gd name="T33" fmla="*/ 0 h 166"/>
                    <a:gd name="T34" fmla="*/ 18 w 64"/>
                    <a:gd name="T35" fmla="*/ 0 h 166"/>
                    <a:gd name="T36" fmla="*/ 12 w 64"/>
                    <a:gd name="T37" fmla="*/ 2 h 166"/>
                    <a:gd name="T38" fmla="*/ 0 w 64"/>
                    <a:gd name="T39" fmla="*/ 12 h 166"/>
                    <a:gd name="T40" fmla="*/ 0 w 64"/>
                    <a:gd name="T41" fmla="*/ 12 h 166"/>
                    <a:gd name="T42" fmla="*/ 10 w 64"/>
                    <a:gd name="T43" fmla="*/ 30 h 166"/>
                    <a:gd name="T44" fmla="*/ 16 w 64"/>
                    <a:gd name="T45" fmla="*/ 54 h 166"/>
                    <a:gd name="T46" fmla="*/ 22 w 64"/>
                    <a:gd name="T47" fmla="*/ 82 h 166"/>
                    <a:gd name="T48" fmla="*/ 24 w 64"/>
                    <a:gd name="T49" fmla="*/ 110 h 166"/>
                    <a:gd name="T50" fmla="*/ 24 w 64"/>
                    <a:gd name="T51" fmla="*/ 110 h 166"/>
                    <a:gd name="T52" fmla="*/ 22 w 64"/>
                    <a:gd name="T53" fmla="*/ 140 h 166"/>
                    <a:gd name="T54" fmla="*/ 16 w 64"/>
                    <a:gd name="T55" fmla="*/ 166 h 166"/>
                    <a:gd name="T56" fmla="*/ 16 w 64"/>
                    <a:gd name="T5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166">
                      <a:moveTo>
                        <a:pt x="16" y="166"/>
                      </a:moveTo>
                      <a:lnTo>
                        <a:pt x="38" y="166"/>
                      </a:lnTo>
                      <a:lnTo>
                        <a:pt x="38" y="166"/>
                      </a:lnTo>
                      <a:lnTo>
                        <a:pt x="36" y="144"/>
                      </a:lnTo>
                      <a:lnTo>
                        <a:pt x="36" y="120"/>
                      </a:lnTo>
                      <a:lnTo>
                        <a:pt x="36" y="120"/>
                      </a:lnTo>
                      <a:lnTo>
                        <a:pt x="38" y="92"/>
                      </a:lnTo>
                      <a:lnTo>
                        <a:pt x="44" y="66"/>
                      </a:lnTo>
                      <a:lnTo>
                        <a:pt x="52" y="42"/>
                      </a:lnTo>
                      <a:lnTo>
                        <a:pt x="58" y="34"/>
                      </a:lnTo>
                      <a:lnTo>
                        <a:pt x="64" y="26"/>
                      </a:lnTo>
                      <a:lnTo>
                        <a:pt x="64" y="26"/>
                      </a:lnTo>
                      <a:lnTo>
                        <a:pt x="56" y="14"/>
                      </a:lnTo>
                      <a:lnTo>
                        <a:pt x="46" y="6"/>
                      </a:lnTo>
                      <a:lnTo>
                        <a:pt x="36" y="2"/>
                      </a:lnTo>
                      <a:lnTo>
                        <a:pt x="26" y="0"/>
                      </a:lnTo>
                      <a:lnTo>
                        <a:pt x="26" y="0"/>
                      </a:lnTo>
                      <a:lnTo>
                        <a:pt x="18" y="0"/>
                      </a:lnTo>
                      <a:lnTo>
                        <a:pt x="12" y="2"/>
                      </a:lnTo>
                      <a:lnTo>
                        <a:pt x="0" y="12"/>
                      </a:lnTo>
                      <a:lnTo>
                        <a:pt x="0" y="12"/>
                      </a:lnTo>
                      <a:lnTo>
                        <a:pt x="10" y="30"/>
                      </a:lnTo>
                      <a:lnTo>
                        <a:pt x="16" y="54"/>
                      </a:lnTo>
                      <a:lnTo>
                        <a:pt x="22" y="82"/>
                      </a:lnTo>
                      <a:lnTo>
                        <a:pt x="24" y="110"/>
                      </a:lnTo>
                      <a:lnTo>
                        <a:pt x="24" y="110"/>
                      </a:lnTo>
                      <a:lnTo>
                        <a:pt x="22" y="140"/>
                      </a:lnTo>
                      <a:lnTo>
                        <a:pt x="16" y="166"/>
                      </a:lnTo>
                      <a:lnTo>
                        <a:pt x="16" y="166"/>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28"/>
                <p:cNvSpPr>
                  <a:spLocks/>
                </p:cNvSpPr>
                <p:nvPr userDrawn="1"/>
              </p:nvSpPr>
              <p:spPr bwMode="auto">
                <a:xfrm>
                  <a:off x="8532895" y="91935"/>
                  <a:ext cx="27440" cy="444531"/>
                </a:xfrm>
                <a:custGeom>
                  <a:avLst/>
                  <a:gdLst>
                    <a:gd name="T0" fmla="*/ 0 w 20"/>
                    <a:gd name="T1" fmla="*/ 10 h 324"/>
                    <a:gd name="T2" fmla="*/ 0 w 20"/>
                    <a:gd name="T3" fmla="*/ 10 h 324"/>
                    <a:gd name="T4" fmla="*/ 0 w 20"/>
                    <a:gd name="T5" fmla="*/ 314 h 324"/>
                    <a:gd name="T6" fmla="*/ 0 w 20"/>
                    <a:gd name="T7" fmla="*/ 314 h 324"/>
                    <a:gd name="T8" fmla="*/ 2 w 20"/>
                    <a:gd name="T9" fmla="*/ 318 h 324"/>
                    <a:gd name="T10" fmla="*/ 4 w 20"/>
                    <a:gd name="T11" fmla="*/ 322 h 324"/>
                    <a:gd name="T12" fmla="*/ 8 w 20"/>
                    <a:gd name="T13" fmla="*/ 322 h 324"/>
                    <a:gd name="T14" fmla="*/ 10 w 20"/>
                    <a:gd name="T15" fmla="*/ 324 h 324"/>
                    <a:gd name="T16" fmla="*/ 14 w 20"/>
                    <a:gd name="T17" fmla="*/ 322 h 324"/>
                    <a:gd name="T18" fmla="*/ 18 w 20"/>
                    <a:gd name="T19" fmla="*/ 322 h 324"/>
                    <a:gd name="T20" fmla="*/ 20 w 20"/>
                    <a:gd name="T21" fmla="*/ 318 h 324"/>
                    <a:gd name="T22" fmla="*/ 20 w 20"/>
                    <a:gd name="T23" fmla="*/ 314 h 324"/>
                    <a:gd name="T24" fmla="*/ 20 w 20"/>
                    <a:gd name="T25" fmla="*/ 314 h 324"/>
                    <a:gd name="T26" fmla="*/ 20 w 20"/>
                    <a:gd name="T27" fmla="*/ 10 h 324"/>
                    <a:gd name="T28" fmla="*/ 20 w 20"/>
                    <a:gd name="T29" fmla="*/ 10 h 324"/>
                    <a:gd name="T30" fmla="*/ 20 w 20"/>
                    <a:gd name="T31" fmla="*/ 6 h 324"/>
                    <a:gd name="T32" fmla="*/ 18 w 20"/>
                    <a:gd name="T33" fmla="*/ 2 h 324"/>
                    <a:gd name="T34" fmla="*/ 14 w 20"/>
                    <a:gd name="T35" fmla="*/ 0 h 324"/>
                    <a:gd name="T36" fmla="*/ 10 w 20"/>
                    <a:gd name="T37" fmla="*/ 0 h 324"/>
                    <a:gd name="T38" fmla="*/ 8 w 20"/>
                    <a:gd name="T39" fmla="*/ 0 h 324"/>
                    <a:gd name="T40" fmla="*/ 4 w 20"/>
                    <a:gd name="T41" fmla="*/ 2 h 324"/>
                    <a:gd name="T42" fmla="*/ 2 w 20"/>
                    <a:gd name="T43" fmla="*/ 6 h 324"/>
                    <a:gd name="T44" fmla="*/ 0 w 20"/>
                    <a:gd name="T45" fmla="*/ 10 h 324"/>
                    <a:gd name="T46" fmla="*/ 0 w 20"/>
                    <a:gd name="T47"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4">
                      <a:moveTo>
                        <a:pt x="0" y="10"/>
                      </a:moveTo>
                      <a:lnTo>
                        <a:pt x="0" y="10"/>
                      </a:lnTo>
                      <a:lnTo>
                        <a:pt x="0" y="314"/>
                      </a:lnTo>
                      <a:lnTo>
                        <a:pt x="0" y="314"/>
                      </a:lnTo>
                      <a:lnTo>
                        <a:pt x="2" y="318"/>
                      </a:lnTo>
                      <a:lnTo>
                        <a:pt x="4" y="322"/>
                      </a:lnTo>
                      <a:lnTo>
                        <a:pt x="8" y="322"/>
                      </a:lnTo>
                      <a:lnTo>
                        <a:pt x="10" y="324"/>
                      </a:lnTo>
                      <a:lnTo>
                        <a:pt x="14" y="322"/>
                      </a:lnTo>
                      <a:lnTo>
                        <a:pt x="18" y="322"/>
                      </a:lnTo>
                      <a:lnTo>
                        <a:pt x="20" y="318"/>
                      </a:lnTo>
                      <a:lnTo>
                        <a:pt x="20" y="314"/>
                      </a:lnTo>
                      <a:lnTo>
                        <a:pt x="20" y="314"/>
                      </a:lnTo>
                      <a:lnTo>
                        <a:pt x="20" y="10"/>
                      </a:lnTo>
                      <a:lnTo>
                        <a:pt x="20" y="10"/>
                      </a:lnTo>
                      <a:lnTo>
                        <a:pt x="20" y="6"/>
                      </a:lnTo>
                      <a:lnTo>
                        <a:pt x="18" y="2"/>
                      </a:lnTo>
                      <a:lnTo>
                        <a:pt x="14" y="0"/>
                      </a:lnTo>
                      <a:lnTo>
                        <a:pt x="10" y="0"/>
                      </a:lnTo>
                      <a:lnTo>
                        <a:pt x="8" y="0"/>
                      </a:lnTo>
                      <a:lnTo>
                        <a:pt x="4" y="2"/>
                      </a:lnTo>
                      <a:lnTo>
                        <a:pt x="2" y="6"/>
                      </a:lnTo>
                      <a:lnTo>
                        <a:pt x="0" y="10"/>
                      </a:lnTo>
                      <a:lnTo>
                        <a:pt x="0" y="1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29"/>
                <p:cNvSpPr>
                  <a:spLocks/>
                </p:cNvSpPr>
                <p:nvPr userDrawn="1"/>
              </p:nvSpPr>
              <p:spPr bwMode="auto">
                <a:xfrm>
                  <a:off x="8535640" y="91935"/>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2 h 20"/>
                    <a:gd name="T12" fmla="*/ 0 w 54"/>
                    <a:gd name="T13" fmla="*/ 6 h 20"/>
                    <a:gd name="T14" fmla="*/ 0 w 54"/>
                    <a:gd name="T15" fmla="*/ 10 h 20"/>
                    <a:gd name="T16" fmla="*/ 0 w 54"/>
                    <a:gd name="T17" fmla="*/ 14 h 20"/>
                    <a:gd name="T18" fmla="*/ 2 w 54"/>
                    <a:gd name="T19" fmla="*/ 16 h 20"/>
                    <a:gd name="T20" fmla="*/ 4 w 54"/>
                    <a:gd name="T21" fmla="*/ 18 h 20"/>
                    <a:gd name="T22" fmla="*/ 8 w 54"/>
                    <a:gd name="T23" fmla="*/ 20 h 20"/>
                    <a:gd name="T24" fmla="*/ 8 w 54"/>
                    <a:gd name="T25" fmla="*/ 20 h 20"/>
                    <a:gd name="T26" fmla="*/ 44 w 54"/>
                    <a:gd name="T27" fmla="*/ 20 h 20"/>
                    <a:gd name="T28" fmla="*/ 44 w 54"/>
                    <a:gd name="T29" fmla="*/ 20 h 20"/>
                    <a:gd name="T30" fmla="*/ 48 w 54"/>
                    <a:gd name="T31" fmla="*/ 18 h 20"/>
                    <a:gd name="T32" fmla="*/ 52 w 54"/>
                    <a:gd name="T33" fmla="*/ 16 h 20"/>
                    <a:gd name="T34" fmla="*/ 54 w 54"/>
                    <a:gd name="T35" fmla="*/ 14 h 20"/>
                    <a:gd name="T36" fmla="*/ 54 w 54"/>
                    <a:gd name="T37" fmla="*/ 10 h 20"/>
                    <a:gd name="T38" fmla="*/ 54 w 54"/>
                    <a:gd name="T39" fmla="*/ 6 h 20"/>
                    <a:gd name="T40" fmla="*/ 52 w 54"/>
                    <a:gd name="T41" fmla="*/ 2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2"/>
                      </a:lnTo>
                      <a:lnTo>
                        <a:pt x="0" y="6"/>
                      </a:lnTo>
                      <a:lnTo>
                        <a:pt x="0" y="10"/>
                      </a:lnTo>
                      <a:lnTo>
                        <a:pt x="0" y="14"/>
                      </a:lnTo>
                      <a:lnTo>
                        <a:pt x="2" y="16"/>
                      </a:lnTo>
                      <a:lnTo>
                        <a:pt x="4" y="18"/>
                      </a:lnTo>
                      <a:lnTo>
                        <a:pt x="8" y="20"/>
                      </a:ln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30"/>
                <p:cNvSpPr>
                  <a:spLocks/>
                </p:cNvSpPr>
                <p:nvPr userDrawn="1"/>
              </p:nvSpPr>
              <p:spPr bwMode="auto">
                <a:xfrm>
                  <a:off x="8535638" y="509027"/>
                  <a:ext cx="74090" cy="27439"/>
                </a:xfrm>
                <a:custGeom>
                  <a:avLst/>
                  <a:gdLst>
                    <a:gd name="T0" fmla="*/ 44 w 54"/>
                    <a:gd name="T1" fmla="*/ 0 h 20"/>
                    <a:gd name="T2" fmla="*/ 44 w 54"/>
                    <a:gd name="T3" fmla="*/ 0 h 20"/>
                    <a:gd name="T4" fmla="*/ 8 w 54"/>
                    <a:gd name="T5" fmla="*/ 0 h 20"/>
                    <a:gd name="T6" fmla="*/ 8 w 54"/>
                    <a:gd name="T7" fmla="*/ 0 h 20"/>
                    <a:gd name="T8" fmla="*/ 4 w 54"/>
                    <a:gd name="T9" fmla="*/ 0 h 20"/>
                    <a:gd name="T10" fmla="*/ 2 w 54"/>
                    <a:gd name="T11" fmla="*/ 4 h 20"/>
                    <a:gd name="T12" fmla="*/ 0 w 54"/>
                    <a:gd name="T13" fmla="*/ 6 h 20"/>
                    <a:gd name="T14" fmla="*/ 0 w 54"/>
                    <a:gd name="T15" fmla="*/ 10 h 20"/>
                    <a:gd name="T16" fmla="*/ 0 w 54"/>
                    <a:gd name="T17" fmla="*/ 14 h 20"/>
                    <a:gd name="T18" fmla="*/ 2 w 54"/>
                    <a:gd name="T19" fmla="*/ 16 h 20"/>
                    <a:gd name="T20" fmla="*/ 4 w 54"/>
                    <a:gd name="T21" fmla="*/ 20 h 20"/>
                    <a:gd name="T22" fmla="*/ 8 w 54"/>
                    <a:gd name="T23" fmla="*/ 20 h 20"/>
                    <a:gd name="T24" fmla="*/ 8 w 54"/>
                    <a:gd name="T25" fmla="*/ 20 h 20"/>
                    <a:gd name="T26" fmla="*/ 44 w 54"/>
                    <a:gd name="T27" fmla="*/ 20 h 20"/>
                    <a:gd name="T28" fmla="*/ 44 w 54"/>
                    <a:gd name="T29" fmla="*/ 20 h 20"/>
                    <a:gd name="T30" fmla="*/ 48 w 54"/>
                    <a:gd name="T31" fmla="*/ 20 h 20"/>
                    <a:gd name="T32" fmla="*/ 52 w 54"/>
                    <a:gd name="T33" fmla="*/ 16 h 20"/>
                    <a:gd name="T34" fmla="*/ 54 w 54"/>
                    <a:gd name="T35" fmla="*/ 14 h 20"/>
                    <a:gd name="T36" fmla="*/ 54 w 54"/>
                    <a:gd name="T37" fmla="*/ 10 h 20"/>
                    <a:gd name="T38" fmla="*/ 54 w 54"/>
                    <a:gd name="T39" fmla="*/ 6 h 20"/>
                    <a:gd name="T40" fmla="*/ 52 w 54"/>
                    <a:gd name="T41" fmla="*/ 4 h 20"/>
                    <a:gd name="T42" fmla="*/ 48 w 54"/>
                    <a:gd name="T43" fmla="*/ 0 h 20"/>
                    <a:gd name="T44" fmla="*/ 44 w 54"/>
                    <a:gd name="T45" fmla="*/ 0 h 20"/>
                    <a:gd name="T46" fmla="*/ 44 w 54"/>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44" y="0"/>
                      </a:moveTo>
                      <a:lnTo>
                        <a:pt x="44" y="0"/>
                      </a:lnTo>
                      <a:lnTo>
                        <a:pt x="8" y="0"/>
                      </a:lnTo>
                      <a:lnTo>
                        <a:pt x="8" y="0"/>
                      </a:lnTo>
                      <a:lnTo>
                        <a:pt x="4" y="0"/>
                      </a:lnTo>
                      <a:lnTo>
                        <a:pt x="2" y="4"/>
                      </a:lnTo>
                      <a:lnTo>
                        <a:pt x="0" y="6"/>
                      </a:lnTo>
                      <a:lnTo>
                        <a:pt x="0" y="10"/>
                      </a:lnTo>
                      <a:lnTo>
                        <a:pt x="0" y="14"/>
                      </a:lnTo>
                      <a:lnTo>
                        <a:pt x="2" y="16"/>
                      </a:lnTo>
                      <a:lnTo>
                        <a:pt x="4" y="20"/>
                      </a:lnTo>
                      <a:lnTo>
                        <a:pt x="8" y="20"/>
                      </a:ln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31"/>
                <p:cNvSpPr>
                  <a:spLocks/>
                </p:cNvSpPr>
                <p:nvPr userDrawn="1"/>
              </p:nvSpPr>
              <p:spPr bwMode="auto">
                <a:xfrm>
                  <a:off x="9010354" y="91935"/>
                  <a:ext cx="27440" cy="441787"/>
                </a:xfrm>
                <a:custGeom>
                  <a:avLst/>
                  <a:gdLst>
                    <a:gd name="T0" fmla="*/ 20 w 20"/>
                    <a:gd name="T1" fmla="*/ 312 h 322"/>
                    <a:gd name="T2" fmla="*/ 20 w 20"/>
                    <a:gd name="T3" fmla="*/ 312 h 322"/>
                    <a:gd name="T4" fmla="*/ 20 w 20"/>
                    <a:gd name="T5" fmla="*/ 10 h 322"/>
                    <a:gd name="T6" fmla="*/ 20 w 20"/>
                    <a:gd name="T7" fmla="*/ 10 h 322"/>
                    <a:gd name="T8" fmla="*/ 20 w 20"/>
                    <a:gd name="T9" fmla="*/ 6 h 322"/>
                    <a:gd name="T10" fmla="*/ 16 w 20"/>
                    <a:gd name="T11" fmla="*/ 2 h 322"/>
                    <a:gd name="T12" fmla="*/ 14 w 20"/>
                    <a:gd name="T13" fmla="*/ 0 h 322"/>
                    <a:gd name="T14" fmla="*/ 10 w 20"/>
                    <a:gd name="T15" fmla="*/ 0 h 322"/>
                    <a:gd name="T16" fmla="*/ 6 w 20"/>
                    <a:gd name="T17" fmla="*/ 0 h 322"/>
                    <a:gd name="T18" fmla="*/ 4 w 20"/>
                    <a:gd name="T19" fmla="*/ 2 h 322"/>
                    <a:gd name="T20" fmla="*/ 0 w 20"/>
                    <a:gd name="T21" fmla="*/ 6 h 322"/>
                    <a:gd name="T22" fmla="*/ 0 w 20"/>
                    <a:gd name="T23" fmla="*/ 10 h 322"/>
                    <a:gd name="T24" fmla="*/ 0 w 20"/>
                    <a:gd name="T25" fmla="*/ 10 h 322"/>
                    <a:gd name="T26" fmla="*/ 0 w 20"/>
                    <a:gd name="T27" fmla="*/ 312 h 322"/>
                    <a:gd name="T28" fmla="*/ 0 w 20"/>
                    <a:gd name="T29" fmla="*/ 312 h 322"/>
                    <a:gd name="T30" fmla="*/ 0 w 20"/>
                    <a:gd name="T31" fmla="*/ 316 h 322"/>
                    <a:gd name="T32" fmla="*/ 4 w 20"/>
                    <a:gd name="T33" fmla="*/ 320 h 322"/>
                    <a:gd name="T34" fmla="*/ 6 w 20"/>
                    <a:gd name="T35" fmla="*/ 322 h 322"/>
                    <a:gd name="T36" fmla="*/ 10 w 20"/>
                    <a:gd name="T37" fmla="*/ 322 h 322"/>
                    <a:gd name="T38" fmla="*/ 14 w 20"/>
                    <a:gd name="T39" fmla="*/ 322 h 322"/>
                    <a:gd name="T40" fmla="*/ 16 w 20"/>
                    <a:gd name="T41" fmla="*/ 320 h 322"/>
                    <a:gd name="T42" fmla="*/ 20 w 20"/>
                    <a:gd name="T43" fmla="*/ 316 h 322"/>
                    <a:gd name="T44" fmla="*/ 20 w 20"/>
                    <a:gd name="T45" fmla="*/ 312 h 322"/>
                    <a:gd name="T46" fmla="*/ 20 w 20"/>
                    <a:gd name="T47" fmla="*/ 31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22">
                      <a:moveTo>
                        <a:pt x="20" y="312"/>
                      </a:moveTo>
                      <a:lnTo>
                        <a:pt x="20" y="312"/>
                      </a:lnTo>
                      <a:lnTo>
                        <a:pt x="20" y="10"/>
                      </a:lnTo>
                      <a:lnTo>
                        <a:pt x="20" y="10"/>
                      </a:lnTo>
                      <a:lnTo>
                        <a:pt x="20" y="6"/>
                      </a:lnTo>
                      <a:lnTo>
                        <a:pt x="16" y="2"/>
                      </a:lnTo>
                      <a:lnTo>
                        <a:pt x="14" y="0"/>
                      </a:lnTo>
                      <a:lnTo>
                        <a:pt x="10" y="0"/>
                      </a:lnTo>
                      <a:lnTo>
                        <a:pt x="6" y="0"/>
                      </a:lnTo>
                      <a:lnTo>
                        <a:pt x="4" y="2"/>
                      </a:lnTo>
                      <a:lnTo>
                        <a:pt x="0" y="6"/>
                      </a:lnTo>
                      <a:lnTo>
                        <a:pt x="0" y="10"/>
                      </a:lnTo>
                      <a:lnTo>
                        <a:pt x="0" y="10"/>
                      </a:lnTo>
                      <a:lnTo>
                        <a:pt x="0" y="312"/>
                      </a:lnTo>
                      <a:lnTo>
                        <a:pt x="0" y="312"/>
                      </a:lnTo>
                      <a:lnTo>
                        <a:pt x="0" y="316"/>
                      </a:lnTo>
                      <a:lnTo>
                        <a:pt x="4" y="320"/>
                      </a:lnTo>
                      <a:lnTo>
                        <a:pt x="6" y="322"/>
                      </a:lnTo>
                      <a:lnTo>
                        <a:pt x="10" y="322"/>
                      </a:lnTo>
                      <a:lnTo>
                        <a:pt x="14" y="322"/>
                      </a:lnTo>
                      <a:lnTo>
                        <a:pt x="16" y="320"/>
                      </a:lnTo>
                      <a:lnTo>
                        <a:pt x="20" y="316"/>
                      </a:lnTo>
                      <a:lnTo>
                        <a:pt x="20" y="312"/>
                      </a:lnTo>
                      <a:lnTo>
                        <a:pt x="20" y="312"/>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2" name="Freeform 32"/>
                <p:cNvSpPr>
                  <a:spLocks/>
                </p:cNvSpPr>
                <p:nvPr userDrawn="1"/>
              </p:nvSpPr>
              <p:spPr bwMode="auto">
                <a:xfrm>
                  <a:off x="8963705" y="506283"/>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20 h 20"/>
                    <a:gd name="T10" fmla="*/ 52 w 54"/>
                    <a:gd name="T11" fmla="*/ 16 h 20"/>
                    <a:gd name="T12" fmla="*/ 54 w 54"/>
                    <a:gd name="T13" fmla="*/ 14 h 20"/>
                    <a:gd name="T14" fmla="*/ 54 w 54"/>
                    <a:gd name="T15" fmla="*/ 10 h 20"/>
                    <a:gd name="T16" fmla="*/ 54 w 54"/>
                    <a:gd name="T17" fmla="*/ 6 h 20"/>
                    <a:gd name="T18" fmla="*/ 52 w 54"/>
                    <a:gd name="T19" fmla="*/ 4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4 h 20"/>
                    <a:gd name="T34" fmla="*/ 0 w 54"/>
                    <a:gd name="T35" fmla="*/ 6 h 20"/>
                    <a:gd name="T36" fmla="*/ 0 w 54"/>
                    <a:gd name="T37" fmla="*/ 10 h 20"/>
                    <a:gd name="T38" fmla="*/ 0 w 54"/>
                    <a:gd name="T39" fmla="*/ 14 h 20"/>
                    <a:gd name="T40" fmla="*/ 2 w 54"/>
                    <a:gd name="T41" fmla="*/ 16 h 20"/>
                    <a:gd name="T42" fmla="*/ 4 w 54"/>
                    <a:gd name="T43" fmla="*/ 20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20"/>
                      </a:lnTo>
                      <a:lnTo>
                        <a:pt x="52" y="16"/>
                      </a:lnTo>
                      <a:lnTo>
                        <a:pt x="54" y="14"/>
                      </a:lnTo>
                      <a:lnTo>
                        <a:pt x="54" y="10"/>
                      </a:lnTo>
                      <a:lnTo>
                        <a:pt x="54" y="6"/>
                      </a:lnTo>
                      <a:lnTo>
                        <a:pt x="52" y="4"/>
                      </a:lnTo>
                      <a:lnTo>
                        <a:pt x="48" y="0"/>
                      </a:lnTo>
                      <a:lnTo>
                        <a:pt x="44" y="0"/>
                      </a:lnTo>
                      <a:lnTo>
                        <a:pt x="44" y="0"/>
                      </a:lnTo>
                      <a:lnTo>
                        <a:pt x="8" y="0"/>
                      </a:lnTo>
                      <a:lnTo>
                        <a:pt x="8" y="0"/>
                      </a:lnTo>
                      <a:lnTo>
                        <a:pt x="4" y="0"/>
                      </a:lnTo>
                      <a:lnTo>
                        <a:pt x="2" y="4"/>
                      </a:lnTo>
                      <a:lnTo>
                        <a:pt x="0" y="6"/>
                      </a:lnTo>
                      <a:lnTo>
                        <a:pt x="0" y="10"/>
                      </a:lnTo>
                      <a:lnTo>
                        <a:pt x="0" y="14"/>
                      </a:lnTo>
                      <a:lnTo>
                        <a:pt x="2" y="16"/>
                      </a:lnTo>
                      <a:lnTo>
                        <a:pt x="4" y="20"/>
                      </a:lnTo>
                      <a:lnTo>
                        <a:pt x="8" y="20"/>
                      </a:lnTo>
                      <a:lnTo>
                        <a:pt x="8" y="2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3" name="Freeform 33"/>
                <p:cNvSpPr>
                  <a:spLocks/>
                </p:cNvSpPr>
                <p:nvPr userDrawn="1"/>
              </p:nvSpPr>
              <p:spPr bwMode="auto">
                <a:xfrm>
                  <a:off x="8963705" y="91935"/>
                  <a:ext cx="74090" cy="27439"/>
                </a:xfrm>
                <a:custGeom>
                  <a:avLst/>
                  <a:gdLst>
                    <a:gd name="T0" fmla="*/ 8 w 54"/>
                    <a:gd name="T1" fmla="*/ 20 h 20"/>
                    <a:gd name="T2" fmla="*/ 8 w 54"/>
                    <a:gd name="T3" fmla="*/ 20 h 20"/>
                    <a:gd name="T4" fmla="*/ 44 w 54"/>
                    <a:gd name="T5" fmla="*/ 20 h 20"/>
                    <a:gd name="T6" fmla="*/ 44 w 54"/>
                    <a:gd name="T7" fmla="*/ 20 h 20"/>
                    <a:gd name="T8" fmla="*/ 48 w 54"/>
                    <a:gd name="T9" fmla="*/ 18 h 20"/>
                    <a:gd name="T10" fmla="*/ 52 w 54"/>
                    <a:gd name="T11" fmla="*/ 16 h 20"/>
                    <a:gd name="T12" fmla="*/ 54 w 54"/>
                    <a:gd name="T13" fmla="*/ 14 h 20"/>
                    <a:gd name="T14" fmla="*/ 54 w 54"/>
                    <a:gd name="T15" fmla="*/ 10 h 20"/>
                    <a:gd name="T16" fmla="*/ 54 w 54"/>
                    <a:gd name="T17" fmla="*/ 6 h 20"/>
                    <a:gd name="T18" fmla="*/ 52 w 54"/>
                    <a:gd name="T19" fmla="*/ 2 h 20"/>
                    <a:gd name="T20" fmla="*/ 48 w 54"/>
                    <a:gd name="T21" fmla="*/ 0 h 20"/>
                    <a:gd name="T22" fmla="*/ 44 w 54"/>
                    <a:gd name="T23" fmla="*/ 0 h 20"/>
                    <a:gd name="T24" fmla="*/ 44 w 54"/>
                    <a:gd name="T25" fmla="*/ 0 h 20"/>
                    <a:gd name="T26" fmla="*/ 8 w 54"/>
                    <a:gd name="T27" fmla="*/ 0 h 20"/>
                    <a:gd name="T28" fmla="*/ 8 w 54"/>
                    <a:gd name="T29" fmla="*/ 0 h 20"/>
                    <a:gd name="T30" fmla="*/ 4 w 54"/>
                    <a:gd name="T31" fmla="*/ 0 h 20"/>
                    <a:gd name="T32" fmla="*/ 2 w 54"/>
                    <a:gd name="T33" fmla="*/ 2 h 20"/>
                    <a:gd name="T34" fmla="*/ 0 w 54"/>
                    <a:gd name="T35" fmla="*/ 6 h 20"/>
                    <a:gd name="T36" fmla="*/ 0 w 54"/>
                    <a:gd name="T37" fmla="*/ 10 h 20"/>
                    <a:gd name="T38" fmla="*/ 0 w 54"/>
                    <a:gd name="T39" fmla="*/ 14 h 20"/>
                    <a:gd name="T40" fmla="*/ 2 w 54"/>
                    <a:gd name="T41" fmla="*/ 16 h 20"/>
                    <a:gd name="T42" fmla="*/ 4 w 54"/>
                    <a:gd name="T43" fmla="*/ 18 h 20"/>
                    <a:gd name="T44" fmla="*/ 8 w 54"/>
                    <a:gd name="T45" fmla="*/ 20 h 20"/>
                    <a:gd name="T46" fmla="*/ 8 w 5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20">
                      <a:moveTo>
                        <a:pt x="8" y="20"/>
                      </a:moveTo>
                      <a:lnTo>
                        <a:pt x="8" y="20"/>
                      </a:lnTo>
                      <a:lnTo>
                        <a:pt x="44" y="20"/>
                      </a:lnTo>
                      <a:lnTo>
                        <a:pt x="44" y="20"/>
                      </a:lnTo>
                      <a:lnTo>
                        <a:pt x="48" y="18"/>
                      </a:lnTo>
                      <a:lnTo>
                        <a:pt x="52" y="16"/>
                      </a:lnTo>
                      <a:lnTo>
                        <a:pt x="54" y="14"/>
                      </a:lnTo>
                      <a:lnTo>
                        <a:pt x="54" y="10"/>
                      </a:lnTo>
                      <a:lnTo>
                        <a:pt x="54" y="6"/>
                      </a:lnTo>
                      <a:lnTo>
                        <a:pt x="52" y="2"/>
                      </a:lnTo>
                      <a:lnTo>
                        <a:pt x="48" y="0"/>
                      </a:lnTo>
                      <a:lnTo>
                        <a:pt x="44" y="0"/>
                      </a:lnTo>
                      <a:lnTo>
                        <a:pt x="44" y="0"/>
                      </a:lnTo>
                      <a:lnTo>
                        <a:pt x="8" y="0"/>
                      </a:lnTo>
                      <a:lnTo>
                        <a:pt x="8" y="0"/>
                      </a:lnTo>
                      <a:lnTo>
                        <a:pt x="4" y="0"/>
                      </a:lnTo>
                      <a:lnTo>
                        <a:pt x="2" y="2"/>
                      </a:lnTo>
                      <a:lnTo>
                        <a:pt x="0" y="6"/>
                      </a:lnTo>
                      <a:lnTo>
                        <a:pt x="0" y="10"/>
                      </a:lnTo>
                      <a:lnTo>
                        <a:pt x="0" y="14"/>
                      </a:lnTo>
                      <a:lnTo>
                        <a:pt x="2" y="16"/>
                      </a:lnTo>
                      <a:lnTo>
                        <a:pt x="4" y="18"/>
                      </a:lnTo>
                      <a:lnTo>
                        <a:pt x="8" y="20"/>
                      </a:lnTo>
                      <a:lnTo>
                        <a:pt x="8" y="20"/>
                      </a:lnTo>
                      <a:close/>
                    </a:path>
                  </a:pathLst>
                </a:custGeom>
                <a:solidFill>
                  <a:srgbClr val="E5A91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grpSp>
        <p:sp>
          <p:nvSpPr>
            <p:cNvPr id="17" name="TextBox 27"/>
            <p:cNvSpPr txBox="1"/>
            <p:nvPr userDrawn="1"/>
          </p:nvSpPr>
          <p:spPr>
            <a:xfrm rot="16200000">
              <a:off x="10888482" y="237391"/>
              <a:ext cx="269659" cy="72461"/>
            </a:xfrm>
            <a:prstGeom prst="rect">
              <a:avLst/>
            </a:prstGeom>
            <a:noFill/>
          </p:spPr>
          <p:txBody>
            <a:bodyPr wrap="square" lIns="0" tIns="0" rIns="0" bIns="10800" rtlCol="0">
              <a:spAutoFit/>
            </a:bodyPr>
            <a:lstStyle/>
            <a:p>
              <a:pPr algn="ctr"/>
              <a:r>
                <a:rPr lang="en-GB" sz="400">
                  <a:solidFill>
                    <a:srgbClr val="7F7F7F"/>
                  </a:solidFill>
                </a:rPr>
                <a:t>Confidential</a:t>
              </a:r>
            </a:p>
          </p:txBody>
        </p:sp>
      </p:grpSp>
    </p:spTree>
    <p:extLst>
      <p:ext uri="{BB962C8B-B14F-4D97-AF65-F5344CB8AC3E}">
        <p14:creationId xmlns:p14="http://schemas.microsoft.com/office/powerpoint/2010/main" val="96069425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2_New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B73A963-A0AE-DB40-B2DD-9F86005EC5B2}"/>
              </a:ext>
            </a:extLst>
          </p:cNvPr>
          <p:cNvPicPr>
            <a:picLocks noChangeAspect="1"/>
          </p:cNvPicPr>
          <p:nvPr userDrawn="1"/>
        </p:nvPicPr>
        <p:blipFill>
          <a:blip r:embed="rId2"/>
          <a:stretch>
            <a:fillRect/>
          </a:stretch>
        </p:blipFill>
        <p:spPr>
          <a:xfrm>
            <a:off x="291734" y="94551"/>
            <a:ext cx="352410" cy="352410"/>
          </a:xfrm>
          <a:prstGeom prst="ellipse">
            <a:avLst/>
          </a:prstGeom>
          <a:ln w="12700">
            <a:solidFill>
              <a:srgbClr val="FFFFFF"/>
            </a:solidFill>
          </a:ln>
        </p:spPr>
      </p:pic>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3"/>
          <a:stretch>
            <a:fillRect/>
          </a:stretch>
        </p:blipFill>
        <p:spPr>
          <a:xfrm>
            <a:off x="11279130" y="92675"/>
            <a:ext cx="599163" cy="80045"/>
          </a:xfrm>
          <a:prstGeom prst="rect">
            <a:avLst/>
          </a:prstGeom>
        </p:spPr>
      </p:pic>
      <p:sp>
        <p:nvSpPr>
          <p:cNvPr id="7" name="Text Placeholder 6">
            <a:extLst>
              <a:ext uri="{FF2B5EF4-FFF2-40B4-BE49-F238E27FC236}">
                <a16:creationId xmlns:a16="http://schemas.microsoft.com/office/drawing/2014/main" id="{86E3A227-8179-C94F-AB6F-20797755A775}"/>
              </a:ext>
            </a:extLst>
          </p:cNvPr>
          <p:cNvSpPr>
            <a:spLocks noGrp="1"/>
          </p:cNvSpPr>
          <p:nvPr>
            <p:ph type="body" sz="quarter" idx="10" hasCustomPrompt="1"/>
          </p:nvPr>
        </p:nvSpPr>
        <p:spPr>
          <a:xfrm>
            <a:off x="-7951" y="279117"/>
            <a:ext cx="12199951" cy="231430"/>
          </a:xfrm>
          <a:prstGeom prst="rect">
            <a:avLst/>
          </a:prstGeom>
        </p:spPr>
        <p:txBody>
          <a:bodyPr>
            <a:normAutofit/>
          </a:bodyPr>
          <a:lstStyle>
            <a:lvl1pPr marL="630000" marR="0" indent="0" algn="l" defTabSz="914400" rtl="0" eaLnBrk="1" fontAlgn="auto" latinLnBrk="0" hangingPunct="1">
              <a:lnSpc>
                <a:spcPct val="100000"/>
              </a:lnSpc>
              <a:spcBef>
                <a:spcPts val="0"/>
              </a:spcBef>
              <a:spcAft>
                <a:spcPts val="0"/>
              </a:spcAft>
              <a:buClrTx/>
              <a:buSzTx/>
              <a:buFontTx/>
              <a:buNone/>
              <a:tabLst/>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A5A5C"/>
                </a:solidFill>
                <a:effectLst/>
                <a:uLnTx/>
                <a:uFillTx/>
                <a:latin typeface="Gibson Light"/>
                <a:ea typeface="+mn-ea"/>
                <a:cs typeface="+mn-cs"/>
              </a:rPr>
              <a:t>Chapter name</a:t>
            </a:r>
          </a:p>
        </p:txBody>
      </p:sp>
    </p:spTree>
    <p:extLst>
      <p:ext uri="{BB962C8B-B14F-4D97-AF65-F5344CB8AC3E}">
        <p14:creationId xmlns:p14="http://schemas.microsoft.com/office/powerpoint/2010/main" val="3972119610"/>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titleOnly">
  <p:cSld name="SECTION HEADER: Title and NO photo">
    <p:spTree>
      <p:nvGrpSpPr>
        <p:cNvPr id="1" name=""/>
        <p:cNvGrpSpPr/>
        <p:nvPr/>
      </p:nvGrpSpPr>
      <p:grpSpPr>
        <a:xfrm>
          <a:off x="0" y="0"/>
          <a:ext cx="0" cy="0"/>
          <a:chOff x="0" y="0"/>
          <a:chExt cx="0" cy="0"/>
        </a:xfrm>
      </p:grpSpPr>
      <p:sp>
        <p:nvSpPr>
          <p:cNvPr id="2" name="Title 1"/>
          <p:cNvSpPr>
            <a:spLocks noGrp="1"/>
          </p:cNvSpPr>
          <p:nvPr>
            <p:ph type="title"/>
          </p:nvPr>
        </p:nvSpPr>
        <p:spPr>
          <a:xfrm>
            <a:off x="608269" y="2129828"/>
            <a:ext cx="10987530" cy="2598344"/>
          </a:xfrm>
          <a:prstGeom prst="rect">
            <a:avLst/>
          </a:prstGeom>
        </p:spPr>
        <p:txBody>
          <a:bodyPr>
            <a:normAutofit/>
          </a:bodyPr>
          <a:lstStyle>
            <a:lvl1pPr algn="ctr">
              <a:defRPr sz="4800" b="0" i="0">
                <a:solidFill>
                  <a:srgbClr val="005EB8"/>
                </a:solidFill>
                <a:latin typeface="Gibson Light" panose="02000000000000000000" pitchFamily="2" charset="77"/>
              </a:defRPr>
            </a:lvl1pPr>
          </a:lstStyle>
          <a:p>
            <a:r>
              <a:rPr lang="en-US"/>
              <a:t>Click to edit Master title style</a:t>
            </a:r>
          </a:p>
        </p:txBody>
      </p:sp>
      <p:sp>
        <p:nvSpPr>
          <p:cNvPr id="10" name="Footer Placeholder 4">
            <a:extLst>
              <a:ext uri="{FF2B5EF4-FFF2-40B4-BE49-F238E27FC236}">
                <a16:creationId xmlns:a16="http://schemas.microsoft.com/office/drawing/2014/main" id="{72D2D5C8-58AD-674C-9B54-ECF1D5A46F0E}"/>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Tree>
    <p:extLst>
      <p:ext uri="{BB962C8B-B14F-4D97-AF65-F5344CB8AC3E}">
        <p14:creationId xmlns:p14="http://schemas.microsoft.com/office/powerpoint/2010/main" val="10569387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Picture as Background">
    <p:bg>
      <p:bgPr>
        <a:pattFill prst="lgGrid">
          <a:fgClr>
            <a:schemeClr val="tx1"/>
          </a:fgClr>
          <a:bgClr>
            <a:schemeClr val="tx1">
              <a:lumMod val="7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905841"/>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1_Bullets slide">
    <p:spTree>
      <p:nvGrpSpPr>
        <p:cNvPr id="1" name=""/>
        <p:cNvGrpSpPr/>
        <p:nvPr/>
      </p:nvGrpSpPr>
      <p:grpSpPr>
        <a:xfrm>
          <a:off x="0" y="0"/>
          <a:ext cx="0" cy="0"/>
          <a:chOff x="0" y="0"/>
          <a:chExt cx="0" cy="0"/>
        </a:xfrm>
      </p:grpSpPr>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b="0" i="0">
                <a:solidFill>
                  <a:schemeClr val="bg1">
                    <a:lumMod val="50000"/>
                  </a:schemeClr>
                </a:solidFill>
                <a:latin typeface="Calibri Light" panose="020F0302020204030204" pitchFamily="34" charset="0"/>
              </a:defRPr>
            </a:lvl1pPr>
          </a:lstStyle>
          <a:p>
            <a:fld id="{E57627FB-D816-4EA7-98E3-793F2D9BC93A}" type="slidenum">
              <a:rPr lang="en-US" smtClean="0"/>
              <a:pPr/>
              <a:t>‹#›</a:t>
            </a:fld>
            <a:endParaRPr lang="en-US"/>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b="0" i="0">
                <a:solidFill>
                  <a:schemeClr val="bg1">
                    <a:lumMod val="65000"/>
                  </a:schemeClr>
                </a:solidFill>
                <a:latin typeface="Calibri Light" panose="020F0302020204030204" pitchFamily="34" charset="0"/>
              </a:defRPr>
            </a:lvl1pPr>
          </a:lstStyle>
          <a:p>
            <a:r>
              <a:rPr lang="en-US"/>
              <a:t>©Amadeus North America, Inc.</a:t>
            </a:r>
          </a:p>
        </p:txBody>
      </p:sp>
      <p:sp>
        <p:nvSpPr>
          <p:cNvPr id="11" name="Title 1"/>
          <p:cNvSpPr>
            <a:spLocks noGrp="1"/>
          </p:cNvSpPr>
          <p:nvPr>
            <p:ph type="title"/>
          </p:nvPr>
        </p:nvSpPr>
        <p:spPr>
          <a:xfrm>
            <a:off x="268224" y="296865"/>
            <a:ext cx="11253216" cy="482549"/>
          </a:xfrm>
        </p:spPr>
        <p:txBody>
          <a:bodyPr anchor="t">
            <a:noAutofit/>
          </a:bodyPr>
          <a:lstStyle>
            <a:lvl1pPr>
              <a:defRPr sz="3200" b="0" i="0">
                <a:solidFill>
                  <a:srgbClr val="005EB8"/>
                </a:solidFill>
                <a:latin typeface="Calibri Light" panose="020F0302020204030204" pitchFamily="34" charset="0"/>
              </a:defRPr>
            </a:lvl1pPr>
          </a:lstStyle>
          <a:p>
            <a:r>
              <a:rPr lang="en-US" noProof="0"/>
              <a:t>Click to edit Master title style</a:t>
            </a:r>
          </a:p>
        </p:txBody>
      </p:sp>
      <p:sp>
        <p:nvSpPr>
          <p:cNvPr id="15" name="Text Placeholder 19"/>
          <p:cNvSpPr>
            <a:spLocks noGrp="1"/>
          </p:cNvSpPr>
          <p:nvPr>
            <p:ph type="body" sz="quarter" idx="13"/>
          </p:nvPr>
        </p:nvSpPr>
        <p:spPr>
          <a:xfrm>
            <a:off x="268224" y="779412"/>
            <a:ext cx="11228613" cy="468000"/>
          </a:xfrm>
          <a:prstGeom prst="rect">
            <a:avLst/>
          </a:prstGeom>
        </p:spPr>
        <p:txBody>
          <a:bodyPr>
            <a:noAutofit/>
          </a:bodyPr>
          <a:lstStyle>
            <a:lvl1pPr marL="0" indent="0">
              <a:lnSpc>
                <a:spcPct val="100000"/>
              </a:lnSpc>
              <a:buNone/>
              <a:defRPr sz="2400" b="0" i="0">
                <a:solidFill>
                  <a:srgbClr val="7F7F7F"/>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56844365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3116C7-3E6E-440B-9574-6BFC83403C7E}"/>
              </a:ext>
            </a:extLst>
          </p:cNvPr>
          <p:cNvGraphicFramePr>
            <a:graphicFrameLocks noChangeAspect="1"/>
          </p:cNvGraphicFramePr>
          <p:nvPr userDrawn="1">
            <p:custDataLst>
              <p:tags r:id="rId1"/>
            </p:custDataLst>
            <p:extLst>
              <p:ext uri="{D42A27DB-BD31-4B8C-83A1-F6EECF244321}">
                <p14:modId xmlns:p14="http://schemas.microsoft.com/office/powerpoint/2010/main" val="702926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B73116C7-3E6E-440B-9574-6BFC83403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75268-9740-4465-83B0-0925B3629E8C}"/>
              </a:ext>
            </a:extLst>
          </p:cNvPr>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1355DFD9-BC7A-4816-98BA-04EBB89076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C83B9B08-5784-47C7-90D0-C644E9224087}"/>
              </a:ext>
            </a:extLst>
          </p:cNvPr>
          <p:cNvSpPr>
            <a:spLocks noGrp="1"/>
          </p:cNvSpPr>
          <p:nvPr>
            <p:ph type="dt" sz="half" idx="10"/>
          </p:nvPr>
        </p:nvSpPr>
        <p:spPr/>
        <p:txBody>
          <a:bodyPr/>
          <a:lstStyle/>
          <a:p>
            <a:fld id="{F03BF3E0-A168-40A1-87ED-5C0066BA3D65}" type="datetimeFigureOut">
              <a:rPr lang="it-IT" smtClean="0"/>
              <a:t>23/09/2023</a:t>
            </a:fld>
            <a:endParaRPr lang="it-IT"/>
          </a:p>
        </p:txBody>
      </p:sp>
      <p:sp>
        <p:nvSpPr>
          <p:cNvPr id="5" name="Footer Placeholder 4">
            <a:extLst>
              <a:ext uri="{FF2B5EF4-FFF2-40B4-BE49-F238E27FC236}">
                <a16:creationId xmlns:a16="http://schemas.microsoft.com/office/drawing/2014/main" id="{50BD67C4-DADC-46DC-B1A4-15BB35AEC020}"/>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D5F01F18-324F-4AA2-A918-0BBEA2C09EF3}"/>
              </a:ext>
            </a:extLst>
          </p:cNvPr>
          <p:cNvSpPr>
            <a:spLocks noGrp="1"/>
          </p:cNvSpPr>
          <p:nvPr>
            <p:ph type="sldNum" sz="quarter" idx="12"/>
          </p:nvPr>
        </p:nvSpPr>
        <p:spPr/>
        <p:txBody>
          <a:bodyPr/>
          <a:lstStyle/>
          <a:p>
            <a:fld id="{6B9DCEFB-EB5A-4D46-91B5-9CA07B7B2BB9}" type="slidenum">
              <a:rPr lang="it-IT" smtClean="0"/>
              <a:t>‹#›</a:t>
            </a:fld>
            <a:endParaRPr lang="it-IT"/>
          </a:p>
        </p:txBody>
      </p:sp>
    </p:spTree>
    <p:extLst>
      <p:ext uri="{BB962C8B-B14F-4D97-AF65-F5344CB8AC3E}">
        <p14:creationId xmlns:p14="http://schemas.microsoft.com/office/powerpoint/2010/main" val="170335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rd + 2nd Level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8" name="Content Placeholder 47">
            <a:extLst>
              <a:ext uri="{FF2B5EF4-FFF2-40B4-BE49-F238E27FC236}">
                <a16:creationId xmlns:a16="http://schemas.microsoft.com/office/drawing/2014/main" id="{1EC77333-18D9-854B-864A-44457DB73687}"/>
              </a:ext>
            </a:extLst>
          </p:cNvPr>
          <p:cNvSpPr>
            <a:spLocks noGrp="1"/>
          </p:cNvSpPr>
          <p:nvPr>
            <p:ph sz="quarter" idx="41" hasCustomPrompt="1"/>
          </p:nvPr>
        </p:nvSpPr>
        <p:spPr>
          <a:xfrm>
            <a:off x="830765" y="534058"/>
            <a:ext cx="1324402" cy="246221"/>
          </a:xfrm>
          <a:prstGeom prst="rect">
            <a:avLst/>
          </a:prstGeom>
        </p:spPr>
        <p:txBody>
          <a:bodyPr wrap="none">
            <a:spAutoFit/>
          </a:bodyPr>
          <a:lstStyle>
            <a:lvl1pPr marL="0" indent="0" algn="l">
              <a:lnSpc>
                <a:spcPct val="100000"/>
              </a:lnSpc>
              <a:buNone/>
              <a:defRPr sz="1000" b="0" i="0">
                <a:solidFill>
                  <a:schemeClr val="tx2"/>
                </a:solidFill>
                <a:latin typeface="Gibson" panose="02000000000000000000" pitchFamily="2" charset="77"/>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Simple subtitle name</a:t>
            </a:r>
            <a:endParaRPr lang="en-DE"/>
          </a:p>
        </p:txBody>
      </p:sp>
      <p:pic>
        <p:nvPicPr>
          <p:cNvPr id="40" name="Picture 39">
            <a:extLst>
              <a:ext uri="{FF2B5EF4-FFF2-40B4-BE49-F238E27FC236}">
                <a16:creationId xmlns:a16="http://schemas.microsoft.com/office/drawing/2014/main" id="{903D0692-3AB2-334B-9A25-08B1C11FF85E}"/>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
        <p:nvSpPr>
          <p:cNvPr id="8" name="Content Placeholder 47">
            <a:extLst>
              <a:ext uri="{FF2B5EF4-FFF2-40B4-BE49-F238E27FC236}">
                <a16:creationId xmlns:a16="http://schemas.microsoft.com/office/drawing/2014/main" id="{0DA10B20-2E0A-F34D-8FF8-FAB3AAFA38CE}"/>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29230372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ndard + Counter + Tab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8" name="Content Placeholder 47">
            <a:extLst>
              <a:ext uri="{FF2B5EF4-FFF2-40B4-BE49-F238E27FC236}">
                <a16:creationId xmlns:a16="http://schemas.microsoft.com/office/drawing/2014/main" id="{B9D740D1-6225-4041-AF69-09E67C362A01}"/>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55" name="Text Placeholder 54">
            <a:extLst>
              <a:ext uri="{FF2B5EF4-FFF2-40B4-BE49-F238E27FC236}">
                <a16:creationId xmlns:a16="http://schemas.microsoft.com/office/drawing/2014/main" id="{C940484B-2E7E-7449-BC8C-F76D68BFC524}"/>
              </a:ext>
            </a:extLst>
          </p:cNvPr>
          <p:cNvSpPr>
            <a:spLocks noGrp="1"/>
          </p:cNvSpPr>
          <p:nvPr>
            <p:ph type="body" sz="quarter" idx="23" hasCustomPrompt="1"/>
          </p:nvPr>
        </p:nvSpPr>
        <p:spPr>
          <a:xfrm>
            <a:off x="85057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7" name="Text Placeholder 54">
            <a:extLst>
              <a:ext uri="{FF2B5EF4-FFF2-40B4-BE49-F238E27FC236}">
                <a16:creationId xmlns:a16="http://schemas.microsoft.com/office/drawing/2014/main" id="{6AC61B7C-2858-404A-A031-EDCBC9489766}"/>
              </a:ext>
            </a:extLst>
          </p:cNvPr>
          <p:cNvSpPr>
            <a:spLocks noGrp="1"/>
          </p:cNvSpPr>
          <p:nvPr>
            <p:ph type="body" sz="quarter" idx="24" hasCustomPrompt="1"/>
          </p:nvPr>
        </p:nvSpPr>
        <p:spPr>
          <a:xfrm>
            <a:off x="108796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8" name="Text Placeholder 54">
            <a:extLst>
              <a:ext uri="{FF2B5EF4-FFF2-40B4-BE49-F238E27FC236}">
                <a16:creationId xmlns:a16="http://schemas.microsoft.com/office/drawing/2014/main" id="{2E0B083B-A215-9F4E-B104-4B0BAD33F1E7}"/>
              </a:ext>
            </a:extLst>
          </p:cNvPr>
          <p:cNvSpPr>
            <a:spLocks noGrp="1"/>
          </p:cNvSpPr>
          <p:nvPr>
            <p:ph type="body" sz="quarter" idx="25" hasCustomPrompt="1"/>
          </p:nvPr>
        </p:nvSpPr>
        <p:spPr>
          <a:xfrm>
            <a:off x="132535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59" name="Text Placeholder 54">
            <a:extLst>
              <a:ext uri="{FF2B5EF4-FFF2-40B4-BE49-F238E27FC236}">
                <a16:creationId xmlns:a16="http://schemas.microsoft.com/office/drawing/2014/main" id="{2407AC69-7EEE-FC45-9E97-AC434C3CBC23}"/>
              </a:ext>
            </a:extLst>
          </p:cNvPr>
          <p:cNvSpPr>
            <a:spLocks noGrp="1"/>
          </p:cNvSpPr>
          <p:nvPr>
            <p:ph type="body" sz="quarter" idx="26" hasCustomPrompt="1"/>
          </p:nvPr>
        </p:nvSpPr>
        <p:spPr>
          <a:xfrm>
            <a:off x="156275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0" name="Text Placeholder 54">
            <a:extLst>
              <a:ext uri="{FF2B5EF4-FFF2-40B4-BE49-F238E27FC236}">
                <a16:creationId xmlns:a16="http://schemas.microsoft.com/office/drawing/2014/main" id="{015FBA86-74BD-EC4E-8512-AF14A14663D5}"/>
              </a:ext>
            </a:extLst>
          </p:cNvPr>
          <p:cNvSpPr>
            <a:spLocks noGrp="1"/>
          </p:cNvSpPr>
          <p:nvPr>
            <p:ph type="body" sz="quarter" idx="27" hasCustomPrompt="1"/>
          </p:nvPr>
        </p:nvSpPr>
        <p:spPr>
          <a:xfrm>
            <a:off x="1800142"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1" name="Text Placeholder 54">
            <a:extLst>
              <a:ext uri="{FF2B5EF4-FFF2-40B4-BE49-F238E27FC236}">
                <a16:creationId xmlns:a16="http://schemas.microsoft.com/office/drawing/2014/main" id="{45FBE10D-3462-BA4F-B23C-91411E7F0297}"/>
              </a:ext>
            </a:extLst>
          </p:cNvPr>
          <p:cNvSpPr>
            <a:spLocks noGrp="1"/>
          </p:cNvSpPr>
          <p:nvPr>
            <p:ph type="body" sz="quarter" idx="28" hasCustomPrompt="1"/>
          </p:nvPr>
        </p:nvSpPr>
        <p:spPr>
          <a:xfrm>
            <a:off x="2037534"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2" name="Text Placeholder 54">
            <a:extLst>
              <a:ext uri="{FF2B5EF4-FFF2-40B4-BE49-F238E27FC236}">
                <a16:creationId xmlns:a16="http://schemas.microsoft.com/office/drawing/2014/main" id="{F510E3AE-2280-3048-A469-54A9E78E1B71}"/>
              </a:ext>
            </a:extLst>
          </p:cNvPr>
          <p:cNvSpPr>
            <a:spLocks noGrp="1"/>
          </p:cNvSpPr>
          <p:nvPr>
            <p:ph type="body" sz="quarter" idx="29" hasCustomPrompt="1"/>
          </p:nvPr>
        </p:nvSpPr>
        <p:spPr>
          <a:xfrm>
            <a:off x="2274926"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3" name="Text Placeholder 54">
            <a:extLst>
              <a:ext uri="{FF2B5EF4-FFF2-40B4-BE49-F238E27FC236}">
                <a16:creationId xmlns:a16="http://schemas.microsoft.com/office/drawing/2014/main" id="{B33CD1F5-AB8D-F245-BF53-C79F4CC901DC}"/>
              </a:ext>
            </a:extLst>
          </p:cNvPr>
          <p:cNvSpPr>
            <a:spLocks noGrp="1"/>
          </p:cNvSpPr>
          <p:nvPr>
            <p:ph type="body" sz="quarter" idx="30" hasCustomPrompt="1"/>
          </p:nvPr>
        </p:nvSpPr>
        <p:spPr>
          <a:xfrm>
            <a:off x="2512318"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64" name="Text Placeholder 54">
            <a:extLst>
              <a:ext uri="{FF2B5EF4-FFF2-40B4-BE49-F238E27FC236}">
                <a16:creationId xmlns:a16="http://schemas.microsoft.com/office/drawing/2014/main" id="{D47B7D56-4BC3-854F-B785-FF23644E5E99}"/>
              </a:ext>
            </a:extLst>
          </p:cNvPr>
          <p:cNvSpPr>
            <a:spLocks noGrp="1"/>
          </p:cNvSpPr>
          <p:nvPr>
            <p:ph type="body" sz="quarter" idx="31" hasCustomPrompt="1"/>
          </p:nvPr>
        </p:nvSpPr>
        <p:spPr>
          <a:xfrm>
            <a:off x="2749710" y="549657"/>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1" name="Half-frame 20">
            <a:extLst>
              <a:ext uri="{FF2B5EF4-FFF2-40B4-BE49-F238E27FC236}">
                <a16:creationId xmlns:a16="http://schemas.microsoft.com/office/drawing/2014/main" id="{318E4B5A-E4CE-B546-A238-D7FE92B244F7}"/>
              </a:ext>
            </a:extLst>
          </p:cNvPr>
          <p:cNvSpPr/>
          <p:nvPr userDrawn="1"/>
        </p:nvSpPr>
        <p:spPr>
          <a:xfrm rot="16200000">
            <a:off x="902017" y="845199"/>
            <a:ext cx="146063" cy="50540"/>
          </a:xfrm>
          <a:prstGeom prst="halfFrame">
            <a:avLst>
              <a:gd name="adj1" fmla="val 0"/>
              <a:gd name="adj2" fmla="val 0"/>
            </a:avLst>
          </a:prstGeom>
          <a:solidFill>
            <a:srgbClr val="E5E5E5"/>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6" name="Text Placeholder 5">
            <a:extLst>
              <a:ext uri="{FF2B5EF4-FFF2-40B4-BE49-F238E27FC236}">
                <a16:creationId xmlns:a16="http://schemas.microsoft.com/office/drawing/2014/main" id="{B4C19D70-198F-4648-A3B4-BF86527B8933}"/>
              </a:ext>
            </a:extLst>
          </p:cNvPr>
          <p:cNvSpPr>
            <a:spLocks noGrp="1"/>
          </p:cNvSpPr>
          <p:nvPr>
            <p:ph type="body" sz="quarter" idx="32" hasCustomPrompt="1"/>
          </p:nvPr>
        </p:nvSpPr>
        <p:spPr>
          <a:xfrm>
            <a:off x="1028959"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4" name="Text Placeholder 5">
            <a:extLst>
              <a:ext uri="{FF2B5EF4-FFF2-40B4-BE49-F238E27FC236}">
                <a16:creationId xmlns:a16="http://schemas.microsoft.com/office/drawing/2014/main" id="{F0D50176-AD9F-B643-BC3A-6119AFCF8871}"/>
              </a:ext>
            </a:extLst>
          </p:cNvPr>
          <p:cNvSpPr>
            <a:spLocks noGrp="1"/>
          </p:cNvSpPr>
          <p:nvPr>
            <p:ph type="body" sz="quarter" idx="33" hasCustomPrompt="1"/>
          </p:nvPr>
        </p:nvSpPr>
        <p:spPr>
          <a:xfrm>
            <a:off x="2172570"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5" name="Text Placeholder 5">
            <a:extLst>
              <a:ext uri="{FF2B5EF4-FFF2-40B4-BE49-F238E27FC236}">
                <a16:creationId xmlns:a16="http://schemas.microsoft.com/office/drawing/2014/main" id="{135B0E95-D0FD-AB44-8C88-EA46BBF566D2}"/>
              </a:ext>
            </a:extLst>
          </p:cNvPr>
          <p:cNvSpPr>
            <a:spLocks noGrp="1"/>
          </p:cNvSpPr>
          <p:nvPr>
            <p:ph type="body" sz="quarter" idx="34" hasCustomPrompt="1"/>
          </p:nvPr>
        </p:nvSpPr>
        <p:spPr>
          <a:xfrm>
            <a:off x="3316181"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7" name="Text Placeholder 5">
            <a:extLst>
              <a:ext uri="{FF2B5EF4-FFF2-40B4-BE49-F238E27FC236}">
                <a16:creationId xmlns:a16="http://schemas.microsoft.com/office/drawing/2014/main" id="{CC61FDC7-B551-F14E-A8B0-9B5B4F13B21A}"/>
              </a:ext>
            </a:extLst>
          </p:cNvPr>
          <p:cNvSpPr>
            <a:spLocks noGrp="1"/>
          </p:cNvSpPr>
          <p:nvPr>
            <p:ph type="body" sz="quarter" idx="35" hasCustomPrompt="1"/>
          </p:nvPr>
        </p:nvSpPr>
        <p:spPr>
          <a:xfrm>
            <a:off x="4459792"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8" name="Text Placeholder 5">
            <a:extLst>
              <a:ext uri="{FF2B5EF4-FFF2-40B4-BE49-F238E27FC236}">
                <a16:creationId xmlns:a16="http://schemas.microsoft.com/office/drawing/2014/main" id="{7D5FD6A5-E7BD-7549-8347-5D8A0EB546D3}"/>
              </a:ext>
            </a:extLst>
          </p:cNvPr>
          <p:cNvSpPr>
            <a:spLocks noGrp="1"/>
          </p:cNvSpPr>
          <p:nvPr>
            <p:ph type="body" sz="quarter" idx="36" hasCustomPrompt="1"/>
          </p:nvPr>
        </p:nvSpPr>
        <p:spPr>
          <a:xfrm>
            <a:off x="5603403"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9" name="Text Placeholder 5">
            <a:extLst>
              <a:ext uri="{FF2B5EF4-FFF2-40B4-BE49-F238E27FC236}">
                <a16:creationId xmlns:a16="http://schemas.microsoft.com/office/drawing/2014/main" id="{81DEB37A-E7C3-EE40-91BF-04D710468B9F}"/>
              </a:ext>
            </a:extLst>
          </p:cNvPr>
          <p:cNvSpPr>
            <a:spLocks noGrp="1"/>
          </p:cNvSpPr>
          <p:nvPr>
            <p:ph type="body" sz="quarter" idx="37" hasCustomPrompt="1"/>
          </p:nvPr>
        </p:nvSpPr>
        <p:spPr>
          <a:xfrm>
            <a:off x="6747014"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30" name="Text Placeholder 5">
            <a:extLst>
              <a:ext uri="{FF2B5EF4-FFF2-40B4-BE49-F238E27FC236}">
                <a16:creationId xmlns:a16="http://schemas.microsoft.com/office/drawing/2014/main" id="{751C8F74-8E21-AF46-8443-833D8B96CD8D}"/>
              </a:ext>
            </a:extLst>
          </p:cNvPr>
          <p:cNvSpPr>
            <a:spLocks noGrp="1"/>
          </p:cNvSpPr>
          <p:nvPr>
            <p:ph type="body" sz="quarter" idx="38" hasCustomPrompt="1"/>
          </p:nvPr>
        </p:nvSpPr>
        <p:spPr>
          <a:xfrm>
            <a:off x="7890625"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31" name="Text Placeholder 5">
            <a:extLst>
              <a:ext uri="{FF2B5EF4-FFF2-40B4-BE49-F238E27FC236}">
                <a16:creationId xmlns:a16="http://schemas.microsoft.com/office/drawing/2014/main" id="{B984641B-5978-D245-ACE0-968E8321B7F5}"/>
              </a:ext>
            </a:extLst>
          </p:cNvPr>
          <p:cNvSpPr>
            <a:spLocks noGrp="1"/>
          </p:cNvSpPr>
          <p:nvPr>
            <p:ph type="body" sz="quarter" idx="39" hasCustomPrompt="1"/>
          </p:nvPr>
        </p:nvSpPr>
        <p:spPr>
          <a:xfrm>
            <a:off x="9034236"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pic>
        <p:nvPicPr>
          <p:cNvPr id="35" name="Picture 34">
            <a:extLst>
              <a:ext uri="{FF2B5EF4-FFF2-40B4-BE49-F238E27FC236}">
                <a16:creationId xmlns:a16="http://schemas.microsoft.com/office/drawing/2014/main" id="{07302924-A35E-3843-AB5E-82A06EDDAB85}"/>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
        <p:nvSpPr>
          <p:cNvPr id="26" name="Content Placeholder 47">
            <a:extLst>
              <a:ext uri="{FF2B5EF4-FFF2-40B4-BE49-F238E27FC236}">
                <a16:creationId xmlns:a16="http://schemas.microsoft.com/office/drawing/2014/main" id="{5CBFEF62-7216-CE47-A935-72AFAF5FBA2F}"/>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488679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andard + 2nd Level + Coun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FF74-12FC-5F48-B9A0-8EA20ABE50BE}"/>
              </a:ext>
            </a:extLst>
          </p:cNvPr>
          <p:cNvSpPr/>
          <p:nvPr userDrawn="1"/>
        </p:nvSpPr>
        <p:spPr>
          <a:xfrm>
            <a:off x="-5862" y="-13722"/>
            <a:ext cx="12203724" cy="2804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sp>
        <p:nvSpPr>
          <p:cNvPr id="17" name="Half-frame 16">
            <a:extLst>
              <a:ext uri="{FF2B5EF4-FFF2-40B4-BE49-F238E27FC236}">
                <a16:creationId xmlns:a16="http://schemas.microsoft.com/office/drawing/2014/main" id="{60A192F3-9B1D-1A4D-AC33-1CD053F32C65}"/>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2" name="Content Placeholder 47">
            <a:extLst>
              <a:ext uri="{FF2B5EF4-FFF2-40B4-BE49-F238E27FC236}">
                <a16:creationId xmlns:a16="http://schemas.microsoft.com/office/drawing/2014/main" id="{74E5F6F2-482B-604C-ADCB-947DF73DB667}"/>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
        <p:nvSpPr>
          <p:cNvPr id="18" name="Content Placeholder 47">
            <a:extLst>
              <a:ext uri="{FF2B5EF4-FFF2-40B4-BE49-F238E27FC236}">
                <a16:creationId xmlns:a16="http://schemas.microsoft.com/office/drawing/2014/main" id="{1EC77333-18D9-854B-864A-44457DB73687}"/>
              </a:ext>
            </a:extLst>
          </p:cNvPr>
          <p:cNvSpPr>
            <a:spLocks noGrp="1"/>
          </p:cNvSpPr>
          <p:nvPr>
            <p:ph sz="quarter" idx="41" hasCustomPrompt="1"/>
          </p:nvPr>
        </p:nvSpPr>
        <p:spPr>
          <a:xfrm>
            <a:off x="830765" y="534058"/>
            <a:ext cx="1324402" cy="246221"/>
          </a:xfrm>
          <a:prstGeom prst="rect">
            <a:avLst/>
          </a:prstGeom>
        </p:spPr>
        <p:txBody>
          <a:bodyPr wrap="none">
            <a:spAutoFit/>
          </a:bodyPr>
          <a:lstStyle>
            <a:lvl1pPr marL="0" indent="0" algn="l">
              <a:lnSpc>
                <a:spcPct val="100000"/>
              </a:lnSpc>
              <a:buNone/>
              <a:defRPr sz="1000" b="0" i="0">
                <a:solidFill>
                  <a:schemeClr val="tx2"/>
                </a:solidFill>
                <a:latin typeface="Gibson" panose="02000000000000000000" pitchFamily="2" charset="77"/>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Simple subtitle name</a:t>
            </a:r>
            <a:endParaRPr lang="en-DE"/>
          </a:p>
        </p:txBody>
      </p:sp>
      <p:sp>
        <p:nvSpPr>
          <p:cNvPr id="19" name="Half-frame 18">
            <a:extLst>
              <a:ext uri="{FF2B5EF4-FFF2-40B4-BE49-F238E27FC236}">
                <a16:creationId xmlns:a16="http://schemas.microsoft.com/office/drawing/2014/main" id="{C3D5348E-C8FF-6743-B204-272BC46FD549}"/>
              </a:ext>
            </a:extLst>
          </p:cNvPr>
          <p:cNvSpPr/>
          <p:nvPr userDrawn="1"/>
        </p:nvSpPr>
        <p:spPr>
          <a:xfrm rot="16200000">
            <a:off x="907555" y="851642"/>
            <a:ext cx="146063" cy="50540"/>
          </a:xfrm>
          <a:prstGeom prst="halfFrame">
            <a:avLst>
              <a:gd name="adj1" fmla="val 0"/>
              <a:gd name="adj2" fmla="val 0"/>
            </a:avLst>
          </a:prstGeom>
          <a:solidFill>
            <a:srgbClr val="E5E5E5"/>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0" name="Content Placeholder 47">
            <a:extLst>
              <a:ext uri="{FF2B5EF4-FFF2-40B4-BE49-F238E27FC236}">
                <a16:creationId xmlns:a16="http://schemas.microsoft.com/office/drawing/2014/main" id="{9BEA17E8-86DB-384C-B595-92FCF7246849}"/>
              </a:ext>
            </a:extLst>
          </p:cNvPr>
          <p:cNvSpPr>
            <a:spLocks noGrp="1"/>
          </p:cNvSpPr>
          <p:nvPr>
            <p:ph sz="quarter" idx="20" hasCustomPrompt="1"/>
          </p:nvPr>
        </p:nvSpPr>
        <p:spPr>
          <a:xfrm>
            <a:off x="3166984" y="828833"/>
            <a:ext cx="675185" cy="230832"/>
          </a:xfrm>
          <a:prstGeom prst="rect">
            <a:avLst/>
          </a:prstGeom>
        </p:spPr>
        <p:txBody>
          <a:bodyPr wrap="none">
            <a:spAutoFit/>
          </a:bodyPr>
          <a:lstStyle>
            <a:lvl1pPr marL="0" indent="0" algn="l">
              <a:lnSpc>
                <a:spcPct val="100000"/>
              </a:lnSpc>
              <a:buNone/>
              <a:defRPr sz="900">
                <a:solidFill>
                  <a:schemeClr val="accent2"/>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21" name="Text Placeholder 54">
            <a:extLst>
              <a:ext uri="{FF2B5EF4-FFF2-40B4-BE49-F238E27FC236}">
                <a16:creationId xmlns:a16="http://schemas.microsoft.com/office/drawing/2014/main" id="{7F12ECD0-EE52-3848-B98C-F800B3343190}"/>
              </a:ext>
            </a:extLst>
          </p:cNvPr>
          <p:cNvSpPr>
            <a:spLocks noGrp="1"/>
          </p:cNvSpPr>
          <p:nvPr>
            <p:ph type="body" sz="quarter" idx="23" hasCustomPrompt="1"/>
          </p:nvPr>
        </p:nvSpPr>
        <p:spPr>
          <a:xfrm>
            <a:off x="1030456"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2" name="Text Placeholder 54">
            <a:extLst>
              <a:ext uri="{FF2B5EF4-FFF2-40B4-BE49-F238E27FC236}">
                <a16:creationId xmlns:a16="http://schemas.microsoft.com/office/drawing/2014/main" id="{E69816A4-5122-0041-80EA-C388C9D3ADF7}"/>
              </a:ext>
            </a:extLst>
          </p:cNvPr>
          <p:cNvSpPr>
            <a:spLocks noGrp="1"/>
          </p:cNvSpPr>
          <p:nvPr>
            <p:ph type="body" sz="quarter" idx="24" hasCustomPrompt="1"/>
          </p:nvPr>
        </p:nvSpPr>
        <p:spPr>
          <a:xfrm>
            <a:off x="1267848"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3" name="Text Placeholder 54">
            <a:extLst>
              <a:ext uri="{FF2B5EF4-FFF2-40B4-BE49-F238E27FC236}">
                <a16:creationId xmlns:a16="http://schemas.microsoft.com/office/drawing/2014/main" id="{665AB11F-BA76-494D-B3AD-A3D28DC85C97}"/>
              </a:ext>
            </a:extLst>
          </p:cNvPr>
          <p:cNvSpPr>
            <a:spLocks noGrp="1"/>
          </p:cNvSpPr>
          <p:nvPr>
            <p:ph type="body" sz="quarter" idx="25" hasCustomPrompt="1"/>
          </p:nvPr>
        </p:nvSpPr>
        <p:spPr>
          <a:xfrm>
            <a:off x="1505240"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4" name="Text Placeholder 54">
            <a:extLst>
              <a:ext uri="{FF2B5EF4-FFF2-40B4-BE49-F238E27FC236}">
                <a16:creationId xmlns:a16="http://schemas.microsoft.com/office/drawing/2014/main" id="{8DFFFDFE-0E1D-5149-994A-8485BA36A8C2}"/>
              </a:ext>
            </a:extLst>
          </p:cNvPr>
          <p:cNvSpPr>
            <a:spLocks noGrp="1"/>
          </p:cNvSpPr>
          <p:nvPr>
            <p:ph type="body" sz="quarter" idx="26" hasCustomPrompt="1"/>
          </p:nvPr>
        </p:nvSpPr>
        <p:spPr>
          <a:xfrm>
            <a:off x="1742632"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5" name="Text Placeholder 54">
            <a:extLst>
              <a:ext uri="{FF2B5EF4-FFF2-40B4-BE49-F238E27FC236}">
                <a16:creationId xmlns:a16="http://schemas.microsoft.com/office/drawing/2014/main" id="{BFEF344A-C649-334B-9653-05B8A4BEB898}"/>
              </a:ext>
            </a:extLst>
          </p:cNvPr>
          <p:cNvSpPr>
            <a:spLocks noGrp="1"/>
          </p:cNvSpPr>
          <p:nvPr>
            <p:ph type="body" sz="quarter" idx="27" hasCustomPrompt="1"/>
          </p:nvPr>
        </p:nvSpPr>
        <p:spPr>
          <a:xfrm>
            <a:off x="1980024"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6" name="Text Placeholder 54">
            <a:extLst>
              <a:ext uri="{FF2B5EF4-FFF2-40B4-BE49-F238E27FC236}">
                <a16:creationId xmlns:a16="http://schemas.microsoft.com/office/drawing/2014/main" id="{3429723E-C523-FA4F-B03B-540FE945D5B8}"/>
              </a:ext>
            </a:extLst>
          </p:cNvPr>
          <p:cNvSpPr>
            <a:spLocks noGrp="1"/>
          </p:cNvSpPr>
          <p:nvPr>
            <p:ph type="body" sz="quarter" idx="28" hasCustomPrompt="1"/>
          </p:nvPr>
        </p:nvSpPr>
        <p:spPr>
          <a:xfrm>
            <a:off x="2217416"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7" name="Text Placeholder 54">
            <a:extLst>
              <a:ext uri="{FF2B5EF4-FFF2-40B4-BE49-F238E27FC236}">
                <a16:creationId xmlns:a16="http://schemas.microsoft.com/office/drawing/2014/main" id="{31F6A38D-D280-654F-9940-811497BE3FC3}"/>
              </a:ext>
            </a:extLst>
          </p:cNvPr>
          <p:cNvSpPr>
            <a:spLocks noGrp="1"/>
          </p:cNvSpPr>
          <p:nvPr>
            <p:ph type="body" sz="quarter" idx="29" hasCustomPrompt="1"/>
          </p:nvPr>
        </p:nvSpPr>
        <p:spPr>
          <a:xfrm>
            <a:off x="2454808"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8" name="Text Placeholder 54">
            <a:extLst>
              <a:ext uri="{FF2B5EF4-FFF2-40B4-BE49-F238E27FC236}">
                <a16:creationId xmlns:a16="http://schemas.microsoft.com/office/drawing/2014/main" id="{ED2FF0D6-2C14-244A-B215-9F6C35E21CF2}"/>
              </a:ext>
            </a:extLst>
          </p:cNvPr>
          <p:cNvSpPr>
            <a:spLocks noGrp="1"/>
          </p:cNvSpPr>
          <p:nvPr>
            <p:ph type="body" sz="quarter" idx="30" hasCustomPrompt="1"/>
          </p:nvPr>
        </p:nvSpPr>
        <p:spPr>
          <a:xfrm>
            <a:off x="2692200"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9" name="Text Placeholder 54">
            <a:extLst>
              <a:ext uri="{FF2B5EF4-FFF2-40B4-BE49-F238E27FC236}">
                <a16:creationId xmlns:a16="http://schemas.microsoft.com/office/drawing/2014/main" id="{802421B2-80C8-364A-B29B-0B362A2D25A6}"/>
              </a:ext>
            </a:extLst>
          </p:cNvPr>
          <p:cNvSpPr>
            <a:spLocks noGrp="1"/>
          </p:cNvSpPr>
          <p:nvPr>
            <p:ph type="body" sz="quarter" idx="31" hasCustomPrompt="1"/>
          </p:nvPr>
        </p:nvSpPr>
        <p:spPr>
          <a:xfrm>
            <a:off x="2929592" y="843480"/>
            <a:ext cx="212793" cy="208671"/>
          </a:xfrm>
          <a:prstGeom prst="ellipse">
            <a:avLst/>
          </a:prstGeom>
          <a:solidFill>
            <a:schemeClr val="accent2">
              <a:lumMod val="20000"/>
              <a:lumOff val="80000"/>
            </a:schemeClr>
          </a:solidFill>
        </p:spPr>
        <p:txBody>
          <a:bodyPr anchor="ctr"/>
          <a:lstStyle>
            <a:lvl1pPr marL="0" indent="0" algn="ctr">
              <a:lnSpc>
                <a:spcPct val="100000"/>
              </a:lnSpc>
              <a:buFontTx/>
              <a:buNone/>
              <a:defRPr sz="1000">
                <a:solidFill>
                  <a:schemeClr val="accent2"/>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pic>
        <p:nvPicPr>
          <p:cNvPr id="40" name="Picture 39">
            <a:extLst>
              <a:ext uri="{FF2B5EF4-FFF2-40B4-BE49-F238E27FC236}">
                <a16:creationId xmlns:a16="http://schemas.microsoft.com/office/drawing/2014/main" id="{903D0692-3AB2-334B-9A25-08B1C11FF85E}"/>
              </a:ext>
            </a:extLst>
          </p:cNvPr>
          <p:cNvPicPr>
            <a:picLocks noChangeAspect="1"/>
          </p:cNvPicPr>
          <p:nvPr userDrawn="1"/>
        </p:nvPicPr>
        <p:blipFill>
          <a:blip r:embed="rId3"/>
          <a:stretch>
            <a:fillRect/>
          </a:stretch>
        </p:blipFill>
        <p:spPr>
          <a:xfrm>
            <a:off x="307917" y="95451"/>
            <a:ext cx="345445" cy="345445"/>
          </a:xfrm>
          <a:prstGeom prst="ellipse">
            <a:avLst/>
          </a:prstGeom>
          <a:ln w="12700">
            <a:solidFill>
              <a:schemeClr val="bg2"/>
            </a:solidFill>
          </a:ln>
        </p:spPr>
      </p:pic>
    </p:spTree>
    <p:extLst>
      <p:ext uri="{BB962C8B-B14F-4D97-AF65-F5344CB8AC3E}">
        <p14:creationId xmlns:p14="http://schemas.microsoft.com/office/powerpoint/2010/main" val="28394322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idnight">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6" name="Content Placeholder 47">
            <a:extLst>
              <a:ext uri="{FF2B5EF4-FFF2-40B4-BE49-F238E27FC236}">
                <a16:creationId xmlns:a16="http://schemas.microsoft.com/office/drawing/2014/main" id="{54DD3E20-0AD2-D44C-8034-106BB0DD5E5E}"/>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2854848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idnight + Counter">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9" name="Half-frame 8">
            <a:extLst>
              <a:ext uri="{FF2B5EF4-FFF2-40B4-BE49-F238E27FC236}">
                <a16:creationId xmlns:a16="http://schemas.microsoft.com/office/drawing/2014/main" id="{DBB8FC92-B863-5344-A078-77BF0218E1BA}"/>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 name="Content Placeholder 47">
            <a:extLst>
              <a:ext uri="{FF2B5EF4-FFF2-40B4-BE49-F238E27FC236}">
                <a16:creationId xmlns:a16="http://schemas.microsoft.com/office/drawing/2014/main" id="{DD32129B-D140-2E40-9972-01107C70E238}"/>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12" name="Text Placeholder 54">
            <a:extLst>
              <a:ext uri="{FF2B5EF4-FFF2-40B4-BE49-F238E27FC236}">
                <a16:creationId xmlns:a16="http://schemas.microsoft.com/office/drawing/2014/main" id="{3ADE5C9C-53D9-4442-AA7E-1A6B39DA874B}"/>
              </a:ext>
            </a:extLst>
          </p:cNvPr>
          <p:cNvSpPr>
            <a:spLocks noGrp="1"/>
          </p:cNvSpPr>
          <p:nvPr>
            <p:ph type="body" sz="quarter" idx="23" hasCustomPrompt="1"/>
          </p:nvPr>
        </p:nvSpPr>
        <p:spPr>
          <a:xfrm>
            <a:off x="850574"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3" name="Text Placeholder 54">
            <a:extLst>
              <a:ext uri="{FF2B5EF4-FFF2-40B4-BE49-F238E27FC236}">
                <a16:creationId xmlns:a16="http://schemas.microsoft.com/office/drawing/2014/main" id="{ED0C40B3-385D-2D43-90F9-37429779FC4C}"/>
              </a:ext>
            </a:extLst>
          </p:cNvPr>
          <p:cNvSpPr>
            <a:spLocks noGrp="1"/>
          </p:cNvSpPr>
          <p:nvPr>
            <p:ph type="body" sz="quarter" idx="24" hasCustomPrompt="1"/>
          </p:nvPr>
        </p:nvSpPr>
        <p:spPr>
          <a:xfrm>
            <a:off x="1087966"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4" name="Text Placeholder 54">
            <a:extLst>
              <a:ext uri="{FF2B5EF4-FFF2-40B4-BE49-F238E27FC236}">
                <a16:creationId xmlns:a16="http://schemas.microsoft.com/office/drawing/2014/main" id="{2E0144C9-7790-754C-84BF-D15112259F6E}"/>
              </a:ext>
            </a:extLst>
          </p:cNvPr>
          <p:cNvSpPr>
            <a:spLocks noGrp="1"/>
          </p:cNvSpPr>
          <p:nvPr>
            <p:ph type="body" sz="quarter" idx="25" hasCustomPrompt="1"/>
          </p:nvPr>
        </p:nvSpPr>
        <p:spPr>
          <a:xfrm>
            <a:off x="1325358"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5" name="Text Placeholder 54">
            <a:extLst>
              <a:ext uri="{FF2B5EF4-FFF2-40B4-BE49-F238E27FC236}">
                <a16:creationId xmlns:a16="http://schemas.microsoft.com/office/drawing/2014/main" id="{3FBB2A05-F0FD-2846-A0BB-3CBD5C8AF6C3}"/>
              </a:ext>
            </a:extLst>
          </p:cNvPr>
          <p:cNvSpPr>
            <a:spLocks noGrp="1"/>
          </p:cNvSpPr>
          <p:nvPr>
            <p:ph type="body" sz="quarter" idx="26" hasCustomPrompt="1"/>
          </p:nvPr>
        </p:nvSpPr>
        <p:spPr>
          <a:xfrm>
            <a:off x="1562750"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6" name="Text Placeholder 54">
            <a:extLst>
              <a:ext uri="{FF2B5EF4-FFF2-40B4-BE49-F238E27FC236}">
                <a16:creationId xmlns:a16="http://schemas.microsoft.com/office/drawing/2014/main" id="{F7FB9E43-4449-484A-98F4-885EAD998B69}"/>
              </a:ext>
            </a:extLst>
          </p:cNvPr>
          <p:cNvSpPr>
            <a:spLocks noGrp="1"/>
          </p:cNvSpPr>
          <p:nvPr>
            <p:ph type="body" sz="quarter" idx="27" hasCustomPrompt="1"/>
          </p:nvPr>
        </p:nvSpPr>
        <p:spPr>
          <a:xfrm>
            <a:off x="1800142"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7" name="Text Placeholder 54">
            <a:extLst>
              <a:ext uri="{FF2B5EF4-FFF2-40B4-BE49-F238E27FC236}">
                <a16:creationId xmlns:a16="http://schemas.microsoft.com/office/drawing/2014/main" id="{AEA21EE9-14F2-1543-B326-C3398938E3C3}"/>
              </a:ext>
            </a:extLst>
          </p:cNvPr>
          <p:cNvSpPr>
            <a:spLocks noGrp="1"/>
          </p:cNvSpPr>
          <p:nvPr>
            <p:ph type="body" sz="quarter" idx="28" hasCustomPrompt="1"/>
          </p:nvPr>
        </p:nvSpPr>
        <p:spPr>
          <a:xfrm>
            <a:off x="2037534"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8" name="Text Placeholder 54">
            <a:extLst>
              <a:ext uri="{FF2B5EF4-FFF2-40B4-BE49-F238E27FC236}">
                <a16:creationId xmlns:a16="http://schemas.microsoft.com/office/drawing/2014/main" id="{6511B2FE-24CF-D74D-82A8-59ECF9957500}"/>
              </a:ext>
            </a:extLst>
          </p:cNvPr>
          <p:cNvSpPr>
            <a:spLocks noGrp="1"/>
          </p:cNvSpPr>
          <p:nvPr>
            <p:ph type="body" sz="quarter" idx="29" hasCustomPrompt="1"/>
          </p:nvPr>
        </p:nvSpPr>
        <p:spPr>
          <a:xfrm>
            <a:off x="2274926"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9" name="Text Placeholder 54">
            <a:extLst>
              <a:ext uri="{FF2B5EF4-FFF2-40B4-BE49-F238E27FC236}">
                <a16:creationId xmlns:a16="http://schemas.microsoft.com/office/drawing/2014/main" id="{6EC33585-D1B9-D24F-A380-4750CCDB8157}"/>
              </a:ext>
            </a:extLst>
          </p:cNvPr>
          <p:cNvSpPr>
            <a:spLocks noGrp="1"/>
          </p:cNvSpPr>
          <p:nvPr>
            <p:ph type="body" sz="quarter" idx="30" hasCustomPrompt="1"/>
          </p:nvPr>
        </p:nvSpPr>
        <p:spPr>
          <a:xfrm>
            <a:off x="2512318"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0" name="Text Placeholder 54">
            <a:extLst>
              <a:ext uri="{FF2B5EF4-FFF2-40B4-BE49-F238E27FC236}">
                <a16:creationId xmlns:a16="http://schemas.microsoft.com/office/drawing/2014/main" id="{FD8D7EFF-4B37-9648-B96C-25298D6BE74A}"/>
              </a:ext>
            </a:extLst>
          </p:cNvPr>
          <p:cNvSpPr>
            <a:spLocks noGrp="1"/>
          </p:cNvSpPr>
          <p:nvPr>
            <p:ph type="body" sz="quarter" idx="31" hasCustomPrompt="1"/>
          </p:nvPr>
        </p:nvSpPr>
        <p:spPr>
          <a:xfrm>
            <a:off x="2749710"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1" name="Content Placeholder 47">
            <a:extLst>
              <a:ext uri="{FF2B5EF4-FFF2-40B4-BE49-F238E27FC236}">
                <a16:creationId xmlns:a16="http://schemas.microsoft.com/office/drawing/2014/main" id="{8A9753BE-61E1-DA44-934B-5EB3663A680E}"/>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16174734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idnight + Counter + Tabs">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9" name="Half-frame 8">
            <a:extLst>
              <a:ext uri="{FF2B5EF4-FFF2-40B4-BE49-F238E27FC236}">
                <a16:creationId xmlns:a16="http://schemas.microsoft.com/office/drawing/2014/main" id="{DBB8FC92-B863-5344-A078-77BF0218E1BA}"/>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 name="Content Placeholder 47">
            <a:extLst>
              <a:ext uri="{FF2B5EF4-FFF2-40B4-BE49-F238E27FC236}">
                <a16:creationId xmlns:a16="http://schemas.microsoft.com/office/drawing/2014/main" id="{DD32129B-D140-2E40-9972-01107C70E238}"/>
              </a:ext>
            </a:extLst>
          </p:cNvPr>
          <p:cNvSpPr>
            <a:spLocks noGrp="1"/>
          </p:cNvSpPr>
          <p:nvPr>
            <p:ph sz="quarter" idx="20" hasCustomPrompt="1"/>
          </p:nvPr>
        </p:nvSpPr>
        <p:spPr>
          <a:xfrm>
            <a:off x="2987102" y="535010"/>
            <a:ext cx="675185" cy="230832"/>
          </a:xfrm>
          <a:prstGeom prst="rect">
            <a:avLst/>
          </a:prstGeom>
        </p:spPr>
        <p:txBody>
          <a:bodyPr wrap="none">
            <a:spAutoFit/>
          </a:bodyPr>
          <a:lstStyle>
            <a:lvl1pPr marL="0" indent="0" algn="l">
              <a:lnSpc>
                <a:spcPct val="100000"/>
              </a:lnSpc>
              <a:buNone/>
              <a:defRPr sz="9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12" name="Text Placeholder 54">
            <a:extLst>
              <a:ext uri="{FF2B5EF4-FFF2-40B4-BE49-F238E27FC236}">
                <a16:creationId xmlns:a16="http://schemas.microsoft.com/office/drawing/2014/main" id="{3ADE5C9C-53D9-4442-AA7E-1A6B39DA874B}"/>
              </a:ext>
            </a:extLst>
          </p:cNvPr>
          <p:cNvSpPr>
            <a:spLocks noGrp="1"/>
          </p:cNvSpPr>
          <p:nvPr>
            <p:ph type="body" sz="quarter" idx="23" hasCustomPrompt="1"/>
          </p:nvPr>
        </p:nvSpPr>
        <p:spPr>
          <a:xfrm>
            <a:off x="850574"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3" name="Text Placeholder 54">
            <a:extLst>
              <a:ext uri="{FF2B5EF4-FFF2-40B4-BE49-F238E27FC236}">
                <a16:creationId xmlns:a16="http://schemas.microsoft.com/office/drawing/2014/main" id="{ED0C40B3-385D-2D43-90F9-37429779FC4C}"/>
              </a:ext>
            </a:extLst>
          </p:cNvPr>
          <p:cNvSpPr>
            <a:spLocks noGrp="1"/>
          </p:cNvSpPr>
          <p:nvPr>
            <p:ph type="body" sz="quarter" idx="24" hasCustomPrompt="1"/>
          </p:nvPr>
        </p:nvSpPr>
        <p:spPr>
          <a:xfrm>
            <a:off x="1087966"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4" name="Text Placeholder 54">
            <a:extLst>
              <a:ext uri="{FF2B5EF4-FFF2-40B4-BE49-F238E27FC236}">
                <a16:creationId xmlns:a16="http://schemas.microsoft.com/office/drawing/2014/main" id="{2E0144C9-7790-754C-84BF-D15112259F6E}"/>
              </a:ext>
            </a:extLst>
          </p:cNvPr>
          <p:cNvSpPr>
            <a:spLocks noGrp="1"/>
          </p:cNvSpPr>
          <p:nvPr>
            <p:ph type="body" sz="quarter" idx="25" hasCustomPrompt="1"/>
          </p:nvPr>
        </p:nvSpPr>
        <p:spPr>
          <a:xfrm>
            <a:off x="1325358"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5" name="Text Placeholder 54">
            <a:extLst>
              <a:ext uri="{FF2B5EF4-FFF2-40B4-BE49-F238E27FC236}">
                <a16:creationId xmlns:a16="http://schemas.microsoft.com/office/drawing/2014/main" id="{3FBB2A05-F0FD-2846-A0BB-3CBD5C8AF6C3}"/>
              </a:ext>
            </a:extLst>
          </p:cNvPr>
          <p:cNvSpPr>
            <a:spLocks noGrp="1"/>
          </p:cNvSpPr>
          <p:nvPr>
            <p:ph type="body" sz="quarter" idx="26" hasCustomPrompt="1"/>
          </p:nvPr>
        </p:nvSpPr>
        <p:spPr>
          <a:xfrm>
            <a:off x="1562750"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6" name="Text Placeholder 54">
            <a:extLst>
              <a:ext uri="{FF2B5EF4-FFF2-40B4-BE49-F238E27FC236}">
                <a16:creationId xmlns:a16="http://schemas.microsoft.com/office/drawing/2014/main" id="{F7FB9E43-4449-484A-98F4-885EAD998B69}"/>
              </a:ext>
            </a:extLst>
          </p:cNvPr>
          <p:cNvSpPr>
            <a:spLocks noGrp="1"/>
          </p:cNvSpPr>
          <p:nvPr>
            <p:ph type="body" sz="quarter" idx="27" hasCustomPrompt="1"/>
          </p:nvPr>
        </p:nvSpPr>
        <p:spPr>
          <a:xfrm>
            <a:off x="1800142"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7" name="Text Placeholder 54">
            <a:extLst>
              <a:ext uri="{FF2B5EF4-FFF2-40B4-BE49-F238E27FC236}">
                <a16:creationId xmlns:a16="http://schemas.microsoft.com/office/drawing/2014/main" id="{AEA21EE9-14F2-1543-B326-C3398938E3C3}"/>
              </a:ext>
            </a:extLst>
          </p:cNvPr>
          <p:cNvSpPr>
            <a:spLocks noGrp="1"/>
          </p:cNvSpPr>
          <p:nvPr>
            <p:ph type="body" sz="quarter" idx="28" hasCustomPrompt="1"/>
          </p:nvPr>
        </p:nvSpPr>
        <p:spPr>
          <a:xfrm>
            <a:off x="2037534"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8" name="Text Placeholder 54">
            <a:extLst>
              <a:ext uri="{FF2B5EF4-FFF2-40B4-BE49-F238E27FC236}">
                <a16:creationId xmlns:a16="http://schemas.microsoft.com/office/drawing/2014/main" id="{6511B2FE-24CF-D74D-82A8-59ECF9957500}"/>
              </a:ext>
            </a:extLst>
          </p:cNvPr>
          <p:cNvSpPr>
            <a:spLocks noGrp="1"/>
          </p:cNvSpPr>
          <p:nvPr>
            <p:ph type="body" sz="quarter" idx="29" hasCustomPrompt="1"/>
          </p:nvPr>
        </p:nvSpPr>
        <p:spPr>
          <a:xfrm>
            <a:off x="2274926"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19" name="Text Placeholder 54">
            <a:extLst>
              <a:ext uri="{FF2B5EF4-FFF2-40B4-BE49-F238E27FC236}">
                <a16:creationId xmlns:a16="http://schemas.microsoft.com/office/drawing/2014/main" id="{6EC33585-D1B9-D24F-A380-4750CCDB8157}"/>
              </a:ext>
            </a:extLst>
          </p:cNvPr>
          <p:cNvSpPr>
            <a:spLocks noGrp="1"/>
          </p:cNvSpPr>
          <p:nvPr>
            <p:ph type="body" sz="quarter" idx="30" hasCustomPrompt="1"/>
          </p:nvPr>
        </p:nvSpPr>
        <p:spPr>
          <a:xfrm>
            <a:off x="2512318"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0" name="Text Placeholder 54">
            <a:extLst>
              <a:ext uri="{FF2B5EF4-FFF2-40B4-BE49-F238E27FC236}">
                <a16:creationId xmlns:a16="http://schemas.microsoft.com/office/drawing/2014/main" id="{FD8D7EFF-4B37-9648-B96C-25298D6BE74A}"/>
              </a:ext>
            </a:extLst>
          </p:cNvPr>
          <p:cNvSpPr>
            <a:spLocks noGrp="1"/>
          </p:cNvSpPr>
          <p:nvPr>
            <p:ph type="body" sz="quarter" idx="31" hasCustomPrompt="1"/>
          </p:nvPr>
        </p:nvSpPr>
        <p:spPr>
          <a:xfrm>
            <a:off x="2749710" y="549657"/>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21" name="Half-frame 20">
            <a:extLst>
              <a:ext uri="{FF2B5EF4-FFF2-40B4-BE49-F238E27FC236}">
                <a16:creationId xmlns:a16="http://schemas.microsoft.com/office/drawing/2014/main" id="{3BE73EAA-D96E-904E-BB1D-266F2D8657FE}"/>
              </a:ext>
            </a:extLst>
          </p:cNvPr>
          <p:cNvSpPr/>
          <p:nvPr userDrawn="1"/>
        </p:nvSpPr>
        <p:spPr>
          <a:xfrm rot="16200000">
            <a:off x="902017" y="845199"/>
            <a:ext cx="146063" cy="50540"/>
          </a:xfrm>
          <a:prstGeom prst="halfFrame">
            <a:avLst>
              <a:gd name="adj1" fmla="val 0"/>
              <a:gd name="adj2" fmla="val 0"/>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22" name="Text Placeholder 5">
            <a:extLst>
              <a:ext uri="{FF2B5EF4-FFF2-40B4-BE49-F238E27FC236}">
                <a16:creationId xmlns:a16="http://schemas.microsoft.com/office/drawing/2014/main" id="{6CDD7531-33DD-A84B-9230-9BDEA18FEA94}"/>
              </a:ext>
            </a:extLst>
          </p:cNvPr>
          <p:cNvSpPr>
            <a:spLocks noGrp="1"/>
          </p:cNvSpPr>
          <p:nvPr>
            <p:ph type="body" sz="quarter" idx="32" hasCustomPrompt="1"/>
          </p:nvPr>
        </p:nvSpPr>
        <p:spPr>
          <a:xfrm>
            <a:off x="1028959"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3" name="Text Placeholder 5">
            <a:extLst>
              <a:ext uri="{FF2B5EF4-FFF2-40B4-BE49-F238E27FC236}">
                <a16:creationId xmlns:a16="http://schemas.microsoft.com/office/drawing/2014/main" id="{37EE9AB7-DEBE-454F-9533-51042AA10269}"/>
              </a:ext>
            </a:extLst>
          </p:cNvPr>
          <p:cNvSpPr>
            <a:spLocks noGrp="1"/>
          </p:cNvSpPr>
          <p:nvPr>
            <p:ph type="body" sz="quarter" idx="33" hasCustomPrompt="1"/>
          </p:nvPr>
        </p:nvSpPr>
        <p:spPr>
          <a:xfrm>
            <a:off x="2172570"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4" name="Text Placeholder 5">
            <a:extLst>
              <a:ext uri="{FF2B5EF4-FFF2-40B4-BE49-F238E27FC236}">
                <a16:creationId xmlns:a16="http://schemas.microsoft.com/office/drawing/2014/main" id="{FE7AB23A-F9C0-E745-B1AE-E1CF0BE93418}"/>
              </a:ext>
            </a:extLst>
          </p:cNvPr>
          <p:cNvSpPr>
            <a:spLocks noGrp="1"/>
          </p:cNvSpPr>
          <p:nvPr>
            <p:ph type="body" sz="quarter" idx="34" hasCustomPrompt="1"/>
          </p:nvPr>
        </p:nvSpPr>
        <p:spPr>
          <a:xfrm>
            <a:off x="3316181"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5" name="Text Placeholder 5">
            <a:extLst>
              <a:ext uri="{FF2B5EF4-FFF2-40B4-BE49-F238E27FC236}">
                <a16:creationId xmlns:a16="http://schemas.microsoft.com/office/drawing/2014/main" id="{43D17E45-73E2-6F4D-961D-ACB0D3BB095D}"/>
              </a:ext>
            </a:extLst>
          </p:cNvPr>
          <p:cNvSpPr>
            <a:spLocks noGrp="1"/>
          </p:cNvSpPr>
          <p:nvPr>
            <p:ph type="body" sz="quarter" idx="35" hasCustomPrompt="1"/>
          </p:nvPr>
        </p:nvSpPr>
        <p:spPr>
          <a:xfrm>
            <a:off x="4459792"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6" name="Text Placeholder 5">
            <a:extLst>
              <a:ext uri="{FF2B5EF4-FFF2-40B4-BE49-F238E27FC236}">
                <a16:creationId xmlns:a16="http://schemas.microsoft.com/office/drawing/2014/main" id="{A0B11F02-27E0-4F42-8D9D-3F625A082877}"/>
              </a:ext>
            </a:extLst>
          </p:cNvPr>
          <p:cNvSpPr>
            <a:spLocks noGrp="1"/>
          </p:cNvSpPr>
          <p:nvPr>
            <p:ph type="body" sz="quarter" idx="36" hasCustomPrompt="1"/>
          </p:nvPr>
        </p:nvSpPr>
        <p:spPr>
          <a:xfrm>
            <a:off x="5603403"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7" name="Text Placeholder 5">
            <a:extLst>
              <a:ext uri="{FF2B5EF4-FFF2-40B4-BE49-F238E27FC236}">
                <a16:creationId xmlns:a16="http://schemas.microsoft.com/office/drawing/2014/main" id="{AD4D79AF-5ACA-C342-BC90-29FC6D7E82B8}"/>
              </a:ext>
            </a:extLst>
          </p:cNvPr>
          <p:cNvSpPr>
            <a:spLocks noGrp="1"/>
          </p:cNvSpPr>
          <p:nvPr>
            <p:ph type="body" sz="quarter" idx="37" hasCustomPrompt="1"/>
          </p:nvPr>
        </p:nvSpPr>
        <p:spPr>
          <a:xfrm>
            <a:off x="6747014"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8" name="Text Placeholder 5">
            <a:extLst>
              <a:ext uri="{FF2B5EF4-FFF2-40B4-BE49-F238E27FC236}">
                <a16:creationId xmlns:a16="http://schemas.microsoft.com/office/drawing/2014/main" id="{1DE78DF4-2BDA-F94A-81F6-3ECE6058FF83}"/>
              </a:ext>
            </a:extLst>
          </p:cNvPr>
          <p:cNvSpPr>
            <a:spLocks noGrp="1"/>
          </p:cNvSpPr>
          <p:nvPr>
            <p:ph type="body" sz="quarter" idx="38" hasCustomPrompt="1"/>
          </p:nvPr>
        </p:nvSpPr>
        <p:spPr>
          <a:xfrm>
            <a:off x="7890625"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29" name="Text Placeholder 5">
            <a:extLst>
              <a:ext uri="{FF2B5EF4-FFF2-40B4-BE49-F238E27FC236}">
                <a16:creationId xmlns:a16="http://schemas.microsoft.com/office/drawing/2014/main" id="{88D000D7-9AE9-414E-83E5-E202EA8A3C0F}"/>
              </a:ext>
            </a:extLst>
          </p:cNvPr>
          <p:cNvSpPr>
            <a:spLocks noGrp="1"/>
          </p:cNvSpPr>
          <p:nvPr>
            <p:ph type="body" sz="quarter" idx="39" hasCustomPrompt="1"/>
          </p:nvPr>
        </p:nvSpPr>
        <p:spPr>
          <a:xfrm>
            <a:off x="9034236" y="852131"/>
            <a:ext cx="1114971" cy="182740"/>
          </a:xfrm>
          <a:prstGeom prst="roundRect">
            <a:avLst>
              <a:gd name="adj" fmla="val 7980"/>
            </a:avLst>
          </a:prstGeom>
          <a:solidFill>
            <a:schemeClr val="tx2">
              <a:lumMod val="20000"/>
              <a:lumOff val="80000"/>
            </a:schemeClr>
          </a:solidFill>
        </p:spPr>
        <p:txBody>
          <a:bodyPr anchor="ctr"/>
          <a:lstStyle>
            <a:lvl1pPr marL="0" indent="0" algn="ctr">
              <a:buNone/>
              <a:defRPr sz="7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ITEM NAME</a:t>
            </a:r>
            <a:endParaRPr lang="en-DE"/>
          </a:p>
        </p:txBody>
      </p:sp>
      <p:sp>
        <p:nvSpPr>
          <p:cNvPr id="31" name="Content Placeholder 47">
            <a:extLst>
              <a:ext uri="{FF2B5EF4-FFF2-40B4-BE49-F238E27FC236}">
                <a16:creationId xmlns:a16="http://schemas.microsoft.com/office/drawing/2014/main" id="{B8FBBE5D-2722-4142-86D0-DFA9D429557B}"/>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34525687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idnight + 2nd Level + Counter">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30" name="Content Placeholder 47">
            <a:extLst>
              <a:ext uri="{FF2B5EF4-FFF2-40B4-BE49-F238E27FC236}">
                <a16:creationId xmlns:a16="http://schemas.microsoft.com/office/drawing/2014/main" id="{DA65771E-F462-874E-87F0-BC11B7ADD48C}"/>
              </a:ext>
            </a:extLst>
          </p:cNvPr>
          <p:cNvSpPr>
            <a:spLocks noGrp="1"/>
          </p:cNvSpPr>
          <p:nvPr>
            <p:ph sz="quarter" idx="40" hasCustomPrompt="1"/>
          </p:nvPr>
        </p:nvSpPr>
        <p:spPr>
          <a:xfrm>
            <a:off x="658378" y="271730"/>
            <a:ext cx="926857" cy="246221"/>
          </a:xfrm>
          <a:prstGeom prst="rect">
            <a:avLst/>
          </a:prstGeom>
        </p:spPr>
        <p:txBody>
          <a:bodyPr wrap="none">
            <a:spAutoFit/>
          </a:bodyPr>
          <a:lstStyle>
            <a:lvl1pPr marL="0" indent="0" algn="l">
              <a:lnSpc>
                <a:spcPct val="100000"/>
              </a:lnSpc>
              <a:buNone/>
              <a:defRPr sz="10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
        <p:nvSpPr>
          <p:cNvPr id="31" name="Half-frame 30">
            <a:extLst>
              <a:ext uri="{FF2B5EF4-FFF2-40B4-BE49-F238E27FC236}">
                <a16:creationId xmlns:a16="http://schemas.microsoft.com/office/drawing/2014/main" id="{3ABA9F12-49A0-7547-A6F1-3D1D9C6528B3}"/>
              </a:ext>
            </a:extLst>
          </p:cNvPr>
          <p:cNvSpPr/>
          <p:nvPr userDrawn="1"/>
        </p:nvSpPr>
        <p:spPr>
          <a:xfrm rot="16200000">
            <a:off x="727673" y="557819"/>
            <a:ext cx="146063" cy="50540"/>
          </a:xfrm>
          <a:prstGeom prst="halfFrame">
            <a:avLst>
              <a:gd name="adj1" fmla="val 0"/>
              <a:gd name="adj2" fmla="val 0"/>
            </a:avLst>
          </a:prstGeom>
          <a:solidFill>
            <a:srgbClr val="E5E5E5"/>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2" name="Content Placeholder 47">
            <a:extLst>
              <a:ext uri="{FF2B5EF4-FFF2-40B4-BE49-F238E27FC236}">
                <a16:creationId xmlns:a16="http://schemas.microsoft.com/office/drawing/2014/main" id="{2E70461D-9B3F-384F-8BC9-D6364BB215B7}"/>
              </a:ext>
            </a:extLst>
          </p:cNvPr>
          <p:cNvSpPr>
            <a:spLocks noGrp="1"/>
          </p:cNvSpPr>
          <p:nvPr>
            <p:ph sz="quarter" idx="41" hasCustomPrompt="1"/>
          </p:nvPr>
        </p:nvSpPr>
        <p:spPr>
          <a:xfrm>
            <a:off x="830765" y="534058"/>
            <a:ext cx="1324402" cy="246221"/>
          </a:xfrm>
          <a:prstGeom prst="rect">
            <a:avLst/>
          </a:prstGeom>
        </p:spPr>
        <p:txBody>
          <a:bodyPr wrap="none">
            <a:spAutoFit/>
          </a:bodyPr>
          <a:lstStyle>
            <a:lvl1pPr marL="0" indent="0" algn="l">
              <a:lnSpc>
                <a:spcPct val="100000"/>
              </a:lnSpc>
              <a:buNone/>
              <a:defRPr sz="1000" b="0" i="0">
                <a:solidFill>
                  <a:schemeClr val="bg1"/>
                </a:solidFill>
                <a:latin typeface="Gibson" panose="02000000000000000000" pitchFamily="2" charset="77"/>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Simple subtitle name</a:t>
            </a:r>
            <a:endParaRPr lang="en-DE"/>
          </a:p>
        </p:txBody>
      </p:sp>
      <p:sp>
        <p:nvSpPr>
          <p:cNvPr id="33" name="Half-frame 32">
            <a:extLst>
              <a:ext uri="{FF2B5EF4-FFF2-40B4-BE49-F238E27FC236}">
                <a16:creationId xmlns:a16="http://schemas.microsoft.com/office/drawing/2014/main" id="{B34921E1-232A-094A-9F9B-819F7F1E0767}"/>
              </a:ext>
            </a:extLst>
          </p:cNvPr>
          <p:cNvSpPr/>
          <p:nvPr userDrawn="1"/>
        </p:nvSpPr>
        <p:spPr>
          <a:xfrm rot="16200000">
            <a:off x="907555" y="851642"/>
            <a:ext cx="146063" cy="50540"/>
          </a:xfrm>
          <a:prstGeom prst="halfFrame">
            <a:avLst>
              <a:gd name="adj1" fmla="val 0"/>
              <a:gd name="adj2" fmla="val 0"/>
            </a:avLst>
          </a:prstGeom>
          <a:solidFill>
            <a:schemeClr val="tx2">
              <a:lumMod val="60000"/>
              <a:lumOff val="4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4" name="Content Placeholder 47">
            <a:extLst>
              <a:ext uri="{FF2B5EF4-FFF2-40B4-BE49-F238E27FC236}">
                <a16:creationId xmlns:a16="http://schemas.microsoft.com/office/drawing/2014/main" id="{5A18030E-BFF4-2F42-A7E5-6503C5062848}"/>
              </a:ext>
            </a:extLst>
          </p:cNvPr>
          <p:cNvSpPr>
            <a:spLocks noGrp="1"/>
          </p:cNvSpPr>
          <p:nvPr>
            <p:ph sz="quarter" idx="20" hasCustomPrompt="1"/>
          </p:nvPr>
        </p:nvSpPr>
        <p:spPr>
          <a:xfrm>
            <a:off x="3166984" y="828833"/>
            <a:ext cx="675185" cy="230832"/>
          </a:xfrm>
          <a:prstGeom prst="rect">
            <a:avLst/>
          </a:prstGeom>
        </p:spPr>
        <p:txBody>
          <a:bodyPr wrap="none">
            <a:spAutoFit/>
          </a:bodyPr>
          <a:lstStyle>
            <a:lvl1pPr marL="0" indent="0" algn="l">
              <a:lnSpc>
                <a:spcPct val="100000"/>
              </a:lnSpc>
              <a:buNone/>
              <a:defRPr sz="900">
                <a:solidFill>
                  <a:schemeClr val="tx2">
                    <a:lumMod val="20000"/>
                    <a:lumOff val="80000"/>
                  </a:schemeClr>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Item name</a:t>
            </a:r>
            <a:endParaRPr lang="en-DE"/>
          </a:p>
        </p:txBody>
      </p:sp>
      <p:sp>
        <p:nvSpPr>
          <p:cNvPr id="35" name="Text Placeholder 54">
            <a:extLst>
              <a:ext uri="{FF2B5EF4-FFF2-40B4-BE49-F238E27FC236}">
                <a16:creationId xmlns:a16="http://schemas.microsoft.com/office/drawing/2014/main" id="{2D275270-EFE9-EA47-B326-25BD6124D6F0}"/>
              </a:ext>
            </a:extLst>
          </p:cNvPr>
          <p:cNvSpPr>
            <a:spLocks noGrp="1"/>
          </p:cNvSpPr>
          <p:nvPr>
            <p:ph type="body" sz="quarter" idx="23" hasCustomPrompt="1"/>
          </p:nvPr>
        </p:nvSpPr>
        <p:spPr>
          <a:xfrm>
            <a:off x="1030456"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36" name="Text Placeholder 54">
            <a:extLst>
              <a:ext uri="{FF2B5EF4-FFF2-40B4-BE49-F238E27FC236}">
                <a16:creationId xmlns:a16="http://schemas.microsoft.com/office/drawing/2014/main" id="{2ECAF1F8-5BE0-184C-B0F7-0E25F62C1E0E}"/>
              </a:ext>
            </a:extLst>
          </p:cNvPr>
          <p:cNvSpPr>
            <a:spLocks noGrp="1"/>
          </p:cNvSpPr>
          <p:nvPr>
            <p:ph type="body" sz="quarter" idx="24" hasCustomPrompt="1"/>
          </p:nvPr>
        </p:nvSpPr>
        <p:spPr>
          <a:xfrm>
            <a:off x="1267848"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37" name="Text Placeholder 54">
            <a:extLst>
              <a:ext uri="{FF2B5EF4-FFF2-40B4-BE49-F238E27FC236}">
                <a16:creationId xmlns:a16="http://schemas.microsoft.com/office/drawing/2014/main" id="{4C9F281A-4A5F-7844-B5A1-D4498E2F198B}"/>
              </a:ext>
            </a:extLst>
          </p:cNvPr>
          <p:cNvSpPr>
            <a:spLocks noGrp="1"/>
          </p:cNvSpPr>
          <p:nvPr>
            <p:ph type="body" sz="quarter" idx="25" hasCustomPrompt="1"/>
          </p:nvPr>
        </p:nvSpPr>
        <p:spPr>
          <a:xfrm>
            <a:off x="1505240"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38" name="Text Placeholder 54">
            <a:extLst>
              <a:ext uri="{FF2B5EF4-FFF2-40B4-BE49-F238E27FC236}">
                <a16:creationId xmlns:a16="http://schemas.microsoft.com/office/drawing/2014/main" id="{DBC19A99-32A4-514E-B9F0-E2193AB7110C}"/>
              </a:ext>
            </a:extLst>
          </p:cNvPr>
          <p:cNvSpPr>
            <a:spLocks noGrp="1"/>
          </p:cNvSpPr>
          <p:nvPr>
            <p:ph type="body" sz="quarter" idx="26" hasCustomPrompt="1"/>
          </p:nvPr>
        </p:nvSpPr>
        <p:spPr>
          <a:xfrm>
            <a:off x="1742632"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39" name="Text Placeholder 54">
            <a:extLst>
              <a:ext uri="{FF2B5EF4-FFF2-40B4-BE49-F238E27FC236}">
                <a16:creationId xmlns:a16="http://schemas.microsoft.com/office/drawing/2014/main" id="{BB43BDE7-01A7-254E-BA7F-B405CE1E4669}"/>
              </a:ext>
            </a:extLst>
          </p:cNvPr>
          <p:cNvSpPr>
            <a:spLocks noGrp="1"/>
          </p:cNvSpPr>
          <p:nvPr>
            <p:ph type="body" sz="quarter" idx="27" hasCustomPrompt="1"/>
          </p:nvPr>
        </p:nvSpPr>
        <p:spPr>
          <a:xfrm>
            <a:off x="1980024"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40" name="Text Placeholder 54">
            <a:extLst>
              <a:ext uri="{FF2B5EF4-FFF2-40B4-BE49-F238E27FC236}">
                <a16:creationId xmlns:a16="http://schemas.microsoft.com/office/drawing/2014/main" id="{5F6DEB27-6C2E-3045-8D72-8E98C754DC37}"/>
              </a:ext>
            </a:extLst>
          </p:cNvPr>
          <p:cNvSpPr>
            <a:spLocks noGrp="1"/>
          </p:cNvSpPr>
          <p:nvPr>
            <p:ph type="body" sz="quarter" idx="28" hasCustomPrompt="1"/>
          </p:nvPr>
        </p:nvSpPr>
        <p:spPr>
          <a:xfrm>
            <a:off x="2217416"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41" name="Text Placeholder 54">
            <a:extLst>
              <a:ext uri="{FF2B5EF4-FFF2-40B4-BE49-F238E27FC236}">
                <a16:creationId xmlns:a16="http://schemas.microsoft.com/office/drawing/2014/main" id="{C2226E46-6F24-BC4E-BE8D-2F7639BBE11F}"/>
              </a:ext>
            </a:extLst>
          </p:cNvPr>
          <p:cNvSpPr>
            <a:spLocks noGrp="1"/>
          </p:cNvSpPr>
          <p:nvPr>
            <p:ph type="body" sz="quarter" idx="29" hasCustomPrompt="1"/>
          </p:nvPr>
        </p:nvSpPr>
        <p:spPr>
          <a:xfrm>
            <a:off x="2454808"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42" name="Text Placeholder 54">
            <a:extLst>
              <a:ext uri="{FF2B5EF4-FFF2-40B4-BE49-F238E27FC236}">
                <a16:creationId xmlns:a16="http://schemas.microsoft.com/office/drawing/2014/main" id="{BC78ABAC-847D-3841-9CA0-B128297B774D}"/>
              </a:ext>
            </a:extLst>
          </p:cNvPr>
          <p:cNvSpPr>
            <a:spLocks noGrp="1"/>
          </p:cNvSpPr>
          <p:nvPr>
            <p:ph type="body" sz="quarter" idx="30" hasCustomPrompt="1"/>
          </p:nvPr>
        </p:nvSpPr>
        <p:spPr>
          <a:xfrm>
            <a:off x="2692200"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
        <p:nvSpPr>
          <p:cNvPr id="43" name="Text Placeholder 54">
            <a:extLst>
              <a:ext uri="{FF2B5EF4-FFF2-40B4-BE49-F238E27FC236}">
                <a16:creationId xmlns:a16="http://schemas.microsoft.com/office/drawing/2014/main" id="{D283BE1D-C29D-C84A-9F9A-833B7A2F286B}"/>
              </a:ext>
            </a:extLst>
          </p:cNvPr>
          <p:cNvSpPr>
            <a:spLocks noGrp="1"/>
          </p:cNvSpPr>
          <p:nvPr>
            <p:ph type="body" sz="quarter" idx="31" hasCustomPrompt="1"/>
          </p:nvPr>
        </p:nvSpPr>
        <p:spPr>
          <a:xfrm>
            <a:off x="2929592" y="843480"/>
            <a:ext cx="212793" cy="208671"/>
          </a:xfrm>
          <a:prstGeom prst="ellipse">
            <a:avLst/>
          </a:prstGeom>
          <a:solidFill>
            <a:schemeClr val="tx2">
              <a:lumMod val="60000"/>
              <a:lumOff val="40000"/>
            </a:schemeClr>
          </a:solidFill>
        </p:spPr>
        <p:txBody>
          <a:bodyPr anchor="ctr"/>
          <a:lstStyle>
            <a:lvl1pPr marL="0" indent="0" algn="ctr">
              <a:lnSpc>
                <a:spcPct val="100000"/>
              </a:lnSpc>
              <a:buFontTx/>
              <a:buNone/>
              <a:defRPr sz="1000">
                <a:solidFill>
                  <a:schemeClr val="tx2">
                    <a:lumMod val="20000"/>
                    <a:lumOff val="80000"/>
                  </a:schemeClr>
                </a:solidFill>
              </a:defRPr>
            </a:lvl1pPr>
            <a:lvl2pPr marL="457200" indent="0">
              <a:buFontTx/>
              <a:buNone/>
              <a:defRPr sz="1000">
                <a:solidFill>
                  <a:schemeClr val="accent2"/>
                </a:solidFill>
              </a:defRPr>
            </a:lvl2pPr>
            <a:lvl3pPr marL="914400" indent="0">
              <a:buFontTx/>
              <a:buNone/>
              <a:defRPr sz="1000">
                <a:solidFill>
                  <a:schemeClr val="accent2"/>
                </a:solidFill>
              </a:defRPr>
            </a:lvl3pPr>
            <a:lvl4pPr marL="1371600" indent="0">
              <a:buFontTx/>
              <a:buNone/>
              <a:defRPr sz="1000">
                <a:solidFill>
                  <a:schemeClr val="accent2"/>
                </a:solidFill>
              </a:defRPr>
            </a:lvl4pPr>
            <a:lvl5pPr marL="1828800" indent="0">
              <a:buFontTx/>
              <a:buNone/>
              <a:defRPr sz="1000">
                <a:solidFill>
                  <a:schemeClr val="accent2"/>
                </a:solidFill>
              </a:defRPr>
            </a:lvl5pPr>
          </a:lstStyle>
          <a:p>
            <a:pPr lvl="0"/>
            <a:r>
              <a:rPr lang="en-DE"/>
              <a:t>#</a:t>
            </a:r>
          </a:p>
        </p:txBody>
      </p:sp>
    </p:spTree>
    <p:extLst>
      <p:ext uri="{BB962C8B-B14F-4D97-AF65-F5344CB8AC3E}">
        <p14:creationId xmlns:p14="http://schemas.microsoft.com/office/powerpoint/2010/main" val="841645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p:nvPr>
        </p:nvSpPr>
        <p:spPr>
          <a:xfrm>
            <a:off x="622570" y="198641"/>
            <a:ext cx="10898448"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6" name="Text Placeholder 19"/>
          <p:cNvSpPr>
            <a:spLocks noGrp="1"/>
          </p:cNvSpPr>
          <p:nvPr>
            <p:ph type="body" sz="quarter" idx="13"/>
          </p:nvPr>
        </p:nvSpPr>
        <p:spPr>
          <a:xfrm>
            <a:off x="622985" y="799079"/>
            <a:ext cx="10898236"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29" name="Marcador de texto 2"/>
          <p:cNvSpPr>
            <a:spLocks noGrp="1"/>
          </p:cNvSpPr>
          <p:nvPr>
            <p:ph type="body" sz="quarter" idx="18" hasCustomPrompt="1"/>
          </p:nvPr>
        </p:nvSpPr>
        <p:spPr>
          <a:xfrm>
            <a:off x="627139" y="1480159"/>
            <a:ext cx="10874423"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4017811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idnight + Big Title">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7" name="TextBox 6">
            <a:extLst>
              <a:ext uri="{FF2B5EF4-FFF2-40B4-BE49-F238E27FC236}">
                <a16:creationId xmlns:a16="http://schemas.microsoft.com/office/drawing/2014/main" id="{6C9D59CD-6DBB-A543-8ED0-818CD9D347A8}"/>
              </a:ext>
            </a:extLst>
          </p:cNvPr>
          <p:cNvSpPr txBox="1"/>
          <p:nvPr userDrawn="1"/>
        </p:nvSpPr>
        <p:spPr>
          <a:xfrm>
            <a:off x="8818323" y="432148"/>
            <a:ext cx="184731" cy="369332"/>
          </a:xfrm>
          <a:prstGeom prst="rect">
            <a:avLst/>
          </a:prstGeom>
          <a:noFill/>
        </p:spPr>
        <p:txBody>
          <a:bodyPr wrap="none" rtlCol="0">
            <a:spAutoFit/>
          </a:bodyPr>
          <a:lstStyle/>
          <a:p>
            <a:endParaRPr lang="en-DE"/>
          </a:p>
        </p:txBody>
      </p:sp>
      <p:sp>
        <p:nvSpPr>
          <p:cNvPr id="11" name="Text Placeholder 10">
            <a:extLst>
              <a:ext uri="{FF2B5EF4-FFF2-40B4-BE49-F238E27FC236}">
                <a16:creationId xmlns:a16="http://schemas.microsoft.com/office/drawing/2014/main" id="{48C068FD-5C6A-6C48-A5B0-FD752C38D0B3}"/>
              </a:ext>
            </a:extLst>
          </p:cNvPr>
          <p:cNvSpPr>
            <a:spLocks noGrp="1"/>
          </p:cNvSpPr>
          <p:nvPr>
            <p:ph type="body" sz="quarter" idx="10" hasCustomPrompt="1"/>
          </p:nvPr>
        </p:nvSpPr>
        <p:spPr>
          <a:xfrm>
            <a:off x="1508034" y="626321"/>
            <a:ext cx="9160030" cy="6231680"/>
          </a:xfrm>
          <a:prstGeom prst="rect">
            <a:avLst/>
          </a:prstGeom>
        </p:spPr>
        <p:txBody>
          <a:bodyPr anchor="ctr"/>
          <a:lstStyle>
            <a:lvl1pPr marL="0" indent="0" algn="ctr">
              <a:buNone/>
              <a:defRPr sz="6000" spc="-15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Click to insert a big title</a:t>
            </a:r>
            <a:endParaRPr lang="en-DE"/>
          </a:p>
        </p:txBody>
      </p:sp>
    </p:spTree>
    <p:extLst>
      <p:ext uri="{BB962C8B-B14F-4D97-AF65-F5344CB8AC3E}">
        <p14:creationId xmlns:p14="http://schemas.microsoft.com/office/powerpoint/2010/main" val="40650130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idnight + Title + Subtitle">
    <p:bg>
      <p:bgPr>
        <a:solidFill>
          <a:schemeClr val="tx2"/>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9B3DE78-FE36-B34E-BBF6-905858AC5CE5}"/>
              </a:ext>
            </a:extLst>
          </p:cNvPr>
          <p:cNvCxnSpPr/>
          <p:nvPr userDrawn="1"/>
        </p:nvCxnSpPr>
        <p:spPr>
          <a:xfrm>
            <a:off x="-7951" y="260829"/>
            <a:ext cx="1219995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drawing, clock&#10;&#10;Description automatically generated">
            <a:extLst>
              <a:ext uri="{FF2B5EF4-FFF2-40B4-BE49-F238E27FC236}">
                <a16:creationId xmlns:a16="http://schemas.microsoft.com/office/drawing/2014/main" id="{8AF56E37-B127-8F47-8EFD-DEED9FCD7FDD}"/>
              </a:ext>
            </a:extLst>
          </p:cNvPr>
          <p:cNvPicPr>
            <a:picLocks noChangeAspect="1"/>
          </p:cNvPicPr>
          <p:nvPr userDrawn="1"/>
        </p:nvPicPr>
        <p:blipFill>
          <a:blip r:embed="rId2"/>
          <a:stretch>
            <a:fillRect/>
          </a:stretch>
        </p:blipFill>
        <p:spPr>
          <a:xfrm>
            <a:off x="11279130" y="92675"/>
            <a:ext cx="599163" cy="80045"/>
          </a:xfrm>
          <a:prstGeom prst="rect">
            <a:avLst/>
          </a:prstGeom>
        </p:spPr>
      </p:pic>
      <p:pic>
        <p:nvPicPr>
          <p:cNvPr id="8" name="Picture 7">
            <a:extLst>
              <a:ext uri="{FF2B5EF4-FFF2-40B4-BE49-F238E27FC236}">
                <a16:creationId xmlns:a16="http://schemas.microsoft.com/office/drawing/2014/main" id="{925949B4-6CF1-BC48-9F6E-F1265184D091}"/>
              </a:ext>
            </a:extLst>
          </p:cNvPr>
          <p:cNvPicPr>
            <a:picLocks noChangeAspect="1"/>
          </p:cNvPicPr>
          <p:nvPr userDrawn="1"/>
        </p:nvPicPr>
        <p:blipFill>
          <a:blip r:embed="rId3"/>
          <a:stretch>
            <a:fillRect/>
          </a:stretch>
        </p:blipFill>
        <p:spPr>
          <a:xfrm>
            <a:off x="311037" y="94402"/>
            <a:ext cx="339205" cy="339205"/>
          </a:xfrm>
          <a:prstGeom prst="ellipse">
            <a:avLst/>
          </a:prstGeom>
          <a:ln w="19050">
            <a:solidFill>
              <a:schemeClr val="tx2"/>
            </a:solidFill>
          </a:ln>
        </p:spPr>
      </p:pic>
      <p:sp>
        <p:nvSpPr>
          <p:cNvPr id="7" name="TextBox 6">
            <a:extLst>
              <a:ext uri="{FF2B5EF4-FFF2-40B4-BE49-F238E27FC236}">
                <a16:creationId xmlns:a16="http://schemas.microsoft.com/office/drawing/2014/main" id="{6C9D59CD-6DBB-A543-8ED0-818CD9D347A8}"/>
              </a:ext>
            </a:extLst>
          </p:cNvPr>
          <p:cNvSpPr txBox="1"/>
          <p:nvPr userDrawn="1"/>
        </p:nvSpPr>
        <p:spPr>
          <a:xfrm>
            <a:off x="8818323" y="432148"/>
            <a:ext cx="184731" cy="369332"/>
          </a:xfrm>
          <a:prstGeom prst="rect">
            <a:avLst/>
          </a:prstGeom>
          <a:noFill/>
        </p:spPr>
        <p:txBody>
          <a:bodyPr wrap="none" rtlCol="0">
            <a:spAutoFit/>
          </a:bodyPr>
          <a:lstStyle/>
          <a:p>
            <a:endParaRPr lang="en-DE"/>
          </a:p>
        </p:txBody>
      </p:sp>
      <p:sp>
        <p:nvSpPr>
          <p:cNvPr id="11" name="Text Placeholder 10">
            <a:extLst>
              <a:ext uri="{FF2B5EF4-FFF2-40B4-BE49-F238E27FC236}">
                <a16:creationId xmlns:a16="http://schemas.microsoft.com/office/drawing/2014/main" id="{48C068FD-5C6A-6C48-A5B0-FD752C38D0B3}"/>
              </a:ext>
            </a:extLst>
          </p:cNvPr>
          <p:cNvSpPr>
            <a:spLocks noGrp="1"/>
          </p:cNvSpPr>
          <p:nvPr>
            <p:ph type="body" sz="quarter" idx="10" hasCustomPrompt="1"/>
          </p:nvPr>
        </p:nvSpPr>
        <p:spPr>
          <a:xfrm>
            <a:off x="1508034" y="626321"/>
            <a:ext cx="9160030" cy="3394534"/>
          </a:xfrm>
          <a:prstGeom prst="rect">
            <a:avLst/>
          </a:prstGeom>
        </p:spPr>
        <p:txBody>
          <a:bodyPr anchor="b"/>
          <a:lstStyle>
            <a:lvl1pPr marL="0" indent="0" algn="ctr">
              <a:buNone/>
              <a:defRPr sz="6000" spc="-15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Click to insert a big title</a:t>
            </a:r>
            <a:endParaRPr lang="en-DE"/>
          </a:p>
        </p:txBody>
      </p:sp>
      <p:sp>
        <p:nvSpPr>
          <p:cNvPr id="12" name="Text Placeholder 10">
            <a:extLst>
              <a:ext uri="{FF2B5EF4-FFF2-40B4-BE49-F238E27FC236}">
                <a16:creationId xmlns:a16="http://schemas.microsoft.com/office/drawing/2014/main" id="{4F92ABBE-95B1-F84F-A298-C3AFE217CC48}"/>
              </a:ext>
            </a:extLst>
          </p:cNvPr>
          <p:cNvSpPr>
            <a:spLocks noGrp="1"/>
          </p:cNvSpPr>
          <p:nvPr>
            <p:ph type="body" sz="quarter" idx="11" hasCustomPrompt="1"/>
          </p:nvPr>
        </p:nvSpPr>
        <p:spPr>
          <a:xfrm>
            <a:off x="3427957" y="4020855"/>
            <a:ext cx="5315210" cy="2835278"/>
          </a:xfrm>
          <a:prstGeom prst="rect">
            <a:avLst/>
          </a:prstGeom>
        </p:spPr>
        <p:txBody>
          <a:bodyPr anchor="t"/>
          <a:lstStyle>
            <a:lvl1pPr marL="0" indent="0" algn="ctr">
              <a:buNone/>
              <a:defRPr sz="1600" spc="300">
                <a:solidFill>
                  <a:schemeClr val="tx2">
                    <a:lumMod val="60000"/>
                    <a:lumOff val="40000"/>
                  </a:schemeClr>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ALL CAPS SPACED SUBTITLE</a:t>
            </a:r>
            <a:endParaRPr lang="en-DE"/>
          </a:p>
        </p:txBody>
      </p:sp>
    </p:spTree>
    <p:extLst>
      <p:ext uri="{BB962C8B-B14F-4D97-AF65-F5344CB8AC3E}">
        <p14:creationId xmlns:p14="http://schemas.microsoft.com/office/powerpoint/2010/main" val="36561425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play">
    <p:bg>
      <p:bgPr>
        <a:solidFill>
          <a:schemeClr val="bg1"/>
        </a:solidFill>
        <a:effectLst/>
      </p:bgPr>
    </p:bg>
    <p:spTree>
      <p:nvGrpSpPr>
        <p:cNvPr id="1" name=""/>
        <p:cNvGrpSpPr/>
        <p:nvPr/>
      </p:nvGrpSpPr>
      <p:grpSpPr>
        <a:xfrm>
          <a:off x="0" y="0"/>
          <a:ext cx="0" cy="0"/>
          <a:chOff x="0" y="0"/>
          <a:chExt cx="0" cy="0"/>
        </a:xfrm>
      </p:grpSpPr>
      <p:sp>
        <p:nvSpPr>
          <p:cNvPr id="22" name="Picture Placeholder 13">
            <a:extLst>
              <a:ext uri="{FF2B5EF4-FFF2-40B4-BE49-F238E27FC236}">
                <a16:creationId xmlns:a16="http://schemas.microsoft.com/office/drawing/2014/main" id="{E7EA9194-7A74-4746-A2F0-D021E6FF4412}"/>
              </a:ext>
            </a:extLst>
          </p:cNvPr>
          <p:cNvSpPr>
            <a:spLocks noGrp="1"/>
          </p:cNvSpPr>
          <p:nvPr>
            <p:ph type="pic" sz="quarter" idx="11" hasCustomPrompt="1"/>
          </p:nvPr>
        </p:nvSpPr>
        <p:spPr>
          <a:xfrm>
            <a:off x="0" y="-6"/>
            <a:ext cx="12192000" cy="6858005"/>
          </a:xfrm>
          <a:prstGeom prst="rect">
            <a:avLst/>
          </a:prstGeom>
          <a:solidFill>
            <a:schemeClr val="tx1"/>
          </a:solidFill>
        </p:spPr>
        <p:txBody>
          <a:bodyPr/>
          <a:lstStyle>
            <a:lvl1pPr marL="0" indent="0">
              <a:buNone/>
              <a:defRPr/>
            </a:lvl1pPr>
          </a:lstStyle>
          <a:p>
            <a:r>
              <a:rPr lang="en-DE"/>
              <a:t> </a:t>
            </a:r>
          </a:p>
        </p:txBody>
      </p:sp>
      <p:sp>
        <p:nvSpPr>
          <p:cNvPr id="7" name="Text Placeholder 58">
            <a:extLst>
              <a:ext uri="{FF2B5EF4-FFF2-40B4-BE49-F238E27FC236}">
                <a16:creationId xmlns:a16="http://schemas.microsoft.com/office/drawing/2014/main" id="{B5A5B033-7D43-BD4A-A406-4A01C2C66364}"/>
              </a:ext>
            </a:extLst>
          </p:cNvPr>
          <p:cNvSpPr txBox="1">
            <a:spLocks/>
          </p:cNvSpPr>
          <p:nvPr userDrawn="1"/>
        </p:nvSpPr>
        <p:spPr>
          <a:xfrm>
            <a:off x="-7951" y="-180883"/>
            <a:ext cx="12199951" cy="3100698"/>
          </a:xfrm>
          <a:prstGeom prst="rect">
            <a:avLst/>
          </a:prstGeom>
          <a:gradFill>
            <a:gsLst>
              <a:gs pos="0">
                <a:schemeClr val="tx1">
                  <a:lumMod val="45000"/>
                  <a:alpha val="43000"/>
                </a:schemeClr>
              </a:gs>
              <a:gs pos="100000">
                <a:schemeClr val="tx1">
                  <a:lumMod val="0"/>
                  <a:alpha val="0"/>
                </a:schemeClr>
              </a:gs>
            </a:gsLst>
            <a:lin ang="5400000" scaled="1"/>
          </a:gradFill>
        </p:spPr>
        <p:txBody>
          <a:bodyPr/>
          <a:lstStyle>
            <a:lvl1pPr marL="0" indent="0" algn="l" defTabSz="914400" rtl="0" eaLnBrk="1" latinLnBrk="0" hangingPunct="1">
              <a:lnSpc>
                <a:spcPct val="90000"/>
              </a:lnSpc>
              <a:spcBef>
                <a:spcPts val="1000"/>
              </a:spcBef>
              <a:buSzPct val="70000"/>
              <a:buFont typeface="Symbol" pitchFamily="2" charset="2"/>
              <a:buNone/>
              <a:defRPr lang="en-US" sz="2800" b="0" i="0" kern="1200">
                <a:solidFill>
                  <a:srgbClr val="787875"/>
                </a:solidFill>
                <a:latin typeface="Gibson Ligh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a:buChar char="•"/>
              <a:defRPr lang="en-US" sz="2400" b="0" i="0" kern="1200" dirty="0">
                <a:solidFill>
                  <a:srgbClr val="787875"/>
                </a:solidFill>
                <a:latin typeface="Gibson Ligh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a:buChar char="•"/>
              <a:defRPr lang="en-US" sz="2100" b="0" i="0" kern="1200" dirty="0">
                <a:solidFill>
                  <a:srgbClr val="787875"/>
                </a:solidFill>
                <a:latin typeface="Gibson Ligh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a:buChar char="•"/>
              <a:defRPr lang="en-US" sz="1800" b="0" i="0" kern="1200" dirty="0">
                <a:solidFill>
                  <a:srgbClr val="787875"/>
                </a:solidFill>
                <a:latin typeface="Gibson Ligh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a:buChar char="•"/>
              <a:defRPr lang="en-US" sz="1400" b="0" i="0" kern="1200" dirty="0">
                <a:solidFill>
                  <a:srgbClr val="787875"/>
                </a:solidFill>
                <a:latin typeface="Gibson 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DE"/>
          </a:p>
        </p:txBody>
      </p:sp>
      <p:grpSp>
        <p:nvGrpSpPr>
          <p:cNvPr id="2" name="Group 1">
            <a:extLst>
              <a:ext uri="{FF2B5EF4-FFF2-40B4-BE49-F238E27FC236}">
                <a16:creationId xmlns:a16="http://schemas.microsoft.com/office/drawing/2014/main" id="{18145BD6-FDB3-E641-A328-A9BD656639C4}"/>
              </a:ext>
            </a:extLst>
          </p:cNvPr>
          <p:cNvGrpSpPr/>
          <p:nvPr userDrawn="1"/>
        </p:nvGrpSpPr>
        <p:grpSpPr>
          <a:xfrm>
            <a:off x="0" y="92675"/>
            <a:ext cx="12199951" cy="341574"/>
            <a:chOff x="0" y="92675"/>
            <a:chExt cx="12199951" cy="341574"/>
          </a:xfrm>
        </p:grpSpPr>
        <p:cxnSp>
          <p:nvCxnSpPr>
            <p:cNvPr id="11" name="Straight Connector 10">
              <a:extLst>
                <a:ext uri="{FF2B5EF4-FFF2-40B4-BE49-F238E27FC236}">
                  <a16:creationId xmlns:a16="http://schemas.microsoft.com/office/drawing/2014/main" id="{2F2B8840-D6B0-BA4E-B8E6-3E57E13C4E58}"/>
                </a:ext>
              </a:extLst>
            </p:cNvPr>
            <p:cNvCxnSpPr>
              <a:cxnSpLocks/>
            </p:cNvCxnSpPr>
            <p:nvPr userDrawn="1"/>
          </p:nvCxnSpPr>
          <p:spPr>
            <a:xfrm>
              <a:off x="685274" y="260829"/>
              <a:ext cx="11514677" cy="1090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drawing, clock&#10;&#10;Description automatically generated">
              <a:extLst>
                <a:ext uri="{FF2B5EF4-FFF2-40B4-BE49-F238E27FC236}">
                  <a16:creationId xmlns:a16="http://schemas.microsoft.com/office/drawing/2014/main" id="{964E227A-AAB7-894A-BFD7-41DDE542C379}"/>
                </a:ext>
              </a:extLst>
            </p:cNvPr>
            <p:cNvPicPr>
              <a:picLocks noChangeAspect="1"/>
            </p:cNvPicPr>
            <p:nvPr userDrawn="1"/>
          </p:nvPicPr>
          <p:blipFill>
            <a:blip r:embed="rId2"/>
            <a:stretch>
              <a:fillRect/>
            </a:stretch>
          </p:blipFill>
          <p:spPr>
            <a:xfrm>
              <a:off x="11279130" y="92675"/>
              <a:ext cx="599163" cy="80045"/>
            </a:xfrm>
            <a:prstGeom prst="rect">
              <a:avLst/>
            </a:prstGeom>
          </p:spPr>
        </p:pic>
        <p:cxnSp>
          <p:nvCxnSpPr>
            <p:cNvPr id="13" name="Straight Connector 12">
              <a:extLst>
                <a:ext uri="{FF2B5EF4-FFF2-40B4-BE49-F238E27FC236}">
                  <a16:creationId xmlns:a16="http://schemas.microsoft.com/office/drawing/2014/main" id="{01AEE4EE-29DD-BF42-BCA0-58C90684690F}"/>
                </a:ext>
              </a:extLst>
            </p:cNvPr>
            <p:cNvCxnSpPr>
              <a:cxnSpLocks/>
            </p:cNvCxnSpPr>
            <p:nvPr userDrawn="1"/>
          </p:nvCxnSpPr>
          <p:spPr>
            <a:xfrm>
              <a:off x="0" y="261124"/>
              <a:ext cx="27069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8FBA3599-26DA-6349-AAD9-B9A4DD716792}"/>
                </a:ext>
              </a:extLst>
            </p:cNvPr>
            <p:cNvPicPr>
              <a:picLocks noChangeAspect="1"/>
            </p:cNvPicPr>
            <p:nvPr userDrawn="1"/>
          </p:nvPicPr>
          <p:blipFill>
            <a:blip r:embed="rId3"/>
            <a:stretch>
              <a:fillRect/>
            </a:stretch>
          </p:blipFill>
          <p:spPr>
            <a:xfrm>
              <a:off x="312298" y="95044"/>
              <a:ext cx="339205" cy="339205"/>
            </a:xfrm>
            <a:prstGeom prst="rect">
              <a:avLst/>
            </a:prstGeom>
          </p:spPr>
        </p:pic>
      </p:grpSp>
      <p:sp>
        <p:nvSpPr>
          <p:cNvPr id="23" name="Content Placeholder 47">
            <a:extLst>
              <a:ext uri="{FF2B5EF4-FFF2-40B4-BE49-F238E27FC236}">
                <a16:creationId xmlns:a16="http://schemas.microsoft.com/office/drawing/2014/main" id="{7347B099-B4B4-1248-A409-8A7B2FCB803A}"/>
              </a:ext>
            </a:extLst>
          </p:cNvPr>
          <p:cNvSpPr>
            <a:spLocks noGrp="1"/>
          </p:cNvSpPr>
          <p:nvPr>
            <p:ph sz="quarter" idx="40" hasCustomPrompt="1"/>
          </p:nvPr>
        </p:nvSpPr>
        <p:spPr>
          <a:xfrm>
            <a:off x="658378" y="271730"/>
            <a:ext cx="9490829" cy="246221"/>
          </a:xfrm>
          <a:prstGeom prst="rect">
            <a:avLst/>
          </a:prstGeom>
        </p:spPr>
        <p:txBody>
          <a:bodyPr wrap="square">
            <a:spAutoFit/>
          </a:bodyPr>
          <a:lstStyle>
            <a:lvl1pPr marL="0" indent="0" algn="l">
              <a:lnSpc>
                <a:spcPct val="100000"/>
              </a:lnSpc>
              <a:buNone/>
              <a:defRPr sz="1000">
                <a:solidFill>
                  <a:schemeClr val="bg1"/>
                </a:solidFill>
              </a:defRPr>
            </a:lvl1pPr>
            <a:lvl2pPr marL="457200" indent="0">
              <a:buNone/>
              <a:defRPr sz="800">
                <a:solidFill>
                  <a:schemeClr val="accent2"/>
                </a:solidFill>
              </a:defRPr>
            </a:lvl2pPr>
            <a:lvl3pPr marL="914400" indent="0">
              <a:buNone/>
              <a:defRPr sz="800">
                <a:solidFill>
                  <a:schemeClr val="accent2"/>
                </a:solidFill>
              </a:defRPr>
            </a:lvl3pPr>
            <a:lvl4pPr marL="1371600" indent="0">
              <a:buNone/>
              <a:defRPr sz="800">
                <a:solidFill>
                  <a:schemeClr val="accent2"/>
                </a:solidFill>
              </a:defRPr>
            </a:lvl4pPr>
            <a:lvl5pPr marL="1828800" indent="0">
              <a:buNone/>
              <a:defRPr sz="800">
                <a:solidFill>
                  <a:schemeClr val="accent2"/>
                </a:solidFill>
              </a:defRPr>
            </a:lvl5pPr>
          </a:lstStyle>
          <a:p>
            <a:pPr lvl="0"/>
            <a:r>
              <a:rPr lang="en-GB"/>
              <a:t>Chapter name</a:t>
            </a:r>
            <a:endParaRPr lang="en-DE"/>
          </a:p>
        </p:txBody>
      </p:sp>
    </p:spTree>
    <p:extLst>
      <p:ext uri="{BB962C8B-B14F-4D97-AF65-F5344CB8AC3E}">
        <p14:creationId xmlns:p14="http://schemas.microsoft.com/office/powerpoint/2010/main" val="3911685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posal page:Title, Subhead and Content">
    <p:bg>
      <p:bgPr>
        <a:solidFill>
          <a:srgbClr val="005EB8"/>
        </a:solidFill>
        <a:effectLst/>
      </p:bgPr>
    </p:bg>
    <p:spTree>
      <p:nvGrpSpPr>
        <p:cNvPr id="1" name=""/>
        <p:cNvGrpSpPr/>
        <p:nvPr/>
      </p:nvGrpSpPr>
      <p:grpSpPr>
        <a:xfrm>
          <a:off x="0" y="0"/>
          <a:ext cx="0" cy="0"/>
          <a:chOff x="0" y="0"/>
          <a:chExt cx="0" cy="0"/>
        </a:xfrm>
      </p:grpSpPr>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chemeClr val="bg1"/>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chemeClr val="bg1"/>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chemeClr val="bg1"/>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chemeClr val="bg1"/>
                </a:solidFill>
                <a:latin typeface="Gibson Light" panose="02000000000000000000" pitchFamily="2" charset="77"/>
              </a:defRPr>
            </a:lvl3pPr>
            <a:lvl4pPr marL="1600200" indent="-228600">
              <a:lnSpc>
                <a:spcPct val="100000"/>
              </a:lnSpc>
              <a:buSzPct val="70000"/>
              <a:buFont typeface="Symbol" pitchFamily="2" charset="2"/>
              <a:buChar char="-"/>
              <a:defRPr b="0" i="0">
                <a:solidFill>
                  <a:schemeClr val="bg1"/>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chemeClr val="bg1"/>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chemeClr val="bg1"/>
                </a:solidFill>
                <a:latin typeface="Gibson" panose="02000000000000000000" pitchFamily="2" charset="77"/>
              </a:defRPr>
            </a:lvl1pPr>
          </a:lstStyle>
          <a:p>
            <a:r>
              <a:rPr lang="de-DE" err="1"/>
              <a:t>Strap</a:t>
            </a:r>
            <a:endParaRPr lang="de-DE"/>
          </a:p>
        </p:txBody>
      </p:sp>
    </p:spTree>
    <p:extLst>
      <p:ext uri="{BB962C8B-B14F-4D97-AF65-F5344CB8AC3E}">
        <p14:creationId xmlns:p14="http://schemas.microsoft.com/office/powerpoint/2010/main" val="22988787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option_NO IMAGE">
    <p:spTree>
      <p:nvGrpSpPr>
        <p:cNvPr id="1" name=""/>
        <p:cNvGrpSpPr/>
        <p:nvPr/>
      </p:nvGrpSpPr>
      <p:grpSpPr>
        <a:xfrm>
          <a:off x="0" y="0"/>
          <a:ext cx="0" cy="0"/>
          <a:chOff x="0" y="0"/>
          <a:chExt cx="0" cy="0"/>
        </a:xfrm>
      </p:grpSpPr>
      <p:sp>
        <p:nvSpPr>
          <p:cNvPr id="2" name="Title 1"/>
          <p:cNvSpPr>
            <a:spLocks noGrp="1"/>
          </p:cNvSpPr>
          <p:nvPr>
            <p:ph type="ctrTitle"/>
          </p:nvPr>
        </p:nvSpPr>
        <p:spPr>
          <a:xfrm>
            <a:off x="963813" y="1764051"/>
            <a:ext cx="10143533" cy="1829040"/>
          </a:xfrm>
          <a:prstGeom prst="rect">
            <a:avLst/>
          </a:prstGeom>
        </p:spPr>
        <p:txBody>
          <a:bodyPr anchor="b">
            <a:normAutofit/>
          </a:bodyPr>
          <a:lstStyle>
            <a:lvl1pPr algn="ctr">
              <a:defRPr sz="6600" b="0" i="0">
                <a:solidFill>
                  <a:srgbClr val="005EB8"/>
                </a:solidFill>
                <a:latin typeface="Gibson Light" panose="02000000000000000000" pitchFamily="2" charset="77"/>
              </a:defRPr>
            </a:lvl1pPr>
          </a:lstStyle>
          <a:p>
            <a:r>
              <a:rPr lang="en-US"/>
              <a:t>Click to edit Master title style</a:t>
            </a:r>
          </a:p>
        </p:txBody>
      </p:sp>
      <p:sp>
        <p:nvSpPr>
          <p:cNvPr id="3" name="Subtitle 2"/>
          <p:cNvSpPr>
            <a:spLocks noGrp="1"/>
          </p:cNvSpPr>
          <p:nvPr>
            <p:ph type="subTitle" idx="1"/>
          </p:nvPr>
        </p:nvSpPr>
        <p:spPr>
          <a:xfrm>
            <a:off x="963813" y="3643602"/>
            <a:ext cx="10143533" cy="1655762"/>
          </a:xfrm>
          <a:prstGeom prst="rect">
            <a:avLst/>
          </a:prstGeom>
        </p:spPr>
        <p:txBody>
          <a:bodyPr>
            <a:normAutofit/>
          </a:bodyPr>
          <a:lstStyle>
            <a:lvl1pPr marL="0" indent="0" algn="ctr">
              <a:buNone/>
              <a:defRPr sz="28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963813" y="6077296"/>
            <a:ext cx="10143533" cy="365125"/>
          </a:xfrm>
          <a:prstGeom prst="rect">
            <a:avLst/>
          </a:prstGeom>
        </p:spPr>
        <p:txBody>
          <a:bodyPr/>
          <a:lstStyle>
            <a:lvl1pPr algn="ctr">
              <a:defRPr sz="1200" b="0" i="0">
                <a:solidFill>
                  <a:srgbClr val="A6A6A8"/>
                </a:solidFill>
                <a:latin typeface="Gibson" panose="02000000000000000000" pitchFamily="2" charset="77"/>
              </a:defRPr>
            </a:lvl1pPr>
          </a:lstStyle>
          <a:p>
            <a:r>
              <a:rPr lang="en-US"/>
              <a:t>Footer  I  Credits  I  Links</a:t>
            </a:r>
          </a:p>
        </p:txBody>
      </p:sp>
      <p:cxnSp>
        <p:nvCxnSpPr>
          <p:cNvPr id="15" name="Straight Connector 14">
            <a:extLst>
              <a:ext uri="{FF2B5EF4-FFF2-40B4-BE49-F238E27FC236}">
                <a16:creationId xmlns:a16="http://schemas.microsoft.com/office/drawing/2014/main" id="{00FBA5B5-9F33-3544-B9B4-6EB6AC9C7212}"/>
              </a:ext>
            </a:extLst>
          </p:cNvPr>
          <p:cNvCxnSpPr/>
          <p:nvPr userDrawn="1"/>
        </p:nvCxnSpPr>
        <p:spPr>
          <a:xfrm>
            <a:off x="4001371" y="6004133"/>
            <a:ext cx="4068417"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2" name="Text Placeholder 4">
            <a:extLst>
              <a:ext uri="{FF2B5EF4-FFF2-40B4-BE49-F238E27FC236}">
                <a16:creationId xmlns:a16="http://schemas.microsoft.com/office/drawing/2014/main" id="{A70FAD50-E748-7F43-92B6-0FDDECCB03A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3" name="Picture 12">
            <a:extLst>
              <a:ext uri="{FF2B5EF4-FFF2-40B4-BE49-F238E27FC236}">
                <a16:creationId xmlns:a16="http://schemas.microsoft.com/office/drawing/2014/main" id="{58DB1A00-8033-6C49-9FFB-304FB775FE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2333821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pener Slide Option 2_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406758"/>
            <a:ext cx="6750067" cy="6451241"/>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a:br>
            <a:br>
              <a:rPr lang="en-GB" noProof="0"/>
            </a:br>
            <a:br>
              <a:rPr lang="en-GB" noProof="0"/>
            </a:br>
            <a:br>
              <a:rPr lang="en-GB" noProof="0"/>
            </a:br>
            <a:r>
              <a:rPr lang="en-GB" noProof="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1" name="Picture 10">
            <a:extLst>
              <a:ext uri="{FF2B5EF4-FFF2-40B4-BE49-F238E27FC236}">
                <a16:creationId xmlns:a16="http://schemas.microsoft.com/office/drawing/2014/main" id="{BA9E8555-23CF-394B-ABCD-6DE2F00383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7609971" y="1501996"/>
            <a:ext cx="4061316"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7609971" y="4029740"/>
            <a:ext cx="4076388"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A6A6A8"/>
                </a:solidFill>
                <a:latin typeface="Gibson" panose="02000000000000000000" pitchFamily="2" charset="77"/>
              </a:defRPr>
            </a:lvl1pPr>
          </a:lstStyle>
          <a:p>
            <a:r>
              <a:rPr lang="en-US"/>
              <a:t>Name  I  00.00.00  I  Location</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23243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Opener Slide Option 2_ MORE LOGOS small Image">
    <p:spTree>
      <p:nvGrpSpPr>
        <p:cNvPr id="1" name=""/>
        <p:cNvGrpSpPr/>
        <p:nvPr/>
      </p:nvGrpSpPr>
      <p:grpSpPr>
        <a:xfrm>
          <a:off x="0" y="0"/>
          <a:ext cx="0" cy="0"/>
          <a:chOff x="0" y="0"/>
          <a:chExt cx="0" cy="0"/>
        </a:xfrm>
      </p:grpSpPr>
      <p:sp>
        <p:nvSpPr>
          <p:cNvPr id="9" name="Marcador de posición de imagen 34">
            <a:extLst>
              <a:ext uri="{FF2B5EF4-FFF2-40B4-BE49-F238E27FC236}">
                <a16:creationId xmlns:a16="http://schemas.microsoft.com/office/drawing/2014/main" id="{99DC200B-5737-0C44-BF8F-C90386F0F9F0}"/>
              </a:ext>
            </a:extLst>
          </p:cNvPr>
          <p:cNvSpPr>
            <a:spLocks noGrp="1"/>
          </p:cNvSpPr>
          <p:nvPr>
            <p:ph type="pic" sz="quarter" idx="21" hasCustomPrompt="1"/>
          </p:nvPr>
        </p:nvSpPr>
        <p:spPr>
          <a:xfrm>
            <a:off x="-8728" y="1087551"/>
            <a:ext cx="6037739" cy="5770448"/>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2"/>
          </a:solidFill>
        </p:spPr>
        <p:txBody>
          <a:bodyPr wrap="square" anchor="ctr">
            <a:noAutofit/>
          </a:bodyPr>
          <a:lstStyle>
            <a:lvl1pPr marL="0" indent="0" algn="ctr">
              <a:buNone/>
              <a:defRPr baseline="0">
                <a:noFill/>
              </a:defRPr>
            </a:lvl1pPr>
          </a:lstStyle>
          <a:p>
            <a:br>
              <a:rPr lang="en-GB" noProof="0"/>
            </a:br>
            <a:br>
              <a:rPr lang="en-GB" noProof="0"/>
            </a:br>
            <a:br>
              <a:rPr lang="en-GB" noProof="0"/>
            </a:br>
            <a:br>
              <a:rPr lang="en-GB" noProof="0"/>
            </a:br>
            <a:r>
              <a:rPr lang="en-GB" noProof="0"/>
              <a:t>Insert your picture here</a:t>
            </a:r>
          </a:p>
        </p:txBody>
      </p:sp>
      <p:sp>
        <p:nvSpPr>
          <p:cNvPr id="10" name="Text Placeholder 4">
            <a:extLst>
              <a:ext uri="{FF2B5EF4-FFF2-40B4-BE49-F238E27FC236}">
                <a16:creationId xmlns:a16="http://schemas.microsoft.com/office/drawing/2014/main" id="{986AF3D3-2756-CD44-B891-06D7B2BFB974}"/>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1" name="Picture 10">
            <a:extLst>
              <a:ext uri="{FF2B5EF4-FFF2-40B4-BE49-F238E27FC236}">
                <a16:creationId xmlns:a16="http://schemas.microsoft.com/office/drawing/2014/main" id="{BA9E8555-23CF-394B-ABCD-6DE2F00383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
        <p:nvSpPr>
          <p:cNvPr id="12" name="Title 1">
            <a:extLst>
              <a:ext uri="{FF2B5EF4-FFF2-40B4-BE49-F238E27FC236}">
                <a16:creationId xmlns:a16="http://schemas.microsoft.com/office/drawing/2014/main" id="{2B52A25D-F69E-4740-9840-BA4AD4156E10}"/>
              </a:ext>
            </a:extLst>
          </p:cNvPr>
          <p:cNvSpPr>
            <a:spLocks noGrp="1"/>
          </p:cNvSpPr>
          <p:nvPr>
            <p:ph type="ctrTitle"/>
          </p:nvPr>
        </p:nvSpPr>
        <p:spPr>
          <a:xfrm>
            <a:off x="6963508" y="1501996"/>
            <a:ext cx="4707779" cy="2472574"/>
          </a:xfrm>
          <a:prstGeom prst="rect">
            <a:avLst/>
          </a:prstGeom>
        </p:spPr>
        <p:txBody>
          <a:bodyPr anchor="b">
            <a:normAutofit/>
          </a:bodyPr>
          <a:lstStyle>
            <a:lvl1pPr algn="r">
              <a:defRPr sz="5400" b="0" i="0">
                <a:solidFill>
                  <a:srgbClr val="005EB8"/>
                </a:solidFill>
                <a:latin typeface="Gibson Light" panose="02000000000000000000" pitchFamily="2" charset="77"/>
              </a:defRPr>
            </a:lvl1pPr>
          </a:lstStyle>
          <a:p>
            <a:r>
              <a:rPr lang="en-US"/>
              <a:t>Click to edit Master title style</a:t>
            </a:r>
          </a:p>
        </p:txBody>
      </p:sp>
      <p:sp>
        <p:nvSpPr>
          <p:cNvPr id="13" name="Subtitle 2">
            <a:extLst>
              <a:ext uri="{FF2B5EF4-FFF2-40B4-BE49-F238E27FC236}">
                <a16:creationId xmlns:a16="http://schemas.microsoft.com/office/drawing/2014/main" id="{F62E44EB-EB24-4647-88D4-4C06DF1A3579}"/>
              </a:ext>
            </a:extLst>
          </p:cNvPr>
          <p:cNvSpPr>
            <a:spLocks noGrp="1"/>
          </p:cNvSpPr>
          <p:nvPr>
            <p:ph type="subTitle" idx="1"/>
          </p:nvPr>
        </p:nvSpPr>
        <p:spPr>
          <a:xfrm>
            <a:off x="6963508" y="4029740"/>
            <a:ext cx="4722851" cy="1269624"/>
          </a:xfrm>
          <a:prstGeom prst="rect">
            <a:avLst/>
          </a:prstGeom>
        </p:spPr>
        <p:txBody>
          <a:bodyPr>
            <a:normAutofit/>
          </a:bodyPr>
          <a:lstStyle>
            <a:lvl1pPr marL="0" indent="0" algn="r">
              <a:buNone/>
              <a:defRPr sz="2000" b="0" i="0">
                <a:solidFill>
                  <a:srgbClr val="00A9E0"/>
                </a:solidFill>
                <a:latin typeface="Gibson Light" panose="020000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Footer Placeholder 4">
            <a:extLst>
              <a:ext uri="{FF2B5EF4-FFF2-40B4-BE49-F238E27FC236}">
                <a16:creationId xmlns:a16="http://schemas.microsoft.com/office/drawing/2014/main" id="{5BCF212E-EEFB-9D42-9D12-877793DBA6B2}"/>
              </a:ext>
            </a:extLst>
          </p:cNvPr>
          <p:cNvSpPr>
            <a:spLocks noGrp="1"/>
          </p:cNvSpPr>
          <p:nvPr>
            <p:ph type="ftr" sz="quarter" idx="11"/>
          </p:nvPr>
        </p:nvSpPr>
        <p:spPr>
          <a:xfrm>
            <a:off x="6509738" y="6077296"/>
            <a:ext cx="5161550" cy="365125"/>
          </a:xfrm>
          <a:prstGeom prst="rect">
            <a:avLst/>
          </a:prstGeom>
        </p:spPr>
        <p:txBody>
          <a:bodyPr/>
          <a:lstStyle>
            <a:lvl1pPr algn="r">
              <a:defRPr sz="1200" b="0" i="0">
                <a:solidFill>
                  <a:srgbClr val="A6A6A8"/>
                </a:solidFill>
                <a:latin typeface="Gibson" panose="02000000000000000000" pitchFamily="2" charset="77"/>
              </a:defRPr>
            </a:lvl1pPr>
          </a:lstStyle>
          <a:p>
            <a:r>
              <a:rPr lang="en-US"/>
              <a:t>Footer  I  Credits  I  Links</a:t>
            </a:r>
          </a:p>
        </p:txBody>
      </p:sp>
      <p:cxnSp>
        <p:nvCxnSpPr>
          <p:cNvPr id="17" name="Straight Connector 16">
            <a:extLst>
              <a:ext uri="{FF2B5EF4-FFF2-40B4-BE49-F238E27FC236}">
                <a16:creationId xmlns:a16="http://schemas.microsoft.com/office/drawing/2014/main" id="{C6358859-0D90-E94E-ABD1-92969DC9AF31}"/>
              </a:ext>
            </a:extLst>
          </p:cNvPr>
          <p:cNvCxnSpPr/>
          <p:nvPr userDrawn="1"/>
        </p:nvCxnSpPr>
        <p:spPr>
          <a:xfrm>
            <a:off x="7594899" y="6004133"/>
            <a:ext cx="3970800" cy="0"/>
          </a:xfrm>
          <a:prstGeom prst="line">
            <a:avLst/>
          </a:prstGeom>
          <a:ln>
            <a:solidFill>
              <a:srgbClr val="A6A6A8"/>
            </a:solidFill>
          </a:ln>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0888DE82-4B10-EB43-9EAA-BB5F42FAD224}"/>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18" name="Text Placeholder 4">
            <a:extLst>
              <a:ext uri="{FF2B5EF4-FFF2-40B4-BE49-F238E27FC236}">
                <a16:creationId xmlns:a16="http://schemas.microsoft.com/office/drawing/2014/main" id="{1CCD96D0-224D-6749-B3D8-5716E30A170E}"/>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Tree>
    <p:extLst>
      <p:ext uri="{BB962C8B-B14F-4D97-AF65-F5344CB8AC3E}">
        <p14:creationId xmlns:p14="http://schemas.microsoft.com/office/powerpoint/2010/main" val="27076216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Opener Slide Option 3_Full Bleed Image">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2" cstate="email">
            <a:alphaModFix amt="0"/>
            <a:extLst>
              <a:ext uri="{BEBA8EAE-BF5A-486C-A8C5-ECC9F3942E4B}">
                <a14:imgProps xmlns:a14="http://schemas.microsoft.com/office/drawing/2010/main">
                  <a14:imgLayer r:embed="rId3">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775791"/>
            <a:ext cx="5317622"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p:nvPr>
        </p:nvSpPr>
        <p:spPr>
          <a:xfrm>
            <a:off x="534536" y="2189075"/>
            <a:ext cx="4506366"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016033"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449891" cy="579469"/>
          </a:xfrm>
          <a:prstGeom prst="rect">
            <a:avLst/>
          </a:prstGeom>
        </p:spPr>
        <p:txBody>
          <a:bodyPr>
            <a:noAutofit/>
          </a:bodyPr>
          <a:lstStyle>
            <a:lvl1pPr marL="0" indent="0" algn="l">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sp>
        <p:nvSpPr>
          <p:cNvPr id="14" name="Text Placeholder 4">
            <a:extLst>
              <a:ext uri="{FF2B5EF4-FFF2-40B4-BE49-F238E27FC236}">
                <a16:creationId xmlns:a16="http://schemas.microsoft.com/office/drawing/2014/main" id="{4E2C0494-05EB-9E40-B272-C4CB4781CE9B}"/>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3" name="Picture 2">
            <a:extLst>
              <a:ext uri="{FF2B5EF4-FFF2-40B4-BE49-F238E27FC236}">
                <a16:creationId xmlns:a16="http://schemas.microsoft.com/office/drawing/2014/main" id="{AEADAC17-718C-0C45-AF32-FFD3C2842BC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2826490" y="416228"/>
            <a:ext cx="2108200" cy="381000"/>
          </a:xfrm>
          <a:prstGeom prst="rect">
            <a:avLst/>
          </a:prstGeom>
        </p:spPr>
      </p:pic>
      <p:pic>
        <p:nvPicPr>
          <p:cNvPr id="20" name="Picture 19">
            <a:extLst>
              <a:ext uri="{FF2B5EF4-FFF2-40B4-BE49-F238E27FC236}">
                <a16:creationId xmlns:a16="http://schemas.microsoft.com/office/drawing/2014/main" id="{842AE032-B14A-E845-AE07-2A8FA0DF75C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462805" y="405167"/>
            <a:ext cx="2127533" cy="404949"/>
          </a:xfrm>
          <a:prstGeom prst="rect">
            <a:avLst/>
          </a:prstGeom>
        </p:spPr>
      </p:pic>
    </p:spTree>
    <p:extLst>
      <p:ext uri="{BB962C8B-B14F-4D97-AF65-F5344CB8AC3E}">
        <p14:creationId xmlns:p14="http://schemas.microsoft.com/office/powerpoint/2010/main" val="3909260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Opener Slide Option 3_ta Full Bleed Image Long Headers">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2" cstate="email">
            <a:alphaModFix amt="0"/>
            <a:extLst>
              <a:ext uri="{BEBA8EAE-BF5A-486C-A8C5-ECC9F3942E4B}">
                <a14:imgProps xmlns:a14="http://schemas.microsoft.com/office/drawing/2010/main">
                  <a14:imgLayer r:embed="rId3">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a:off x="1" y="1025236"/>
            <a:ext cx="6102944" cy="5832764"/>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cxnSp>
        <p:nvCxnSpPr>
          <p:cNvPr id="6" name="Straight Connector 5">
            <a:extLst>
              <a:ext uri="{FF2B5EF4-FFF2-40B4-BE49-F238E27FC236}">
                <a16:creationId xmlns:a16="http://schemas.microsoft.com/office/drawing/2014/main" id="{DEB3E801-1CED-6B4A-85A9-5CC571742F34}"/>
              </a:ext>
            </a:extLst>
          </p:cNvPr>
          <p:cNvCxnSpPr/>
          <p:nvPr userDrawn="1"/>
        </p:nvCxnSpPr>
        <p:spPr>
          <a:xfrm>
            <a:off x="649100"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99E0D545-F6D6-2C47-A5CE-F32E14CBF3D7}"/>
              </a:ext>
            </a:extLst>
          </p:cNvPr>
          <p:cNvSpPr>
            <a:spLocks noGrp="1"/>
          </p:cNvSpPr>
          <p:nvPr>
            <p:ph type="title" hasCustomPrompt="1"/>
          </p:nvPr>
        </p:nvSpPr>
        <p:spPr>
          <a:xfrm>
            <a:off x="534536" y="2189075"/>
            <a:ext cx="5169578" cy="2852737"/>
          </a:xfrm>
          <a:prstGeom prst="rect">
            <a:avLst/>
          </a:prstGeom>
        </p:spPr>
        <p:txBody>
          <a:bodyPr anchor="b">
            <a:normAutofit/>
          </a:bodyPr>
          <a:lstStyle>
            <a:lvl1pPr algn="l">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 For really long topics here</a:t>
            </a:r>
          </a:p>
        </p:txBody>
      </p:sp>
      <p:sp>
        <p:nvSpPr>
          <p:cNvPr id="12" name="Text Placeholder 2">
            <a:extLst>
              <a:ext uri="{FF2B5EF4-FFF2-40B4-BE49-F238E27FC236}">
                <a16:creationId xmlns:a16="http://schemas.microsoft.com/office/drawing/2014/main" id="{ACC3C677-E5DE-6F4B-9AB1-491EE68BF5BA}"/>
              </a:ext>
            </a:extLst>
          </p:cNvPr>
          <p:cNvSpPr>
            <a:spLocks noGrp="1"/>
          </p:cNvSpPr>
          <p:nvPr>
            <p:ph type="body" idx="1"/>
          </p:nvPr>
        </p:nvSpPr>
        <p:spPr>
          <a:xfrm>
            <a:off x="534536" y="5074217"/>
            <a:ext cx="4506366" cy="761468"/>
          </a:xfrm>
          <a:prstGeom prst="rect">
            <a:avLst/>
          </a:prstGeom>
        </p:spPr>
        <p:txBody>
          <a:bodyPr>
            <a:normAutofit/>
          </a:bodyPr>
          <a:lstStyle>
            <a:lvl1pPr marL="0" indent="0" algn="l">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556052" y="6142362"/>
            <a:ext cx="3950634" cy="579469"/>
          </a:xfrm>
          <a:prstGeom prst="rect">
            <a:avLst/>
          </a:prstGeom>
        </p:spPr>
        <p:txBody>
          <a:bodyPr>
            <a:noAutofit/>
          </a:bodyPr>
          <a:lstStyle>
            <a:lvl1pPr marL="0" indent="0" algn="l">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3" name="Picture 2">
            <a:extLst>
              <a:ext uri="{FF2B5EF4-FFF2-40B4-BE49-F238E27FC236}">
                <a16:creationId xmlns:a16="http://schemas.microsoft.com/office/drawing/2014/main" id="{AEADAC17-718C-0C45-AF32-FFD3C2842BC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472471" y="415100"/>
            <a:ext cx="2108200" cy="381000"/>
          </a:xfrm>
          <a:prstGeom prst="rect">
            <a:avLst/>
          </a:prstGeom>
        </p:spPr>
      </p:pic>
      <p:pic>
        <p:nvPicPr>
          <p:cNvPr id="10" name="Picture 9">
            <a:extLst>
              <a:ext uri="{FF2B5EF4-FFF2-40B4-BE49-F238E27FC236}">
                <a16:creationId xmlns:a16="http://schemas.microsoft.com/office/drawing/2014/main" id="{6B40274C-D405-EF40-99EF-BA445245027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2677060" y="405167"/>
            <a:ext cx="2127533" cy="404949"/>
          </a:xfrm>
          <a:prstGeom prst="rect">
            <a:avLst/>
          </a:prstGeom>
        </p:spPr>
      </p:pic>
    </p:spTree>
    <p:extLst>
      <p:ext uri="{BB962C8B-B14F-4D97-AF65-F5344CB8AC3E}">
        <p14:creationId xmlns:p14="http://schemas.microsoft.com/office/powerpoint/2010/main" val="10310514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Opener Slide Option 3_MORE LOGOS Full Bleed Image">
    <p:spTree>
      <p:nvGrpSpPr>
        <p:cNvPr id="1" name=""/>
        <p:cNvGrpSpPr/>
        <p:nvPr/>
      </p:nvGrpSpPr>
      <p:grpSpPr>
        <a:xfrm>
          <a:off x="0" y="0"/>
          <a:ext cx="0" cy="0"/>
          <a:chOff x="0" y="0"/>
          <a:chExt cx="0" cy="0"/>
        </a:xfrm>
      </p:grpSpPr>
      <p:pic>
        <p:nvPicPr>
          <p:cNvPr id="17" name="Bildplatzhalter 4">
            <a:extLst>
              <a:ext uri="{FF2B5EF4-FFF2-40B4-BE49-F238E27FC236}">
                <a16:creationId xmlns:a16="http://schemas.microsoft.com/office/drawing/2014/main" id="{DE6A095A-CC80-EE4E-9649-81FFA0A82B7A}"/>
              </a:ext>
            </a:extLst>
          </p:cNvPr>
          <p:cNvPicPr>
            <a:picLocks noChangeAspect="1"/>
          </p:cNvPicPr>
          <p:nvPr userDrawn="1"/>
        </p:nvPicPr>
        <p:blipFill rotWithShape="1">
          <a:blip r:embed="rId2" cstate="email">
            <a:alphaModFix amt="0"/>
            <a:extLst>
              <a:ext uri="{BEBA8EAE-BF5A-486C-A8C5-ECC9F3942E4B}">
                <a14:imgProps xmlns:a14="http://schemas.microsoft.com/office/drawing/2010/main">
                  <a14:imgLayer r:embed="rId3">
                    <a14:imgEffect>
                      <a14:backgroundRemoval t="6586" b="89980" l="9961" r="89961">
                        <a14:foregroundMark x1="80425" y1="6586" x2="80425" y2="6586"/>
                      </a14:backgroundRemoval>
                    </a14:imgEffect>
                  </a14:imgLayer>
                </a14:imgProps>
              </a:ext>
              <a:ext uri="{28A0092B-C50C-407E-A947-70E740481C1C}">
                <a14:useLocalDpi xmlns:a14="http://schemas.microsoft.com/office/drawing/2010/main"/>
              </a:ext>
            </a:extLst>
          </a:blip>
          <a:srcRect/>
          <a:stretch/>
        </p:blipFill>
        <p:spPr>
          <a:xfrm flipH="1">
            <a:off x="6865648" y="1775791"/>
            <a:ext cx="5326351" cy="5082209"/>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bg1"/>
          </a:solidFill>
          <a:ln>
            <a:noFill/>
          </a:ln>
        </p:spPr>
      </p:pic>
      <p:sp>
        <p:nvSpPr>
          <p:cNvPr id="13" name="Text Placeholder 4">
            <a:extLst>
              <a:ext uri="{FF2B5EF4-FFF2-40B4-BE49-F238E27FC236}">
                <a16:creationId xmlns:a16="http://schemas.microsoft.com/office/drawing/2014/main" id="{A223B8A6-6731-394F-BA5A-447FA811E3DD}"/>
              </a:ext>
            </a:extLst>
          </p:cNvPr>
          <p:cNvSpPr>
            <a:spLocks noGrp="1"/>
          </p:cNvSpPr>
          <p:nvPr>
            <p:ph type="body" sz="quarter" idx="17" hasCustomPrompt="1"/>
          </p:nvPr>
        </p:nvSpPr>
        <p:spPr>
          <a:xfrm>
            <a:off x="8355318" y="6142362"/>
            <a:ext cx="3318744" cy="579469"/>
          </a:xfrm>
          <a:prstGeom prst="rect">
            <a:avLst/>
          </a:prstGeom>
        </p:spPr>
        <p:txBody>
          <a:bodyPr>
            <a:noAutofit/>
          </a:bodyPr>
          <a:lstStyle>
            <a:lvl1pPr marL="0" indent="0" algn="r">
              <a:buNone/>
              <a:defRPr sz="1200" b="0" i="0">
                <a:solidFill>
                  <a:srgbClr val="A6A6A8"/>
                </a:solidFill>
                <a:latin typeface="Gibson" panose="02000000000000000000" pitchFamily="2" charset="7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a:t>Name </a:t>
            </a:r>
            <a:r>
              <a:rPr lang="de-DE" noProof="0" err="1"/>
              <a:t>Surname</a:t>
            </a:r>
            <a:r>
              <a:rPr lang="de-DE" noProof="0"/>
              <a:t>  I  00.00.2018  I  Location </a:t>
            </a:r>
          </a:p>
        </p:txBody>
      </p:sp>
      <p:pic>
        <p:nvPicPr>
          <p:cNvPr id="10" name="Picture 9">
            <a:extLst>
              <a:ext uri="{FF2B5EF4-FFF2-40B4-BE49-F238E27FC236}">
                <a16:creationId xmlns:a16="http://schemas.microsoft.com/office/drawing/2014/main" id="{8A1E63B7-01B0-5B40-A891-874F2471055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473917" y="416289"/>
            <a:ext cx="2105308" cy="385073"/>
          </a:xfrm>
          <a:prstGeom prst="rect">
            <a:avLst/>
          </a:prstGeom>
        </p:spPr>
      </p:pic>
      <p:cxnSp>
        <p:nvCxnSpPr>
          <p:cNvPr id="21" name="Straight Connector 20">
            <a:extLst>
              <a:ext uri="{FF2B5EF4-FFF2-40B4-BE49-F238E27FC236}">
                <a16:creationId xmlns:a16="http://schemas.microsoft.com/office/drawing/2014/main" id="{8464986D-46E9-F345-86A1-64EAD1F6B93F}"/>
              </a:ext>
            </a:extLst>
          </p:cNvPr>
          <p:cNvCxnSpPr/>
          <p:nvPr userDrawn="1"/>
        </p:nvCxnSpPr>
        <p:spPr>
          <a:xfrm>
            <a:off x="8355318" y="6001125"/>
            <a:ext cx="3210381" cy="0"/>
          </a:xfrm>
          <a:prstGeom prst="line">
            <a:avLst/>
          </a:prstGeom>
          <a:ln>
            <a:solidFill>
              <a:srgbClr val="C7CAC7"/>
            </a:solidFill>
          </a:ln>
        </p:spPr>
        <p:style>
          <a:lnRef idx="1">
            <a:schemeClr val="dk1"/>
          </a:lnRef>
          <a:fillRef idx="0">
            <a:schemeClr val="dk1"/>
          </a:fillRef>
          <a:effectRef idx="0">
            <a:schemeClr val="dk1"/>
          </a:effectRef>
          <a:fontRef idx="minor">
            <a:schemeClr val="tx1"/>
          </a:fontRef>
        </p:style>
      </p:cxnSp>
      <p:sp>
        <p:nvSpPr>
          <p:cNvPr id="25" name="Title 1">
            <a:extLst>
              <a:ext uri="{FF2B5EF4-FFF2-40B4-BE49-F238E27FC236}">
                <a16:creationId xmlns:a16="http://schemas.microsoft.com/office/drawing/2014/main" id="{25E0E32A-F106-F048-88D4-0509F5B5F353}"/>
              </a:ext>
            </a:extLst>
          </p:cNvPr>
          <p:cNvSpPr>
            <a:spLocks noGrp="1"/>
          </p:cNvSpPr>
          <p:nvPr>
            <p:ph type="title"/>
          </p:nvPr>
        </p:nvSpPr>
        <p:spPr>
          <a:xfrm>
            <a:off x="7077354" y="2189075"/>
            <a:ext cx="4506366" cy="2852737"/>
          </a:xfrm>
          <a:prstGeom prst="rect">
            <a:avLst/>
          </a:prstGeom>
        </p:spPr>
        <p:txBody>
          <a:bodyPr anchor="b">
            <a:normAutofit/>
          </a:bodyPr>
          <a:lstStyle>
            <a:lvl1pPr algn="r">
              <a:defRPr sz="5000" b="0" i="0">
                <a:solidFill>
                  <a:srgbClr val="005EB8"/>
                </a:solidFill>
                <a:latin typeface="Gibson Light" panose="02000000000000000000" pitchFamily="2" charset="77"/>
                <a:ea typeface="Malgun Gothic Semilight" panose="020B0503020000020004" pitchFamily="34" charset="-127"/>
              </a:defRPr>
            </a:lvl1pPr>
          </a:lstStyle>
          <a:p>
            <a:r>
              <a:rPr lang="en-US"/>
              <a:t>Click to edit Master title style</a:t>
            </a:r>
          </a:p>
        </p:txBody>
      </p:sp>
      <p:sp>
        <p:nvSpPr>
          <p:cNvPr id="26" name="Text Placeholder 2">
            <a:extLst>
              <a:ext uri="{FF2B5EF4-FFF2-40B4-BE49-F238E27FC236}">
                <a16:creationId xmlns:a16="http://schemas.microsoft.com/office/drawing/2014/main" id="{8CA0C161-A898-0E42-A93F-E360D37B156B}"/>
              </a:ext>
            </a:extLst>
          </p:cNvPr>
          <p:cNvSpPr>
            <a:spLocks noGrp="1"/>
          </p:cNvSpPr>
          <p:nvPr>
            <p:ph type="body" idx="1"/>
          </p:nvPr>
        </p:nvSpPr>
        <p:spPr>
          <a:xfrm>
            <a:off x="7594556" y="5074217"/>
            <a:ext cx="4016033" cy="761468"/>
          </a:xfrm>
          <a:prstGeom prst="rect">
            <a:avLst/>
          </a:prstGeom>
        </p:spPr>
        <p:txBody>
          <a:bodyPr>
            <a:normAutofit/>
          </a:bodyPr>
          <a:lstStyle>
            <a:lvl1pPr marL="0" indent="0" algn="r">
              <a:buNone/>
              <a:defRPr sz="1900" b="0" i="0">
                <a:solidFill>
                  <a:srgbClr val="00A9E0"/>
                </a:solidFill>
                <a:latin typeface="Gibson Light" panose="02000000000000000000" pitchFamily="2" charset="77"/>
                <a:ea typeface="Malgun Gothic Semilight" panose="020B0503020000020004" pitchFamily="34" charset="-12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ext Placeholder 4">
            <a:extLst>
              <a:ext uri="{FF2B5EF4-FFF2-40B4-BE49-F238E27FC236}">
                <a16:creationId xmlns:a16="http://schemas.microsoft.com/office/drawing/2014/main" id="{8DE29AF5-7C31-2448-A2B2-B7A9B48477EE}"/>
              </a:ext>
            </a:extLst>
          </p:cNvPr>
          <p:cNvSpPr>
            <a:spLocks noGrp="1"/>
          </p:cNvSpPr>
          <p:nvPr>
            <p:ph type="body" sz="quarter" idx="16" hasCustomPrompt="1"/>
          </p:nvPr>
        </p:nvSpPr>
        <p:spPr>
          <a:xfrm>
            <a:off x="623889"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2n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8" name="Text Placeholder 4">
            <a:extLst>
              <a:ext uri="{FF2B5EF4-FFF2-40B4-BE49-F238E27FC236}">
                <a16:creationId xmlns:a16="http://schemas.microsoft.com/office/drawing/2014/main" id="{2EEDBD5B-BE4B-6B4A-8160-212588D47922}"/>
              </a:ext>
            </a:extLst>
          </p:cNvPr>
          <p:cNvSpPr>
            <a:spLocks noGrp="1"/>
          </p:cNvSpPr>
          <p:nvPr>
            <p:ph type="body" sz="quarter" idx="22" hasCustomPrompt="1"/>
          </p:nvPr>
        </p:nvSpPr>
        <p:spPr>
          <a:xfrm>
            <a:off x="3353777"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3rd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sp>
        <p:nvSpPr>
          <p:cNvPr id="29" name="Text Placeholder 4">
            <a:extLst>
              <a:ext uri="{FF2B5EF4-FFF2-40B4-BE49-F238E27FC236}">
                <a16:creationId xmlns:a16="http://schemas.microsoft.com/office/drawing/2014/main" id="{555A55AF-823F-AE4B-968D-D0E9E3BD693F}"/>
              </a:ext>
            </a:extLst>
          </p:cNvPr>
          <p:cNvSpPr>
            <a:spLocks noGrp="1"/>
          </p:cNvSpPr>
          <p:nvPr>
            <p:ph type="body" sz="quarter" idx="23" hasCustomPrompt="1"/>
          </p:nvPr>
        </p:nvSpPr>
        <p:spPr>
          <a:xfrm>
            <a:off x="6083665" y="415100"/>
            <a:ext cx="2105999" cy="382128"/>
          </a:xfrm>
          <a:prstGeom prst="rect">
            <a:avLst/>
          </a:prstGeom>
        </p:spPr>
        <p:txBody>
          <a:bodyPr>
            <a:noAutofit/>
          </a:bodyPr>
          <a:lstStyle>
            <a:lvl1pPr marL="0" indent="0" algn="ctr">
              <a:buNone/>
              <a:defRPr sz="950" b="0" i="0">
                <a:solidFill>
                  <a:srgbClr val="A6A6A8"/>
                </a:solidFill>
                <a:latin typeface="Malgun Gothic" panose="020B0503020000020004" pitchFamily="34" charset="-127"/>
                <a:ea typeface="Malgun Gothic" panose="020B0503020000020004" pitchFamily="34" charset="-127"/>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de-DE" noProof="0" err="1"/>
              <a:t>Put</a:t>
            </a:r>
            <a:r>
              <a:rPr lang="de-DE" noProof="0"/>
              <a:t> 4th logo </a:t>
            </a:r>
            <a:r>
              <a:rPr lang="de-DE" noProof="0" err="1"/>
              <a:t>here</a:t>
            </a:r>
            <a:r>
              <a:rPr lang="de-DE" noProof="0"/>
              <a:t> in </a:t>
            </a:r>
            <a:r>
              <a:rPr lang="de-DE" noProof="0" err="1"/>
              <a:t>this</a:t>
            </a:r>
            <a:r>
              <a:rPr lang="de-DE" noProof="0"/>
              <a:t> </a:t>
            </a:r>
            <a:r>
              <a:rPr lang="de-DE" noProof="0" err="1"/>
              <a:t>block‘s</a:t>
            </a:r>
            <a:r>
              <a:rPr lang="de-DE" noProof="0"/>
              <a:t> EXACT SIZE </a:t>
            </a:r>
            <a:r>
              <a:rPr lang="de-DE" noProof="0" err="1"/>
              <a:t>or</a:t>
            </a:r>
            <a:r>
              <a:rPr lang="de-DE" noProof="0"/>
              <a:t> DELETE</a:t>
            </a:r>
          </a:p>
        </p:txBody>
      </p:sp>
      <p:pic>
        <p:nvPicPr>
          <p:cNvPr id="14" name="Picture 13">
            <a:extLst>
              <a:ext uri="{FF2B5EF4-FFF2-40B4-BE49-F238E27FC236}">
                <a16:creationId xmlns:a16="http://schemas.microsoft.com/office/drawing/2014/main" id="{7AF13188-E65C-314D-856B-E6536F26110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2640571" y="405167"/>
            <a:ext cx="2127533" cy="404949"/>
          </a:xfrm>
          <a:prstGeom prst="rect">
            <a:avLst/>
          </a:prstGeom>
        </p:spPr>
      </p:pic>
    </p:spTree>
    <p:extLst>
      <p:ext uri="{BB962C8B-B14F-4D97-AF65-F5344CB8AC3E}">
        <p14:creationId xmlns:p14="http://schemas.microsoft.com/office/powerpoint/2010/main" val="1292033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626718" y="1480159"/>
            <a:ext cx="10874844" cy="4828567"/>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6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Title 1"/>
          <p:cNvSpPr>
            <a:spLocks noGrp="1"/>
          </p:cNvSpPr>
          <p:nvPr>
            <p:ph type="title"/>
          </p:nvPr>
        </p:nvSpPr>
        <p:spPr>
          <a:xfrm>
            <a:off x="622570" y="188913"/>
            <a:ext cx="10898870"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5" name="Text Placeholder 19"/>
          <p:cNvSpPr>
            <a:spLocks noGrp="1"/>
          </p:cNvSpPr>
          <p:nvPr>
            <p:ph type="body" sz="quarter" idx="13"/>
          </p:nvPr>
        </p:nvSpPr>
        <p:spPr>
          <a:xfrm>
            <a:off x="621795" y="779412"/>
            <a:ext cx="10875042"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Tree>
    <p:extLst>
      <p:ext uri="{BB962C8B-B14F-4D97-AF65-F5344CB8AC3E}">
        <p14:creationId xmlns:p14="http://schemas.microsoft.com/office/powerpoint/2010/main" val="41306960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HEADER: Title and Dark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solidFill>
            <a:srgbClr val="E5E5E5"/>
          </a:solidFill>
        </p:spPr>
      </p:sp>
      <p:sp>
        <p:nvSpPr>
          <p:cNvPr id="16" name="Title 1"/>
          <p:cNvSpPr>
            <a:spLocks noGrp="1"/>
          </p:cNvSpPr>
          <p:nvPr>
            <p:ph type="title" hasCustomPrompt="1"/>
          </p:nvPr>
        </p:nvSpPr>
        <p:spPr>
          <a:xfrm>
            <a:off x="600600" y="4571999"/>
            <a:ext cx="10990800" cy="1446693"/>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chemeClr val="bg1"/>
                </a:solidFill>
                <a:latin typeface="Gibson Light" charset="0"/>
                <a:ea typeface="Gibson Light" charset="0"/>
                <a:cs typeface="Gibson Light" charset="0"/>
              </a:defRPr>
            </a:lvl1pPr>
          </a:lstStyle>
          <a:p>
            <a:r>
              <a:rPr lang="de-DE" noProof="0" err="1"/>
              <a:t>Section</a:t>
            </a:r>
            <a:r>
              <a:rPr lang="de-DE" noProof="0"/>
              <a:t> Header/Dark </a:t>
            </a:r>
            <a:r>
              <a:rPr lang="de-DE" noProof="0" err="1"/>
              <a:t>Imagery</a:t>
            </a:r>
            <a:r>
              <a:rPr lang="de-DE" noProof="0"/>
              <a:t> </a:t>
            </a:r>
            <a:r>
              <a:rPr lang="de-DE" noProof="0" err="1"/>
              <a:t>description</a:t>
            </a:r>
            <a:endParaRPr lang="en-GB" noProof="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chemeClr val="bg1"/>
                </a:solidFill>
                <a:latin typeface="Gibson" panose="02000000000000000000" pitchFamily="2" charset="77"/>
              </a:defRPr>
            </a:lvl1pPr>
          </a:lstStyle>
          <a:p>
            <a:r>
              <a:rPr lang="en-US"/>
              <a:t>Footer  I  Credits  I  Links</a:t>
            </a:r>
          </a:p>
        </p:txBody>
      </p:sp>
    </p:spTree>
    <p:extLst>
      <p:ext uri="{BB962C8B-B14F-4D97-AF65-F5344CB8AC3E}">
        <p14:creationId xmlns:p14="http://schemas.microsoft.com/office/powerpoint/2010/main" val="19896959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Title and Light Image FullBleed">
    <p:spTree>
      <p:nvGrpSpPr>
        <p:cNvPr id="1" name=""/>
        <p:cNvGrpSpPr/>
        <p:nvPr/>
      </p:nvGrpSpPr>
      <p:grpSpPr>
        <a:xfrm>
          <a:off x="0" y="0"/>
          <a:ext cx="0" cy="0"/>
          <a:chOff x="0" y="0"/>
          <a:chExt cx="0" cy="0"/>
        </a:xfrm>
      </p:grpSpPr>
      <p:sp>
        <p:nvSpPr>
          <p:cNvPr id="28" name="Picture Placeholder 34">
            <a:extLst>
              <a:ext uri="{FF2B5EF4-FFF2-40B4-BE49-F238E27FC236}">
                <a16:creationId xmlns:a16="http://schemas.microsoft.com/office/drawing/2014/main" id="{1E0F7EFC-86C7-9C4D-8EE4-5E33ECD9E6B4}"/>
              </a:ext>
            </a:extLst>
          </p:cNvPr>
          <p:cNvSpPr>
            <a:spLocks noGrp="1"/>
          </p:cNvSpPr>
          <p:nvPr>
            <p:ph type="pic" sz="quarter" idx="20"/>
          </p:nvPr>
        </p:nvSpPr>
        <p:spPr>
          <a:xfrm>
            <a:off x="1" y="0"/>
            <a:ext cx="12191999" cy="6858000"/>
          </a:xfrm>
          <a:prstGeom prst="rect">
            <a:avLst/>
          </a:prstGeom>
          <a:noFill/>
        </p:spPr>
      </p:sp>
      <p:sp>
        <p:nvSpPr>
          <p:cNvPr id="16" name="Title 1"/>
          <p:cNvSpPr>
            <a:spLocks noGrp="1"/>
          </p:cNvSpPr>
          <p:nvPr>
            <p:ph type="title" hasCustomPrompt="1"/>
          </p:nvPr>
        </p:nvSpPr>
        <p:spPr>
          <a:xfrm>
            <a:off x="600600" y="4255127"/>
            <a:ext cx="10990800" cy="1763565"/>
          </a:xfrm>
          <a:prstGeom prst="rect">
            <a:avLst/>
          </a:prstGeom>
          <a:effectLst/>
        </p:spPr>
        <p:txBody>
          <a:bodyPr anchor="b">
            <a:noAutofit/>
          </a:bodyPr>
          <a:lstStyle>
            <a:lvl1pPr marL="0" algn="ctr" defTabSz="914400" rtl="0" eaLnBrk="1" latinLnBrk="0" hangingPunct="1">
              <a:lnSpc>
                <a:spcPct val="90000"/>
              </a:lnSpc>
              <a:spcBef>
                <a:spcPct val="0"/>
              </a:spcBef>
              <a:buNone/>
              <a:defRPr lang="en-GB" sz="4800" kern="1200" noProof="0" dirty="0">
                <a:solidFill>
                  <a:srgbClr val="005EB8"/>
                </a:solidFill>
                <a:latin typeface="Gibson Light" charset="0"/>
                <a:ea typeface="Gibson Light" charset="0"/>
                <a:cs typeface="Gibson Light" charset="0"/>
              </a:defRPr>
            </a:lvl1pPr>
          </a:lstStyle>
          <a:p>
            <a:r>
              <a:rPr lang="de-DE" noProof="0" err="1"/>
              <a:t>Section</a:t>
            </a:r>
            <a:r>
              <a:rPr lang="de-DE" noProof="0"/>
              <a:t> Header/Light </a:t>
            </a:r>
            <a:r>
              <a:rPr lang="de-DE" noProof="0" err="1"/>
              <a:t>Imagery</a:t>
            </a:r>
            <a:r>
              <a:rPr lang="de-DE" noProof="0"/>
              <a:t> </a:t>
            </a:r>
            <a:r>
              <a:rPr lang="de-DE" noProof="0" err="1"/>
              <a:t>description</a:t>
            </a:r>
            <a:endParaRPr lang="en-GB" noProof="0"/>
          </a:p>
        </p:txBody>
      </p:sp>
      <p:sp>
        <p:nvSpPr>
          <p:cNvPr id="10" name="Footer Placeholder 4">
            <a:extLst>
              <a:ext uri="{FF2B5EF4-FFF2-40B4-BE49-F238E27FC236}">
                <a16:creationId xmlns:a16="http://schemas.microsoft.com/office/drawing/2014/main" id="{F378BBE9-9F6E-7D49-AE31-DB5F3B0636BF}"/>
              </a:ext>
            </a:extLst>
          </p:cNvPr>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Tree>
    <p:extLst>
      <p:ext uri="{BB962C8B-B14F-4D97-AF65-F5344CB8AC3E}">
        <p14:creationId xmlns:p14="http://schemas.microsoft.com/office/powerpoint/2010/main" val="27320126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6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ubhead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3" y="2154358"/>
            <a:ext cx="10950419"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2890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3" y="1908061"/>
            <a:ext cx="10950419"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 name="Title 1"/>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Tree>
    <p:extLst>
      <p:ext uri="{BB962C8B-B14F-4D97-AF65-F5344CB8AC3E}">
        <p14:creationId xmlns:p14="http://schemas.microsoft.com/office/powerpoint/2010/main" val="36310169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Sub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4" y="2154358"/>
            <a:ext cx="53964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p:nvPr>
        </p:nvSpPr>
        <p:spPr>
          <a:xfrm>
            <a:off x="6172200" y="2154358"/>
            <a:ext cx="5395912" cy="3687642"/>
          </a:xfrm>
          <a:prstGeom prst="rect">
            <a:avLst/>
          </a:prstGeom>
        </p:spPr>
        <p:txBody>
          <a:bodyPr/>
          <a:lstStyle>
            <a:lvl1pPr marL="228600" indent="-228600">
              <a:defRPr lang="en-US" sz="2800" b="0" i="0" kern="1200" dirty="0">
                <a:solidFill>
                  <a:srgbClr val="787875"/>
                </a:solidFill>
                <a:latin typeface="Gibson Light" panose="02000000000000000000" pitchFamily="2" charset="77"/>
                <a:ea typeface="+mn-ea"/>
                <a:cs typeface="+mn-cs"/>
              </a:defRPr>
            </a:lvl1pPr>
            <a:lvl2pPr marL="685800" indent="-228600">
              <a:defRPr lang="en-US" sz="2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a:t>Second level</a:t>
            </a:r>
          </a:p>
          <a:p>
            <a:pPr marL="1143000" lvl="2" indent="-228600" algn="l" defTabSz="914400" rtl="0" eaLnBrk="1" latinLnBrk="0" hangingPunct="1">
              <a:lnSpc>
                <a:spcPct val="100000"/>
              </a:lnSpc>
              <a:spcBef>
                <a:spcPts val="500"/>
              </a:spcBef>
              <a:buSzPct val="70000"/>
              <a:buFont typeface="Symbol" pitchFamily="2" charset="2"/>
              <a:buChar char="-"/>
            </a:pPr>
            <a:r>
              <a:rPr lang="en-US"/>
              <a:t>Third level</a:t>
            </a:r>
          </a:p>
          <a:p>
            <a:pPr marL="1600200" lvl="3" indent="-228600" algn="l" defTabSz="914400" rtl="0" eaLnBrk="1" latinLnBrk="0" hangingPunct="1">
              <a:lnSpc>
                <a:spcPct val="100000"/>
              </a:lnSpc>
              <a:spcBef>
                <a:spcPts val="500"/>
              </a:spcBef>
              <a:buSzPct val="70000"/>
              <a:buFont typeface="Symbol" pitchFamily="2" charset="2"/>
              <a:buChar char="-"/>
            </a:pPr>
            <a:r>
              <a:rPr lang="en-US"/>
              <a:t>Fourth level</a:t>
            </a:r>
          </a:p>
          <a:p>
            <a:pPr marL="2057400" lvl="4" indent="-228600" algn="l" defTabSz="914400" rtl="0" eaLnBrk="1" latinLnBrk="0" hangingPunct="1">
              <a:lnSpc>
                <a:spcPct val="100000"/>
              </a:lnSpc>
              <a:spcBef>
                <a:spcPts val="500"/>
              </a:spcBef>
              <a:buSzPct val="70000"/>
              <a:buFont typeface="Symbol" pitchFamily="2" charset="2"/>
              <a:buChar char="-"/>
            </a:pPr>
            <a:r>
              <a:rPr lang="en-US"/>
              <a:t>Fifth level</a:t>
            </a:r>
          </a:p>
        </p:txBody>
      </p:sp>
    </p:spTree>
    <p:extLst>
      <p:ext uri="{BB962C8B-B14F-4D97-AF65-F5344CB8AC3E}">
        <p14:creationId xmlns:p14="http://schemas.microsoft.com/office/powerpoint/2010/main" val="19282191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and 2x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4E45BF06-49B1-A844-8D28-F56D54BD99BB}"/>
              </a:ext>
            </a:extLst>
          </p:cNvPr>
          <p:cNvSpPr>
            <a:spLocks noGrp="1"/>
          </p:cNvSpPr>
          <p:nvPr>
            <p:ph idx="22" hasCustomPrompt="1"/>
          </p:nvPr>
        </p:nvSpPr>
        <p:spPr>
          <a:xfrm>
            <a:off x="617693"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13" name="Title 1">
            <a:extLst>
              <a:ext uri="{FF2B5EF4-FFF2-40B4-BE49-F238E27FC236}">
                <a16:creationId xmlns:a16="http://schemas.microsoft.com/office/drawing/2014/main" id="{2435B18A-4ED0-824B-99BE-DB030D8BF3F1}"/>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5" name="Content Placeholder 2">
            <a:extLst>
              <a:ext uri="{FF2B5EF4-FFF2-40B4-BE49-F238E27FC236}">
                <a16:creationId xmlns:a16="http://schemas.microsoft.com/office/drawing/2014/main" id="{7AB50851-71A5-7943-9150-54C8FEB44E19}"/>
              </a:ext>
            </a:extLst>
          </p:cNvPr>
          <p:cNvSpPr>
            <a:spLocks noGrp="1"/>
          </p:cNvSpPr>
          <p:nvPr>
            <p:ph idx="23" hasCustomPrompt="1"/>
          </p:nvPr>
        </p:nvSpPr>
        <p:spPr>
          <a:xfrm>
            <a:off x="6171470" y="1908061"/>
            <a:ext cx="5400000" cy="3933939"/>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Tree>
    <p:extLst>
      <p:ext uri="{BB962C8B-B14F-4D97-AF65-F5344CB8AC3E}">
        <p14:creationId xmlns:p14="http://schemas.microsoft.com/office/powerpoint/2010/main" val="21480134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sting: 2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0417"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0419"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 style</a:t>
            </a:r>
          </a:p>
        </p:txBody>
      </p:sp>
      <p:sp>
        <p:nvSpPr>
          <p:cNvPr id="3" name="Content Placeholder 2"/>
          <p:cNvSpPr>
            <a:spLocks noGrp="1"/>
          </p:cNvSpPr>
          <p:nvPr>
            <p:ph idx="1" hasCustomPrompt="1"/>
          </p:nvPr>
        </p:nvSpPr>
        <p:spPr>
          <a:xfrm>
            <a:off x="617694" y="2537034"/>
            <a:ext cx="5396400" cy="3304966"/>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0" name="Content Placeholder 3">
            <a:extLst>
              <a:ext uri="{FF2B5EF4-FFF2-40B4-BE49-F238E27FC236}">
                <a16:creationId xmlns:a16="http://schemas.microsoft.com/office/drawing/2014/main" id="{B8CA7654-F900-044F-ADC6-E92A2D5960D4}"/>
              </a:ext>
            </a:extLst>
          </p:cNvPr>
          <p:cNvSpPr>
            <a:spLocks noGrp="1"/>
          </p:cNvSpPr>
          <p:nvPr>
            <p:ph sz="half" idx="2" hasCustomPrompt="1"/>
          </p:nvPr>
        </p:nvSpPr>
        <p:spPr>
          <a:xfrm>
            <a:off x="6172200" y="2537034"/>
            <a:ext cx="5395912" cy="3304966"/>
          </a:xfrm>
          <a:prstGeom prst="rect">
            <a:avLst/>
          </a:prstGeom>
        </p:spPr>
        <p:txBody>
          <a:bodyPr/>
          <a:lstStyle>
            <a:lvl1pPr marL="228600" indent="-228600">
              <a:defRPr lang="en-US" sz="1800" b="0" i="0" kern="1200" dirty="0">
                <a:solidFill>
                  <a:srgbClr val="787875"/>
                </a:solidFill>
                <a:latin typeface="Gibson Light" panose="02000000000000000000" pitchFamily="2" charset="77"/>
                <a:ea typeface="+mn-ea"/>
                <a:cs typeface="+mn-cs"/>
              </a:defRPr>
            </a:lvl1pPr>
            <a:lvl2pPr marL="685800" indent="-228600">
              <a:defRPr lang="en-US" sz="1400" b="0" i="0" kern="1200" dirty="0">
                <a:solidFill>
                  <a:srgbClr val="787875"/>
                </a:solidFill>
                <a:latin typeface="Gibson Light" panose="02000000000000000000" pitchFamily="2" charset="77"/>
                <a:ea typeface="+mn-ea"/>
                <a:cs typeface="+mn-cs"/>
              </a:defRPr>
            </a:lvl2pPr>
            <a:lvl3pPr marL="1143000" indent="-228600">
              <a:defRPr lang="en-US" sz="2100" b="0" i="0" kern="1200" dirty="0">
                <a:solidFill>
                  <a:srgbClr val="787875"/>
                </a:solidFill>
                <a:latin typeface="Gibson Light" panose="02000000000000000000" pitchFamily="2" charset="77"/>
                <a:ea typeface="+mn-ea"/>
                <a:cs typeface="+mn-cs"/>
              </a:defRPr>
            </a:lvl3pPr>
            <a:lvl4pPr marL="1600200" indent="-228600">
              <a:defRPr lang="en-US" sz="1800" b="0" i="0" kern="1200" dirty="0">
                <a:solidFill>
                  <a:srgbClr val="787875"/>
                </a:solidFill>
                <a:latin typeface="Gibson Light" panose="02000000000000000000" pitchFamily="2" charset="77"/>
                <a:ea typeface="+mn-ea"/>
                <a:cs typeface="+mn-cs"/>
              </a:defRPr>
            </a:lvl4pPr>
            <a:lvl5pPr marL="2057400" indent="-228600">
              <a:defRPr lang="en-US" sz="1400" b="0" i="0" kern="1200" dirty="0">
                <a:solidFill>
                  <a:srgbClr val="787875"/>
                </a:solidFill>
                <a:latin typeface="Gibson Light" panose="02000000000000000000" pitchFamily="2" charset="77"/>
                <a:ea typeface="+mn-ea"/>
                <a:cs typeface="+mn-cs"/>
              </a:defRPr>
            </a:lvl5pPr>
          </a:lstStyle>
          <a:p>
            <a:pPr marL="228600" lvl="0" indent="-228600" algn="l" defTabSz="914400" rtl="0" eaLnBrk="1" latinLnBrk="0" hangingPunct="1">
              <a:lnSpc>
                <a:spcPct val="90000"/>
              </a:lnSpc>
              <a:spcBef>
                <a:spcPts val="1000"/>
              </a:spcBef>
              <a:buSzPct val="70000"/>
              <a:buFont typeface="Symbol" pitchFamily="2" charset="2"/>
              <a:buChar char="-"/>
            </a:pPr>
            <a:r>
              <a:rPr lang="en-US"/>
              <a:t>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a:t>Second level</a:t>
            </a:r>
          </a:p>
        </p:txBody>
      </p:sp>
      <p:sp>
        <p:nvSpPr>
          <p:cNvPr id="21" name="Text Placeholder 19">
            <a:extLst>
              <a:ext uri="{FF2B5EF4-FFF2-40B4-BE49-F238E27FC236}">
                <a16:creationId xmlns:a16="http://schemas.microsoft.com/office/drawing/2014/main" id="{0317F79B-6462-2C4F-BD9B-322247BB510F}"/>
              </a:ext>
            </a:extLst>
          </p:cNvPr>
          <p:cNvSpPr>
            <a:spLocks noGrp="1"/>
          </p:cNvSpPr>
          <p:nvPr>
            <p:ph type="body" sz="quarter" idx="26" hasCustomPrompt="1"/>
          </p:nvPr>
        </p:nvSpPr>
        <p:spPr>
          <a:xfrm>
            <a:off x="617695"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3" name="Text Placeholder 19">
            <a:extLst>
              <a:ext uri="{FF2B5EF4-FFF2-40B4-BE49-F238E27FC236}">
                <a16:creationId xmlns:a16="http://schemas.microsoft.com/office/drawing/2014/main" id="{6AEEECBC-B8D0-364D-B845-8B4EB594FAD5}"/>
              </a:ext>
            </a:extLst>
          </p:cNvPr>
          <p:cNvSpPr>
            <a:spLocks noGrp="1"/>
          </p:cNvSpPr>
          <p:nvPr>
            <p:ph type="body" sz="quarter" idx="27" hasCustomPrompt="1"/>
          </p:nvPr>
        </p:nvSpPr>
        <p:spPr>
          <a:xfrm>
            <a:off x="6172920" y="2170286"/>
            <a:ext cx="5396399"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19972916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Listing: 2Poin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769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A3239D28-8547-704B-9FB0-06B6340E087B}"/>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6" name="Text Placeholder 19">
            <a:extLst>
              <a:ext uri="{FF2B5EF4-FFF2-40B4-BE49-F238E27FC236}">
                <a16:creationId xmlns:a16="http://schemas.microsoft.com/office/drawing/2014/main" id="{3F9BB059-A4B7-7F43-BCDA-6CBA9E886566}"/>
              </a:ext>
            </a:extLst>
          </p:cNvPr>
          <p:cNvSpPr>
            <a:spLocks noGrp="1"/>
          </p:cNvSpPr>
          <p:nvPr>
            <p:ph type="body" sz="quarter" idx="13" hasCustomPrompt="1"/>
          </p:nvPr>
        </p:nvSpPr>
        <p:spPr>
          <a:xfrm>
            <a:off x="617695" y="1891811"/>
            <a:ext cx="5396399"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17" name="Text Placeholder 19">
            <a:extLst>
              <a:ext uri="{FF2B5EF4-FFF2-40B4-BE49-F238E27FC236}">
                <a16:creationId xmlns:a16="http://schemas.microsoft.com/office/drawing/2014/main" id="{B56B6083-7026-174C-B503-D170BCFEBB87}"/>
              </a:ext>
            </a:extLst>
          </p:cNvPr>
          <p:cNvSpPr>
            <a:spLocks noGrp="1"/>
          </p:cNvSpPr>
          <p:nvPr>
            <p:ph type="body" sz="quarter" idx="24" hasCustomPrompt="1"/>
          </p:nvPr>
        </p:nvSpPr>
        <p:spPr>
          <a:xfrm>
            <a:off x="6171002" y="1891811"/>
            <a:ext cx="5396399" cy="300087"/>
          </a:xfrm>
          <a:prstGeom prst="rect">
            <a:avLst/>
          </a:prstGeom>
        </p:spPr>
        <p:txBody>
          <a:bodyPr anchor="ctr">
            <a:noAutofit/>
          </a:bodyPr>
          <a:lstStyle>
            <a:lvl1pPr marL="0" indent="0">
              <a:lnSpc>
                <a:spcPct val="100000"/>
              </a:lnSpc>
              <a:buNone/>
              <a:defRPr lang="de-DE" sz="2400" b="0" i="0" kern="1200" noProof="0" dirty="0">
                <a:solidFill>
                  <a:srgbClr val="00A9E0"/>
                </a:solidFill>
                <a:latin typeface="Gibson Light" panose="02000000000000000000" pitchFamily="2" charset="77"/>
                <a:ea typeface="+mn-ea"/>
                <a:cs typeface="+mn-cs"/>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marL="0" lvl="0" indent="0" algn="l" defTabSz="914400" rtl="0" eaLnBrk="1" latinLnBrk="0" hangingPunct="1">
              <a:lnSpc>
                <a:spcPct val="100000"/>
              </a:lnSpc>
              <a:spcBef>
                <a:spcPts val="1000"/>
              </a:spcBef>
              <a:buSzPct val="70000"/>
              <a:buFont typeface="Symbol" pitchFamily="2" charset="2"/>
              <a:buNone/>
            </a:pPr>
            <a:r>
              <a:rPr lang="de-DE" noProof="0"/>
              <a:t>Header</a:t>
            </a:r>
          </a:p>
        </p:txBody>
      </p:sp>
      <p:sp>
        <p:nvSpPr>
          <p:cNvPr id="20" name="Content Placeholder 2">
            <a:extLst>
              <a:ext uri="{FF2B5EF4-FFF2-40B4-BE49-F238E27FC236}">
                <a16:creationId xmlns:a16="http://schemas.microsoft.com/office/drawing/2014/main" id="{EE94C3F0-B99F-1A4E-A9C4-82B81C247511}"/>
              </a:ext>
            </a:extLst>
          </p:cNvPr>
          <p:cNvSpPr>
            <a:spLocks noGrp="1"/>
          </p:cNvSpPr>
          <p:nvPr>
            <p:ph idx="25" hasCustomPrompt="1"/>
          </p:nvPr>
        </p:nvSpPr>
        <p:spPr>
          <a:xfrm>
            <a:off x="6175214" y="2289036"/>
            <a:ext cx="5396400"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23440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52911"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52915"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8" name="Content Placeholder 2">
            <a:extLst>
              <a:ext uri="{FF2B5EF4-FFF2-40B4-BE49-F238E27FC236}">
                <a16:creationId xmlns:a16="http://schemas.microsoft.com/office/drawing/2014/main" id="{CDF71F77-03EB-1346-B49B-10A51BB83ACB}"/>
              </a:ext>
            </a:extLst>
          </p:cNvPr>
          <p:cNvSpPr>
            <a:spLocks noGrp="1"/>
          </p:cNvSpPr>
          <p:nvPr>
            <p:ph idx="1" hasCustomPrompt="1"/>
          </p:nvPr>
        </p:nvSpPr>
        <p:spPr>
          <a:xfrm>
            <a:off x="620710"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21866DAB-E4AF-B043-B044-1E29C1D8D9A3}"/>
              </a:ext>
            </a:extLst>
          </p:cNvPr>
          <p:cNvSpPr>
            <a:spLocks noGrp="1"/>
          </p:cNvSpPr>
          <p:nvPr>
            <p:ph idx="37" hasCustomPrompt="1"/>
          </p:nvPr>
        </p:nvSpPr>
        <p:spPr>
          <a:xfrm>
            <a:off x="3480642"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C90DAF5A-AE06-C647-9A81-A94C85251578}"/>
              </a:ext>
            </a:extLst>
          </p:cNvPr>
          <p:cNvSpPr>
            <a:spLocks noGrp="1"/>
          </p:cNvSpPr>
          <p:nvPr>
            <p:ph idx="38" hasCustomPrompt="1"/>
          </p:nvPr>
        </p:nvSpPr>
        <p:spPr>
          <a:xfrm>
            <a:off x="6369757"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4" name="Content Placeholder 2">
            <a:extLst>
              <a:ext uri="{FF2B5EF4-FFF2-40B4-BE49-F238E27FC236}">
                <a16:creationId xmlns:a16="http://schemas.microsoft.com/office/drawing/2014/main" id="{4ACA85C4-4370-2A42-80F6-914559227EFF}"/>
              </a:ext>
            </a:extLst>
          </p:cNvPr>
          <p:cNvSpPr>
            <a:spLocks noGrp="1"/>
          </p:cNvSpPr>
          <p:nvPr>
            <p:ph idx="39" hasCustomPrompt="1"/>
          </p:nvPr>
        </p:nvSpPr>
        <p:spPr>
          <a:xfrm>
            <a:off x="9229689" y="2528390"/>
            <a:ext cx="2354538" cy="3313610"/>
          </a:xfrm>
          <a:prstGeom prst="rect">
            <a:avLst/>
          </a:prstGeom>
        </p:spPr>
        <p:txBody>
          <a:bodyPr/>
          <a:lstStyle>
            <a:lvl1pPr marL="228600" indent="-228600">
              <a:buSzPct val="70000"/>
              <a:buFont typeface="Symbol" pitchFamily="2" charset="2"/>
              <a:buChar char="-"/>
              <a:defRPr sz="14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p:txBody>
      </p:sp>
      <p:sp>
        <p:nvSpPr>
          <p:cNvPr id="35" name="Text Placeholder 19">
            <a:extLst>
              <a:ext uri="{FF2B5EF4-FFF2-40B4-BE49-F238E27FC236}">
                <a16:creationId xmlns:a16="http://schemas.microsoft.com/office/drawing/2014/main" id="{A89994AA-F55D-DF4A-B551-3108D79E1326}"/>
              </a:ext>
            </a:extLst>
          </p:cNvPr>
          <p:cNvSpPr>
            <a:spLocks noGrp="1"/>
          </p:cNvSpPr>
          <p:nvPr>
            <p:ph type="body" sz="quarter" idx="26" hasCustomPrompt="1"/>
          </p:nvPr>
        </p:nvSpPr>
        <p:spPr>
          <a:xfrm>
            <a:off x="617695"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6" name="Text Placeholder 19">
            <a:extLst>
              <a:ext uri="{FF2B5EF4-FFF2-40B4-BE49-F238E27FC236}">
                <a16:creationId xmlns:a16="http://schemas.microsoft.com/office/drawing/2014/main" id="{EE6829B0-CEA0-2A4F-A28E-D9E38408055B}"/>
              </a:ext>
            </a:extLst>
          </p:cNvPr>
          <p:cNvSpPr>
            <a:spLocks noGrp="1"/>
          </p:cNvSpPr>
          <p:nvPr>
            <p:ph type="body" sz="quarter" idx="40" hasCustomPrompt="1"/>
          </p:nvPr>
        </p:nvSpPr>
        <p:spPr>
          <a:xfrm>
            <a:off x="3478882"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7" name="Text Placeholder 19">
            <a:extLst>
              <a:ext uri="{FF2B5EF4-FFF2-40B4-BE49-F238E27FC236}">
                <a16:creationId xmlns:a16="http://schemas.microsoft.com/office/drawing/2014/main" id="{7FFCA151-D20D-CD49-A6DA-8FC7439479FC}"/>
              </a:ext>
            </a:extLst>
          </p:cNvPr>
          <p:cNvSpPr>
            <a:spLocks noGrp="1"/>
          </p:cNvSpPr>
          <p:nvPr>
            <p:ph type="body" sz="quarter" idx="41" hasCustomPrompt="1"/>
          </p:nvPr>
        </p:nvSpPr>
        <p:spPr>
          <a:xfrm>
            <a:off x="6369566"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8" name="Text Placeholder 19">
            <a:extLst>
              <a:ext uri="{FF2B5EF4-FFF2-40B4-BE49-F238E27FC236}">
                <a16:creationId xmlns:a16="http://schemas.microsoft.com/office/drawing/2014/main" id="{7CC0F432-FB69-754B-9B28-B2768DE6562B}"/>
              </a:ext>
            </a:extLst>
          </p:cNvPr>
          <p:cNvSpPr>
            <a:spLocks noGrp="1"/>
          </p:cNvSpPr>
          <p:nvPr>
            <p:ph type="body" sz="quarter" idx="42" hasCustomPrompt="1"/>
          </p:nvPr>
        </p:nvSpPr>
        <p:spPr>
          <a:xfrm>
            <a:off x="9230753" y="2170286"/>
            <a:ext cx="2357553" cy="300087"/>
          </a:xfrm>
          <a:prstGeom prst="rect">
            <a:avLst/>
          </a:prstGeom>
        </p:spPr>
        <p:txBody>
          <a:bodyPr anchor="ctr">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2392390648"/>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7" name="Content Placeholder 2">
            <a:extLst>
              <a:ext uri="{FF2B5EF4-FFF2-40B4-BE49-F238E27FC236}">
                <a16:creationId xmlns:a16="http://schemas.microsoft.com/office/drawing/2014/main" id="{9819941D-7B0D-924D-B7F6-45A6F921F9A8}"/>
              </a:ext>
            </a:extLst>
          </p:cNvPr>
          <p:cNvSpPr>
            <a:spLocks noGrp="1"/>
          </p:cNvSpPr>
          <p:nvPr>
            <p:ph idx="1" hasCustomPrompt="1"/>
          </p:nvPr>
        </p:nvSpPr>
        <p:spPr>
          <a:xfrm>
            <a:off x="61769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18" name="Title 1">
            <a:extLst>
              <a:ext uri="{FF2B5EF4-FFF2-40B4-BE49-F238E27FC236}">
                <a16:creationId xmlns:a16="http://schemas.microsoft.com/office/drawing/2014/main" id="{92983D14-024B-E64E-9A32-D7ECA3EA1E02}"/>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19" name="Text Placeholder 19">
            <a:extLst>
              <a:ext uri="{FF2B5EF4-FFF2-40B4-BE49-F238E27FC236}">
                <a16:creationId xmlns:a16="http://schemas.microsoft.com/office/drawing/2014/main" id="{0E09045A-7B47-4D45-AB1E-84643EB4333A}"/>
              </a:ext>
            </a:extLst>
          </p:cNvPr>
          <p:cNvSpPr>
            <a:spLocks noGrp="1"/>
          </p:cNvSpPr>
          <p:nvPr>
            <p:ph type="body" sz="quarter" idx="13" hasCustomPrompt="1"/>
          </p:nvPr>
        </p:nvSpPr>
        <p:spPr>
          <a:xfrm>
            <a:off x="61769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0" name="Content Placeholder 2">
            <a:extLst>
              <a:ext uri="{FF2B5EF4-FFF2-40B4-BE49-F238E27FC236}">
                <a16:creationId xmlns:a16="http://schemas.microsoft.com/office/drawing/2014/main" id="{35D9DF33-216F-0E47-8D95-B729C84EF681}"/>
              </a:ext>
            </a:extLst>
          </p:cNvPr>
          <p:cNvSpPr>
            <a:spLocks noGrp="1"/>
          </p:cNvSpPr>
          <p:nvPr>
            <p:ph idx="37" hasCustomPrompt="1"/>
          </p:nvPr>
        </p:nvSpPr>
        <p:spPr>
          <a:xfrm>
            <a:off x="348281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21" name="Text Placeholder 19">
            <a:extLst>
              <a:ext uri="{FF2B5EF4-FFF2-40B4-BE49-F238E27FC236}">
                <a16:creationId xmlns:a16="http://schemas.microsoft.com/office/drawing/2014/main" id="{CB381CE9-ADB1-244D-938F-3BF56CDEE745}"/>
              </a:ext>
            </a:extLst>
          </p:cNvPr>
          <p:cNvSpPr>
            <a:spLocks noGrp="1"/>
          </p:cNvSpPr>
          <p:nvPr>
            <p:ph type="body" sz="quarter" idx="38" hasCustomPrompt="1"/>
          </p:nvPr>
        </p:nvSpPr>
        <p:spPr>
          <a:xfrm>
            <a:off x="348281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28" name="Content Placeholder 2">
            <a:extLst>
              <a:ext uri="{FF2B5EF4-FFF2-40B4-BE49-F238E27FC236}">
                <a16:creationId xmlns:a16="http://schemas.microsoft.com/office/drawing/2014/main" id="{08EA2A2A-2240-5F4C-B099-AA8FBE1A7E92}"/>
              </a:ext>
            </a:extLst>
          </p:cNvPr>
          <p:cNvSpPr>
            <a:spLocks noGrp="1"/>
          </p:cNvSpPr>
          <p:nvPr>
            <p:ph idx="39" hasCustomPrompt="1"/>
          </p:nvPr>
        </p:nvSpPr>
        <p:spPr>
          <a:xfrm>
            <a:off x="634793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29" name="Text Placeholder 19">
            <a:extLst>
              <a:ext uri="{FF2B5EF4-FFF2-40B4-BE49-F238E27FC236}">
                <a16:creationId xmlns:a16="http://schemas.microsoft.com/office/drawing/2014/main" id="{D18FD1BE-5D33-9541-8D27-AD219FFD9515}"/>
              </a:ext>
            </a:extLst>
          </p:cNvPr>
          <p:cNvSpPr>
            <a:spLocks noGrp="1"/>
          </p:cNvSpPr>
          <p:nvPr>
            <p:ph type="body" sz="quarter" idx="40" hasCustomPrompt="1"/>
          </p:nvPr>
        </p:nvSpPr>
        <p:spPr>
          <a:xfrm>
            <a:off x="634793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0" name="Content Placeholder 2">
            <a:extLst>
              <a:ext uri="{FF2B5EF4-FFF2-40B4-BE49-F238E27FC236}">
                <a16:creationId xmlns:a16="http://schemas.microsoft.com/office/drawing/2014/main" id="{4A1963F5-68ED-A44A-B7DA-BC6E24CAE4D6}"/>
              </a:ext>
            </a:extLst>
          </p:cNvPr>
          <p:cNvSpPr>
            <a:spLocks noGrp="1"/>
          </p:cNvSpPr>
          <p:nvPr>
            <p:ph idx="41" hasCustomPrompt="1"/>
          </p:nvPr>
        </p:nvSpPr>
        <p:spPr>
          <a:xfrm>
            <a:off x="9213054" y="2289036"/>
            <a:ext cx="2367554" cy="3552964"/>
          </a:xfrm>
          <a:prstGeom prst="rect">
            <a:avLst/>
          </a:prstGeom>
        </p:spPr>
        <p:txBody>
          <a:bodyPr/>
          <a:lstStyle>
            <a:lvl1pPr marL="228600" indent="-228600">
              <a:buSzPct val="70000"/>
              <a:buFont typeface="Symbol" pitchFamily="2" charset="2"/>
              <a:buChar char="-"/>
              <a:defRPr sz="21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8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Click to edit Master text styles</a:t>
            </a:r>
          </a:p>
          <a:p>
            <a:pPr lvl="1"/>
            <a:r>
              <a:rPr lang="en-US"/>
              <a:t>Second level</a:t>
            </a:r>
          </a:p>
          <a:p>
            <a:pPr lvl="2"/>
            <a:r>
              <a:rPr lang="en-US"/>
              <a:t>Third Level</a:t>
            </a:r>
          </a:p>
        </p:txBody>
      </p:sp>
      <p:sp>
        <p:nvSpPr>
          <p:cNvPr id="31" name="Text Placeholder 19">
            <a:extLst>
              <a:ext uri="{FF2B5EF4-FFF2-40B4-BE49-F238E27FC236}">
                <a16:creationId xmlns:a16="http://schemas.microsoft.com/office/drawing/2014/main" id="{2A8CD0F6-4EAE-8446-BC96-2278C63AA8D0}"/>
              </a:ext>
            </a:extLst>
          </p:cNvPr>
          <p:cNvSpPr>
            <a:spLocks noGrp="1"/>
          </p:cNvSpPr>
          <p:nvPr>
            <p:ph type="body" sz="quarter" idx="42" hasCustomPrompt="1"/>
          </p:nvPr>
        </p:nvSpPr>
        <p:spPr>
          <a:xfrm>
            <a:off x="9213055" y="1891811"/>
            <a:ext cx="2367553" cy="300087"/>
          </a:xfrm>
          <a:prstGeom prst="rect">
            <a:avLst/>
          </a:prstGeom>
        </p:spPr>
        <p:txBody>
          <a:bodyPr anchor="ctr">
            <a:noAutofit/>
          </a:bodyPr>
          <a:lstStyle>
            <a:lvl1pPr marL="0" indent="0">
              <a:lnSpc>
                <a:spcPct val="100000"/>
              </a:lnSpc>
              <a:buNone/>
              <a:defRPr sz="24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289111418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636196" y="1480173"/>
            <a:ext cx="5148908"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7" name="Title 1"/>
          <p:cNvSpPr>
            <a:spLocks noGrp="1"/>
          </p:cNvSpPr>
          <p:nvPr>
            <p:ph type="title"/>
          </p:nvPr>
        </p:nvSpPr>
        <p:spPr>
          <a:xfrm>
            <a:off x="622570" y="188913"/>
            <a:ext cx="10879414" cy="590501"/>
          </a:xfrm>
          <a:prstGeom prst="rect">
            <a:avLst/>
          </a:prstGeom>
        </p:spPr>
        <p:txBody>
          <a:bodyPr anchor="t">
            <a:noAutofit/>
          </a:bodyPr>
          <a:lstStyle>
            <a:lvl1pPr>
              <a:defRPr lang="en-GB" sz="4800" b="0" i="0" kern="1200" noProof="0" dirty="0">
                <a:solidFill>
                  <a:schemeClr val="tx2"/>
                </a:solidFill>
                <a:latin typeface="Calibri Light" panose="020F0302020204030204" pitchFamily="34" charset="0"/>
                <a:ea typeface="+mj-ea"/>
                <a:cs typeface="+mj-cs"/>
              </a:defRPr>
            </a:lvl1pPr>
          </a:lstStyle>
          <a:p>
            <a:r>
              <a:rPr lang="en-GB" noProof="0"/>
              <a:t>Click to edit Master title style</a:t>
            </a:r>
          </a:p>
        </p:txBody>
      </p:sp>
      <p:sp>
        <p:nvSpPr>
          <p:cNvPr id="18" name="Text Placeholder 19"/>
          <p:cNvSpPr>
            <a:spLocks noGrp="1"/>
          </p:cNvSpPr>
          <p:nvPr>
            <p:ph type="body" sz="quarter" idx="13"/>
          </p:nvPr>
        </p:nvSpPr>
        <p:spPr>
          <a:xfrm>
            <a:off x="621753" y="779412"/>
            <a:ext cx="10855628" cy="468000"/>
          </a:xfrm>
          <a:prstGeom prst="rect">
            <a:avLst/>
          </a:prstGeom>
        </p:spPr>
        <p:txBody>
          <a:bodyPr>
            <a:noAutofit/>
          </a:bodyPr>
          <a:lstStyle>
            <a:lvl1pPr marL="0" indent="0">
              <a:lnSpc>
                <a:spcPct val="100000"/>
              </a:lnSpc>
              <a:buNone/>
              <a:defRPr sz="2400" b="0" i="0">
                <a:solidFill>
                  <a:schemeClr val="accent2"/>
                </a:solidFill>
                <a:latin typeface="Calibri Light" panose="020F0302020204030204" pitchFamily="34" charset="0"/>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Click to edit Master text styles</a:t>
            </a:r>
          </a:p>
        </p:txBody>
      </p:sp>
      <p:sp>
        <p:nvSpPr>
          <p:cNvPr id="8" name="Marcador de texto 2"/>
          <p:cNvSpPr>
            <a:spLocks noGrp="1"/>
          </p:cNvSpPr>
          <p:nvPr>
            <p:ph type="body" sz="quarter" idx="19" hasCustomPrompt="1"/>
          </p:nvPr>
        </p:nvSpPr>
        <p:spPr>
          <a:xfrm>
            <a:off x="6245754" y="1472789"/>
            <a:ext cx="5310050" cy="4828566"/>
          </a:xfrm>
          <a:prstGeom prst="rect">
            <a:avLst/>
          </a:prstGeom>
        </p:spPr>
        <p:txBody>
          <a:bodyPr>
            <a:normAutofit/>
          </a:bodyPr>
          <a:lstStyle>
            <a:lvl1pPr marL="130960" indent="-130960">
              <a:lnSpc>
                <a:spcPct val="100000"/>
              </a:lnSpc>
              <a:buClr>
                <a:schemeClr val="accent2"/>
              </a:buClr>
              <a:defRPr sz="2800" b="0" i="0" baseline="0">
                <a:solidFill>
                  <a:srgbClr val="323232"/>
                </a:solidFill>
                <a:latin typeface="Calibri Light" panose="020F0302020204030204" pitchFamily="34" charset="0"/>
              </a:defRPr>
            </a:lvl1pPr>
            <a:lvl2pPr>
              <a:lnSpc>
                <a:spcPct val="100000"/>
              </a:lnSpc>
              <a:buClr>
                <a:schemeClr val="accent2"/>
              </a:buClr>
              <a:defRPr sz="2400" b="0" i="0" baseline="0">
                <a:solidFill>
                  <a:srgbClr val="323232"/>
                </a:solidFill>
                <a:latin typeface="Calibri Light" panose="020F0302020204030204" pitchFamily="34" charset="0"/>
              </a:defRPr>
            </a:lvl2pPr>
            <a:lvl3pPr>
              <a:lnSpc>
                <a:spcPct val="100000"/>
              </a:lnSpc>
              <a:buClr>
                <a:schemeClr val="accent2"/>
              </a:buClr>
              <a:defRPr sz="2000" b="0" i="0" baseline="0">
                <a:solidFill>
                  <a:srgbClr val="323232"/>
                </a:solidFill>
                <a:latin typeface="Calibri Light" panose="020F0302020204030204" pitchFamily="34" charset="0"/>
              </a:defRPr>
            </a:lvl3pPr>
            <a:lvl4pPr>
              <a:lnSpc>
                <a:spcPct val="100000"/>
              </a:lnSpc>
              <a:buClr>
                <a:schemeClr val="accent2"/>
              </a:buClr>
              <a:defRPr sz="1800" b="0" i="0" baseline="0">
                <a:solidFill>
                  <a:srgbClr val="323232"/>
                </a:solidFill>
                <a:latin typeface="Calibri Light" panose="020F0302020204030204" pitchFamily="34" charset="0"/>
              </a:defRPr>
            </a:lvl4pPr>
            <a:lvl5pPr>
              <a:lnSpc>
                <a:spcPct val="100000"/>
              </a:lnSpc>
              <a:buClr>
                <a:schemeClr val="accent2"/>
              </a:buClr>
              <a:defRPr sz="1400" b="0" i="0" baseline="0">
                <a:solidFill>
                  <a:srgbClr val="323232"/>
                </a:solidFill>
                <a:latin typeface="Calibri Light" panose="020F0302020204030204" pitchFamily="34" charset="0"/>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39453572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Numbered Listing: 4Points">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2145365"/>
            <a:ext cx="293670"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1</a:t>
            </a:r>
            <a:endParaRPr lang="en-US" sz="240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2140086"/>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2136739"/>
            <a:ext cx="338554"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2</a:t>
            </a:r>
            <a:endParaRPr lang="en-US" sz="240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2148712"/>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542311"/>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2145365"/>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3</a:t>
            </a:r>
            <a:endParaRPr lang="en-US" sz="240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2140086"/>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2136739"/>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4</a:t>
            </a:r>
            <a:endParaRPr lang="en-US" sz="240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533685"/>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C784D1CF-3DCC-5D42-A479-884075BAD915}"/>
              </a:ext>
            </a:extLst>
          </p:cNvPr>
          <p:cNvSpPr>
            <a:spLocks noGrp="1"/>
          </p:cNvSpPr>
          <p:nvPr>
            <p:ph idx="1" hasCustomPrompt="1"/>
          </p:nvPr>
        </p:nvSpPr>
        <p:spPr>
          <a:xfrm>
            <a:off x="6481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0" name="Content Placeholder 2">
            <a:extLst>
              <a:ext uri="{FF2B5EF4-FFF2-40B4-BE49-F238E27FC236}">
                <a16:creationId xmlns:a16="http://schemas.microsoft.com/office/drawing/2014/main" id="{945449B0-7F6A-EB42-92CC-F4D1FD639AE0}"/>
              </a:ext>
            </a:extLst>
          </p:cNvPr>
          <p:cNvSpPr>
            <a:spLocks noGrp="1"/>
          </p:cNvSpPr>
          <p:nvPr>
            <p:ph idx="33" hasCustomPrompt="1"/>
          </p:nvPr>
        </p:nvSpPr>
        <p:spPr>
          <a:xfrm>
            <a:off x="349949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1" name="Content Placeholder 2">
            <a:extLst>
              <a:ext uri="{FF2B5EF4-FFF2-40B4-BE49-F238E27FC236}">
                <a16:creationId xmlns:a16="http://schemas.microsoft.com/office/drawing/2014/main" id="{159D94B7-DC41-564E-A436-172B8D1360CF}"/>
              </a:ext>
            </a:extLst>
          </p:cNvPr>
          <p:cNvSpPr>
            <a:spLocks noGrp="1"/>
          </p:cNvSpPr>
          <p:nvPr>
            <p:ph idx="34" hasCustomPrompt="1"/>
          </p:nvPr>
        </p:nvSpPr>
        <p:spPr>
          <a:xfrm>
            <a:off x="6331187"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2" name="Content Placeholder 2">
            <a:extLst>
              <a:ext uri="{FF2B5EF4-FFF2-40B4-BE49-F238E27FC236}">
                <a16:creationId xmlns:a16="http://schemas.microsoft.com/office/drawing/2014/main" id="{1835E241-DF8C-2946-B874-086E5DC31CA5}"/>
              </a:ext>
            </a:extLst>
          </p:cNvPr>
          <p:cNvSpPr>
            <a:spLocks noGrp="1"/>
          </p:cNvSpPr>
          <p:nvPr>
            <p:ph idx="35" hasCustomPrompt="1"/>
          </p:nvPr>
        </p:nvSpPr>
        <p:spPr>
          <a:xfrm>
            <a:off x="9182542" y="3429000"/>
            <a:ext cx="2358000" cy="239763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3" name="Text Placeholder 19">
            <a:extLst>
              <a:ext uri="{FF2B5EF4-FFF2-40B4-BE49-F238E27FC236}">
                <a16:creationId xmlns:a16="http://schemas.microsoft.com/office/drawing/2014/main" id="{609176E0-FA74-9A4A-9F72-44DD42E13A08}"/>
              </a:ext>
            </a:extLst>
          </p:cNvPr>
          <p:cNvSpPr>
            <a:spLocks noGrp="1"/>
          </p:cNvSpPr>
          <p:nvPr>
            <p:ph type="body" sz="quarter" idx="26" hasCustomPrompt="1"/>
          </p:nvPr>
        </p:nvSpPr>
        <p:spPr>
          <a:xfrm>
            <a:off x="649100"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4" name="Text Placeholder 19">
            <a:extLst>
              <a:ext uri="{FF2B5EF4-FFF2-40B4-BE49-F238E27FC236}">
                <a16:creationId xmlns:a16="http://schemas.microsoft.com/office/drawing/2014/main" id="{D1624948-A3AD-B145-AEB1-98655E3A895D}"/>
              </a:ext>
            </a:extLst>
          </p:cNvPr>
          <p:cNvSpPr>
            <a:spLocks noGrp="1"/>
          </p:cNvSpPr>
          <p:nvPr>
            <p:ph type="body" sz="quarter" idx="41" hasCustomPrompt="1"/>
          </p:nvPr>
        </p:nvSpPr>
        <p:spPr>
          <a:xfrm>
            <a:off x="3495667"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5" name="Text Placeholder 19">
            <a:extLst>
              <a:ext uri="{FF2B5EF4-FFF2-40B4-BE49-F238E27FC236}">
                <a16:creationId xmlns:a16="http://schemas.microsoft.com/office/drawing/2014/main" id="{23C7B9BE-3267-4C4A-A2A0-C6678AB826EC}"/>
              </a:ext>
            </a:extLst>
          </p:cNvPr>
          <p:cNvSpPr>
            <a:spLocks noGrp="1"/>
          </p:cNvSpPr>
          <p:nvPr>
            <p:ph type="body" sz="quarter" idx="42" hasCustomPrompt="1"/>
          </p:nvPr>
        </p:nvSpPr>
        <p:spPr>
          <a:xfrm>
            <a:off x="6342234"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6" name="Text Placeholder 19">
            <a:extLst>
              <a:ext uri="{FF2B5EF4-FFF2-40B4-BE49-F238E27FC236}">
                <a16:creationId xmlns:a16="http://schemas.microsoft.com/office/drawing/2014/main" id="{8A5576B1-0E3D-3D42-A825-78FA27D4A270}"/>
              </a:ext>
            </a:extLst>
          </p:cNvPr>
          <p:cNvSpPr>
            <a:spLocks noGrp="1"/>
          </p:cNvSpPr>
          <p:nvPr>
            <p:ph type="body" sz="quarter" idx="43" hasCustomPrompt="1"/>
          </p:nvPr>
        </p:nvSpPr>
        <p:spPr>
          <a:xfrm>
            <a:off x="9188801" y="2794577"/>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186364616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Numbered Listing: 4Points">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696F0FF-6D84-834C-8F42-D56926E368AD}"/>
              </a:ext>
            </a:extLst>
          </p:cNvPr>
          <p:cNvSpPr>
            <a:spLocks noGrp="1"/>
          </p:cNvSpPr>
          <p:nvPr>
            <p:ph idx="1" hasCustomPrompt="1"/>
          </p:nvPr>
        </p:nvSpPr>
        <p:spPr>
          <a:xfrm>
            <a:off x="648142"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40" name="Text Placeholder 19">
            <a:extLst>
              <a:ext uri="{FF2B5EF4-FFF2-40B4-BE49-F238E27FC236}">
                <a16:creationId xmlns:a16="http://schemas.microsoft.com/office/drawing/2014/main" id="{8DC38367-9887-F543-A0A1-B066F0454454}"/>
              </a:ext>
            </a:extLst>
          </p:cNvPr>
          <p:cNvSpPr>
            <a:spLocks noGrp="1"/>
          </p:cNvSpPr>
          <p:nvPr>
            <p:ph type="body" sz="quarter" idx="34" hasCustomPrompt="1"/>
          </p:nvPr>
        </p:nvSpPr>
        <p:spPr>
          <a:xfrm>
            <a:off x="648143"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0" name="Elipse 16">
            <a:extLst>
              <a:ext uri="{FF2B5EF4-FFF2-40B4-BE49-F238E27FC236}">
                <a16:creationId xmlns:a16="http://schemas.microsoft.com/office/drawing/2014/main" id="{3ACF3171-04D0-BE4E-9932-447DE2C769F0}"/>
              </a:ext>
            </a:extLst>
          </p:cNvPr>
          <p:cNvSpPr/>
          <p:nvPr userDrawn="1"/>
        </p:nvSpPr>
        <p:spPr>
          <a:xfrm>
            <a:off x="1519380"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1" name="TextBox 20">
            <a:extLst>
              <a:ext uri="{FF2B5EF4-FFF2-40B4-BE49-F238E27FC236}">
                <a16:creationId xmlns:a16="http://schemas.microsoft.com/office/drawing/2014/main" id="{1F62EC11-D3DC-7A49-B42B-A0FB99250E08}"/>
              </a:ext>
            </a:extLst>
          </p:cNvPr>
          <p:cNvSpPr txBox="1"/>
          <p:nvPr userDrawn="1"/>
        </p:nvSpPr>
        <p:spPr>
          <a:xfrm>
            <a:off x="1602384" y="1892523"/>
            <a:ext cx="293670"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1</a:t>
            </a:r>
            <a:endParaRPr lang="en-US" sz="2400">
              <a:solidFill>
                <a:schemeClr val="bg1"/>
              </a:solidFill>
              <a:latin typeface="Gibson Light" charset="0"/>
              <a:ea typeface="Gibson Light" charset="0"/>
              <a:cs typeface="Gibson Light" charset="0"/>
            </a:endParaRPr>
          </a:p>
        </p:txBody>
      </p:sp>
      <p:sp>
        <p:nvSpPr>
          <p:cNvPr id="28" name="Elipse 16">
            <a:extLst>
              <a:ext uri="{FF2B5EF4-FFF2-40B4-BE49-F238E27FC236}">
                <a16:creationId xmlns:a16="http://schemas.microsoft.com/office/drawing/2014/main" id="{E7008329-75BF-1241-8FE3-9129F09DE6CE}"/>
              </a:ext>
            </a:extLst>
          </p:cNvPr>
          <p:cNvSpPr/>
          <p:nvPr userDrawn="1"/>
        </p:nvSpPr>
        <p:spPr>
          <a:xfrm>
            <a:off x="4439626" y="1887244"/>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29" name="TextBox 28">
            <a:extLst>
              <a:ext uri="{FF2B5EF4-FFF2-40B4-BE49-F238E27FC236}">
                <a16:creationId xmlns:a16="http://schemas.microsoft.com/office/drawing/2014/main" id="{BAEE8DC3-3264-8E40-ADAB-80A5D9155D60}"/>
              </a:ext>
            </a:extLst>
          </p:cNvPr>
          <p:cNvSpPr txBox="1"/>
          <p:nvPr userDrawn="1"/>
        </p:nvSpPr>
        <p:spPr>
          <a:xfrm>
            <a:off x="4501136" y="1883897"/>
            <a:ext cx="338554" cy="461664"/>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2</a:t>
            </a:r>
            <a:endParaRPr lang="en-US" sz="2400">
              <a:solidFill>
                <a:schemeClr val="bg1"/>
              </a:solidFill>
              <a:latin typeface="Gibson Light" charset="0"/>
              <a:ea typeface="Gibson Light" charset="0"/>
              <a:cs typeface="Gibson Light" charset="0"/>
            </a:endParaRPr>
          </a:p>
        </p:txBody>
      </p:sp>
      <p:sp>
        <p:nvSpPr>
          <p:cNvPr id="30" name="Elipse 16">
            <a:extLst>
              <a:ext uri="{FF2B5EF4-FFF2-40B4-BE49-F238E27FC236}">
                <a16:creationId xmlns:a16="http://schemas.microsoft.com/office/drawing/2014/main" id="{E3BA51B0-7DF4-834D-97A6-89F0FD59DF27}"/>
              </a:ext>
            </a:extLst>
          </p:cNvPr>
          <p:cNvSpPr/>
          <p:nvPr userDrawn="1"/>
        </p:nvSpPr>
        <p:spPr>
          <a:xfrm>
            <a:off x="7292198" y="1895870"/>
            <a:ext cx="461575" cy="461574"/>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cxnSp>
        <p:nvCxnSpPr>
          <p:cNvPr id="31" name="Conector recto 17">
            <a:extLst>
              <a:ext uri="{FF2B5EF4-FFF2-40B4-BE49-F238E27FC236}">
                <a16:creationId xmlns:a16="http://schemas.microsoft.com/office/drawing/2014/main" id="{DFE3ABB0-C8CD-D444-8F67-DE54B6CDF6AC}"/>
              </a:ext>
            </a:extLst>
          </p:cNvPr>
          <p:cNvCxnSpPr>
            <a:cxnSpLocks/>
          </p:cNvCxnSpPr>
          <p:nvPr userDrawn="1"/>
        </p:nvCxnSpPr>
        <p:spPr>
          <a:xfrm>
            <a:off x="7521555" y="2289469"/>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2F09C47-323E-B74B-AC4D-1F945EA791DC}"/>
              </a:ext>
            </a:extLst>
          </p:cNvPr>
          <p:cNvSpPr txBox="1"/>
          <p:nvPr userDrawn="1"/>
        </p:nvSpPr>
        <p:spPr>
          <a:xfrm>
            <a:off x="7352278" y="1892523"/>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3</a:t>
            </a:r>
            <a:endParaRPr lang="en-US" sz="2400">
              <a:solidFill>
                <a:schemeClr val="bg1"/>
              </a:solidFill>
              <a:latin typeface="Gibson Light" charset="0"/>
              <a:ea typeface="Gibson Light" charset="0"/>
              <a:cs typeface="Gibson Light" charset="0"/>
            </a:endParaRPr>
          </a:p>
        </p:txBody>
      </p:sp>
      <p:sp>
        <p:nvSpPr>
          <p:cNvPr id="33" name="Elipse 16">
            <a:extLst>
              <a:ext uri="{FF2B5EF4-FFF2-40B4-BE49-F238E27FC236}">
                <a16:creationId xmlns:a16="http://schemas.microsoft.com/office/drawing/2014/main" id="{22BE24E9-D272-0841-82AF-C021495DC755}"/>
              </a:ext>
            </a:extLst>
          </p:cNvPr>
          <p:cNvSpPr/>
          <p:nvPr userDrawn="1"/>
        </p:nvSpPr>
        <p:spPr>
          <a:xfrm>
            <a:off x="10141909" y="1887244"/>
            <a:ext cx="461575" cy="461573"/>
          </a:xfrm>
          <a:prstGeom prst="ellipse">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
        <p:nvSpPr>
          <p:cNvPr id="34" name="TextBox 33">
            <a:extLst>
              <a:ext uri="{FF2B5EF4-FFF2-40B4-BE49-F238E27FC236}">
                <a16:creationId xmlns:a16="http://schemas.microsoft.com/office/drawing/2014/main" id="{EED05DEE-BF33-4645-8F1C-82992D44B694}"/>
              </a:ext>
            </a:extLst>
          </p:cNvPr>
          <p:cNvSpPr txBox="1"/>
          <p:nvPr userDrawn="1"/>
        </p:nvSpPr>
        <p:spPr>
          <a:xfrm>
            <a:off x="10179425" y="1883897"/>
            <a:ext cx="338554" cy="461665"/>
          </a:xfrm>
          <a:prstGeom prst="rect">
            <a:avLst/>
          </a:prstGeom>
          <a:noFill/>
        </p:spPr>
        <p:txBody>
          <a:bodyPr wrap="none" rtlCol="0">
            <a:spAutoFit/>
          </a:bodyPr>
          <a:lstStyle/>
          <a:p>
            <a:r>
              <a:rPr lang="en-US" sz="2400" spc="-150">
                <a:solidFill>
                  <a:schemeClr val="bg1"/>
                </a:solidFill>
                <a:latin typeface="Gibson Light" charset="0"/>
                <a:ea typeface="Gibson Light" charset="0"/>
                <a:cs typeface="Gibson Light" charset="0"/>
              </a:rPr>
              <a:t>4</a:t>
            </a:r>
            <a:endParaRPr lang="en-US" sz="2400">
              <a:solidFill>
                <a:schemeClr val="bg1"/>
              </a:solidFill>
              <a:latin typeface="Gibson Light" charset="0"/>
              <a:ea typeface="Gibson Light" charset="0"/>
              <a:cs typeface="Gibson Light" charset="0"/>
            </a:endParaRPr>
          </a:p>
        </p:txBody>
      </p:sp>
      <p:cxnSp>
        <p:nvCxnSpPr>
          <p:cNvPr id="35" name="Conector recto 17">
            <a:extLst>
              <a:ext uri="{FF2B5EF4-FFF2-40B4-BE49-F238E27FC236}">
                <a16:creationId xmlns:a16="http://schemas.microsoft.com/office/drawing/2014/main" id="{CAC36794-F771-9E4B-A292-869F931B85C8}"/>
              </a:ext>
            </a:extLst>
          </p:cNvPr>
          <p:cNvCxnSpPr>
            <a:cxnSpLocks/>
          </p:cNvCxnSpPr>
          <p:nvPr userDrawn="1"/>
        </p:nvCxnSpPr>
        <p:spPr>
          <a:xfrm>
            <a:off x="4670413"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ector recto 17">
            <a:extLst>
              <a:ext uri="{FF2B5EF4-FFF2-40B4-BE49-F238E27FC236}">
                <a16:creationId xmlns:a16="http://schemas.microsoft.com/office/drawing/2014/main" id="{C52B876A-E1A1-B645-83F5-D4521C9C7801}"/>
              </a:ext>
            </a:extLst>
          </p:cNvPr>
          <p:cNvCxnSpPr>
            <a:cxnSpLocks/>
          </p:cNvCxnSpPr>
          <p:nvPr userDrawn="1"/>
        </p:nvCxnSpPr>
        <p:spPr>
          <a:xfrm>
            <a:off x="1750167"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Conector recto 17">
            <a:extLst>
              <a:ext uri="{FF2B5EF4-FFF2-40B4-BE49-F238E27FC236}">
                <a16:creationId xmlns:a16="http://schemas.microsoft.com/office/drawing/2014/main" id="{91AAFE4E-8522-5541-AFDF-101D18162CBB}"/>
              </a:ext>
            </a:extLst>
          </p:cNvPr>
          <p:cNvCxnSpPr>
            <a:cxnSpLocks/>
          </p:cNvCxnSpPr>
          <p:nvPr userDrawn="1"/>
        </p:nvCxnSpPr>
        <p:spPr>
          <a:xfrm>
            <a:off x="10372696" y="2280843"/>
            <a:ext cx="0" cy="236364"/>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70502F7D-BCA4-DF4A-B6F1-8EB9F03647A9}"/>
              </a:ext>
            </a:extLst>
          </p:cNvPr>
          <p:cNvSpPr>
            <a:spLocks noGrp="1"/>
          </p:cNvSpPr>
          <p:nvPr>
            <p:ph idx="35" hasCustomPrompt="1"/>
          </p:nvPr>
        </p:nvSpPr>
        <p:spPr>
          <a:xfrm>
            <a:off x="3489064"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49" name="Text Placeholder 19">
            <a:extLst>
              <a:ext uri="{FF2B5EF4-FFF2-40B4-BE49-F238E27FC236}">
                <a16:creationId xmlns:a16="http://schemas.microsoft.com/office/drawing/2014/main" id="{E82954F1-73C2-E44C-B795-DA3EBA4B1E6D}"/>
              </a:ext>
            </a:extLst>
          </p:cNvPr>
          <p:cNvSpPr>
            <a:spLocks noGrp="1"/>
          </p:cNvSpPr>
          <p:nvPr>
            <p:ph type="body" sz="quarter" idx="36" hasCustomPrompt="1"/>
          </p:nvPr>
        </p:nvSpPr>
        <p:spPr>
          <a:xfrm>
            <a:off x="3489065"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0" name="Content Placeholder 2">
            <a:extLst>
              <a:ext uri="{FF2B5EF4-FFF2-40B4-BE49-F238E27FC236}">
                <a16:creationId xmlns:a16="http://schemas.microsoft.com/office/drawing/2014/main" id="{7B134228-FAB6-D44B-BA04-9233836EBCC0}"/>
              </a:ext>
            </a:extLst>
          </p:cNvPr>
          <p:cNvSpPr>
            <a:spLocks noGrp="1"/>
          </p:cNvSpPr>
          <p:nvPr>
            <p:ph idx="37" hasCustomPrompt="1"/>
          </p:nvPr>
        </p:nvSpPr>
        <p:spPr>
          <a:xfrm>
            <a:off x="6336966"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51" name="Text Placeholder 19">
            <a:extLst>
              <a:ext uri="{FF2B5EF4-FFF2-40B4-BE49-F238E27FC236}">
                <a16:creationId xmlns:a16="http://schemas.microsoft.com/office/drawing/2014/main" id="{6863A3B0-3023-7147-8329-3E4D3F2E8C4A}"/>
              </a:ext>
            </a:extLst>
          </p:cNvPr>
          <p:cNvSpPr>
            <a:spLocks noGrp="1"/>
          </p:cNvSpPr>
          <p:nvPr>
            <p:ph type="body" sz="quarter" idx="38" hasCustomPrompt="1"/>
          </p:nvPr>
        </p:nvSpPr>
        <p:spPr>
          <a:xfrm>
            <a:off x="6336967"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2" name="Content Placeholder 2">
            <a:extLst>
              <a:ext uri="{FF2B5EF4-FFF2-40B4-BE49-F238E27FC236}">
                <a16:creationId xmlns:a16="http://schemas.microsoft.com/office/drawing/2014/main" id="{2BB795D0-6C15-EB43-9C1F-13F7BFF1FCBC}"/>
              </a:ext>
            </a:extLst>
          </p:cNvPr>
          <p:cNvSpPr>
            <a:spLocks noGrp="1"/>
          </p:cNvSpPr>
          <p:nvPr>
            <p:ph idx="39" hasCustomPrompt="1"/>
          </p:nvPr>
        </p:nvSpPr>
        <p:spPr>
          <a:xfrm>
            <a:off x="9184869" y="3196943"/>
            <a:ext cx="2358000" cy="2645057"/>
          </a:xfrm>
          <a:prstGeom prst="rect">
            <a:avLst/>
          </a:prstGeom>
        </p:spPr>
        <p:txBody>
          <a:bodyPr/>
          <a:lstStyle>
            <a:lvl1pPr marL="228600" indent="-228600">
              <a:buSzPct val="70000"/>
              <a:buFont typeface="Symbol" pitchFamily="2" charset="2"/>
              <a:buChar char="-"/>
              <a:defRPr sz="1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65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a:p>
            <a:pPr lvl="2"/>
            <a:r>
              <a:rPr lang="en-US"/>
              <a:t>Third Level</a:t>
            </a:r>
          </a:p>
        </p:txBody>
      </p:sp>
      <p:sp>
        <p:nvSpPr>
          <p:cNvPr id="53" name="Text Placeholder 19">
            <a:extLst>
              <a:ext uri="{FF2B5EF4-FFF2-40B4-BE49-F238E27FC236}">
                <a16:creationId xmlns:a16="http://schemas.microsoft.com/office/drawing/2014/main" id="{9EAD9ADD-5928-914D-A66B-1E1C48132204}"/>
              </a:ext>
            </a:extLst>
          </p:cNvPr>
          <p:cNvSpPr>
            <a:spLocks noGrp="1"/>
          </p:cNvSpPr>
          <p:nvPr>
            <p:ph type="body" sz="quarter" idx="40" hasCustomPrompt="1"/>
          </p:nvPr>
        </p:nvSpPr>
        <p:spPr>
          <a:xfrm>
            <a:off x="9184870" y="2554249"/>
            <a:ext cx="2357999" cy="571315"/>
          </a:xfrm>
          <a:prstGeom prst="rect">
            <a:avLst/>
          </a:prstGeom>
        </p:spPr>
        <p:txBody>
          <a:bodyPr anchor="b">
            <a:noAutofit/>
          </a:bodyPr>
          <a:lstStyle>
            <a:lvl1pPr marL="0" indent="0">
              <a:lnSpc>
                <a:spcPts val="2100"/>
              </a:lnSpc>
              <a:buNone/>
              <a:defRPr sz="21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4" name="Title 1">
            <a:extLst>
              <a:ext uri="{FF2B5EF4-FFF2-40B4-BE49-F238E27FC236}">
                <a16:creationId xmlns:a16="http://schemas.microsoft.com/office/drawing/2014/main" id="{D8C69FA7-2287-A24F-B458-9527A8478ED8}"/>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Tree>
    <p:extLst>
      <p:ext uri="{BB962C8B-B14F-4D97-AF65-F5344CB8AC3E}">
        <p14:creationId xmlns:p14="http://schemas.microsoft.com/office/powerpoint/2010/main" val="139763761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368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con/Imagery Listing: 4Points">
    <p:spTree>
      <p:nvGrpSpPr>
        <p:cNvPr id="1" name=""/>
        <p:cNvGrpSpPr/>
        <p:nvPr/>
      </p:nvGrpSpPr>
      <p:grpSpPr>
        <a:xfrm>
          <a:off x="0" y="0"/>
          <a:ext cx="0" cy="0"/>
          <a:chOff x="0" y="0"/>
          <a:chExt cx="0" cy="0"/>
        </a:xfrm>
      </p:grpSpPr>
      <p:sp>
        <p:nvSpPr>
          <p:cNvPr id="66" name="Picture Placeholder 93">
            <a:extLst>
              <a:ext uri="{FF2B5EF4-FFF2-40B4-BE49-F238E27FC236}">
                <a16:creationId xmlns:a16="http://schemas.microsoft.com/office/drawing/2014/main" id="{E1558217-4734-4D4F-83FA-77A7D2F8A663}"/>
              </a:ext>
            </a:extLst>
          </p:cNvPr>
          <p:cNvSpPr>
            <a:spLocks noGrp="1" noChangeAspect="1"/>
          </p:cNvSpPr>
          <p:nvPr>
            <p:ph type="pic" sz="quarter" idx="4294967295"/>
          </p:nvPr>
        </p:nvSpPr>
        <p:spPr>
          <a:xfrm>
            <a:off x="3922076" y="2134515"/>
            <a:ext cx="1490997" cy="1494032"/>
          </a:xfrm>
          <a:prstGeom prst="ellipse">
            <a:avLst/>
          </a:prstGeom>
          <a:solidFill>
            <a:srgbClr val="9BCAEC"/>
          </a:solidFill>
        </p:spPr>
      </p:sp>
      <p:sp>
        <p:nvSpPr>
          <p:cNvPr id="65" name="Picture Placeholder 93" title="Add Icon/Image">
            <a:extLst>
              <a:ext uri="{FF2B5EF4-FFF2-40B4-BE49-F238E27FC236}">
                <a16:creationId xmlns:a16="http://schemas.microsoft.com/office/drawing/2014/main" id="{C8B27250-75E6-9243-9915-85D4522FEE68}"/>
              </a:ext>
            </a:extLst>
          </p:cNvPr>
          <p:cNvSpPr>
            <a:spLocks noGrp="1" noChangeAspect="1"/>
          </p:cNvSpPr>
          <p:nvPr>
            <p:ph type="pic" sz="quarter" idx="4294967295"/>
          </p:nvPr>
        </p:nvSpPr>
        <p:spPr>
          <a:xfrm>
            <a:off x="1003948" y="2134515"/>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10922983"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10922987"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54" name="Content Placeholder 2">
            <a:extLst>
              <a:ext uri="{FF2B5EF4-FFF2-40B4-BE49-F238E27FC236}">
                <a16:creationId xmlns:a16="http://schemas.microsoft.com/office/drawing/2014/main" id="{AF906C51-C6DC-3F40-87B9-5DEB9C122516}"/>
              </a:ext>
            </a:extLst>
          </p:cNvPr>
          <p:cNvSpPr>
            <a:spLocks noGrp="1"/>
          </p:cNvSpPr>
          <p:nvPr>
            <p:ph idx="1" hasCustomPrompt="1"/>
          </p:nvPr>
        </p:nvSpPr>
        <p:spPr>
          <a:xfrm>
            <a:off x="648142"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6" name="Content Placeholder 2">
            <a:extLst>
              <a:ext uri="{FF2B5EF4-FFF2-40B4-BE49-F238E27FC236}">
                <a16:creationId xmlns:a16="http://schemas.microsoft.com/office/drawing/2014/main" id="{214F2940-0470-FC4F-93C4-B02EBF6B2397}"/>
              </a:ext>
            </a:extLst>
          </p:cNvPr>
          <p:cNvSpPr>
            <a:spLocks noGrp="1"/>
          </p:cNvSpPr>
          <p:nvPr>
            <p:ph idx="36" hasCustomPrompt="1"/>
          </p:nvPr>
        </p:nvSpPr>
        <p:spPr>
          <a:xfrm>
            <a:off x="3497477"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58" name="Content Placeholder 2">
            <a:extLst>
              <a:ext uri="{FF2B5EF4-FFF2-40B4-BE49-F238E27FC236}">
                <a16:creationId xmlns:a16="http://schemas.microsoft.com/office/drawing/2014/main" id="{D8AD99B1-B447-0346-BED0-F41094538201}"/>
              </a:ext>
            </a:extLst>
          </p:cNvPr>
          <p:cNvSpPr>
            <a:spLocks noGrp="1"/>
          </p:cNvSpPr>
          <p:nvPr>
            <p:ph idx="38" hasCustomPrompt="1"/>
          </p:nvPr>
        </p:nvSpPr>
        <p:spPr>
          <a:xfrm>
            <a:off x="6338649"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60" name="Content Placeholder 2">
            <a:extLst>
              <a:ext uri="{FF2B5EF4-FFF2-40B4-BE49-F238E27FC236}">
                <a16:creationId xmlns:a16="http://schemas.microsoft.com/office/drawing/2014/main" id="{3008B580-40C3-BC45-A408-E688E157CA0F}"/>
              </a:ext>
            </a:extLst>
          </p:cNvPr>
          <p:cNvSpPr>
            <a:spLocks noGrp="1"/>
          </p:cNvSpPr>
          <p:nvPr>
            <p:ph idx="40" hasCustomPrompt="1"/>
          </p:nvPr>
        </p:nvSpPr>
        <p:spPr>
          <a:xfrm>
            <a:off x="9187984" y="4266237"/>
            <a:ext cx="2358000" cy="1575763"/>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61" name="Text Placeholder 19">
            <a:extLst>
              <a:ext uri="{FF2B5EF4-FFF2-40B4-BE49-F238E27FC236}">
                <a16:creationId xmlns:a16="http://schemas.microsoft.com/office/drawing/2014/main" id="{CDA7A999-5851-8742-A7A9-C3476D639699}"/>
              </a:ext>
            </a:extLst>
          </p:cNvPr>
          <p:cNvSpPr>
            <a:spLocks noGrp="1"/>
          </p:cNvSpPr>
          <p:nvPr>
            <p:ph type="body" sz="quarter" idx="26" hasCustomPrompt="1"/>
          </p:nvPr>
        </p:nvSpPr>
        <p:spPr>
          <a:xfrm>
            <a:off x="649100"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2" name="Text Placeholder 19">
            <a:extLst>
              <a:ext uri="{FF2B5EF4-FFF2-40B4-BE49-F238E27FC236}">
                <a16:creationId xmlns:a16="http://schemas.microsoft.com/office/drawing/2014/main" id="{DEABDEED-C306-5644-87C1-75DB5665031A}"/>
              </a:ext>
            </a:extLst>
          </p:cNvPr>
          <p:cNvSpPr>
            <a:spLocks noGrp="1"/>
          </p:cNvSpPr>
          <p:nvPr>
            <p:ph type="body" sz="quarter" idx="41" hasCustomPrompt="1"/>
          </p:nvPr>
        </p:nvSpPr>
        <p:spPr>
          <a:xfrm>
            <a:off x="3495667"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3" name="Text Placeholder 19">
            <a:extLst>
              <a:ext uri="{FF2B5EF4-FFF2-40B4-BE49-F238E27FC236}">
                <a16:creationId xmlns:a16="http://schemas.microsoft.com/office/drawing/2014/main" id="{E857B253-9278-5A41-B709-168AF868566E}"/>
              </a:ext>
            </a:extLst>
          </p:cNvPr>
          <p:cNvSpPr>
            <a:spLocks noGrp="1"/>
          </p:cNvSpPr>
          <p:nvPr>
            <p:ph type="body" sz="quarter" idx="42" hasCustomPrompt="1"/>
          </p:nvPr>
        </p:nvSpPr>
        <p:spPr>
          <a:xfrm>
            <a:off x="6342234"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4" name="Text Placeholder 19">
            <a:extLst>
              <a:ext uri="{FF2B5EF4-FFF2-40B4-BE49-F238E27FC236}">
                <a16:creationId xmlns:a16="http://schemas.microsoft.com/office/drawing/2014/main" id="{907C3038-298B-0B42-AA2F-7B33BF529724}"/>
              </a:ext>
            </a:extLst>
          </p:cNvPr>
          <p:cNvSpPr>
            <a:spLocks noGrp="1"/>
          </p:cNvSpPr>
          <p:nvPr>
            <p:ph type="body" sz="quarter" idx="43" hasCustomPrompt="1"/>
          </p:nvPr>
        </p:nvSpPr>
        <p:spPr>
          <a:xfrm>
            <a:off x="9188801" y="3631723"/>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67" name="Picture Placeholder 93">
            <a:extLst>
              <a:ext uri="{FF2B5EF4-FFF2-40B4-BE49-F238E27FC236}">
                <a16:creationId xmlns:a16="http://schemas.microsoft.com/office/drawing/2014/main" id="{E792C213-9B27-1148-BC62-B45CA676A5B2}"/>
              </a:ext>
            </a:extLst>
          </p:cNvPr>
          <p:cNvSpPr>
            <a:spLocks noGrp="1" noChangeAspect="1"/>
          </p:cNvSpPr>
          <p:nvPr>
            <p:ph type="pic" sz="quarter" idx="4294967295"/>
          </p:nvPr>
        </p:nvSpPr>
        <p:spPr>
          <a:xfrm>
            <a:off x="9631112" y="2134515"/>
            <a:ext cx="1490997" cy="1494032"/>
          </a:xfrm>
          <a:prstGeom prst="ellipse">
            <a:avLst/>
          </a:prstGeom>
          <a:solidFill>
            <a:srgbClr val="9BCAEC"/>
          </a:solidFill>
        </p:spPr>
      </p:sp>
      <p:sp>
        <p:nvSpPr>
          <p:cNvPr id="68" name="Picture Placeholder 93">
            <a:extLst>
              <a:ext uri="{FF2B5EF4-FFF2-40B4-BE49-F238E27FC236}">
                <a16:creationId xmlns:a16="http://schemas.microsoft.com/office/drawing/2014/main" id="{971F4B52-1AC2-1A46-BFB9-EFBE55019CFB}"/>
              </a:ext>
            </a:extLst>
          </p:cNvPr>
          <p:cNvSpPr>
            <a:spLocks noGrp="1" noChangeAspect="1"/>
          </p:cNvSpPr>
          <p:nvPr>
            <p:ph type="pic" sz="quarter" idx="4294967295"/>
          </p:nvPr>
        </p:nvSpPr>
        <p:spPr>
          <a:xfrm>
            <a:off x="6776594" y="2134515"/>
            <a:ext cx="1490997" cy="1494032"/>
          </a:xfrm>
          <a:prstGeom prst="ellipse">
            <a:avLst/>
          </a:prstGeom>
          <a:solidFill>
            <a:srgbClr val="9BCAEC"/>
          </a:solidFill>
        </p:spPr>
      </p:sp>
    </p:spTree>
    <p:extLst>
      <p:ext uri="{BB962C8B-B14F-4D97-AF65-F5344CB8AC3E}">
        <p14:creationId xmlns:p14="http://schemas.microsoft.com/office/powerpoint/2010/main" val="200270354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Icon/Imagery Listing: 4Points">
    <p:spTree>
      <p:nvGrpSpPr>
        <p:cNvPr id="1" name=""/>
        <p:cNvGrpSpPr/>
        <p:nvPr/>
      </p:nvGrpSpPr>
      <p:grpSpPr>
        <a:xfrm>
          <a:off x="0" y="0"/>
          <a:ext cx="0" cy="0"/>
          <a:chOff x="0" y="0"/>
          <a:chExt cx="0" cy="0"/>
        </a:xfrm>
      </p:grpSpPr>
      <p:sp>
        <p:nvSpPr>
          <p:cNvPr id="27" name="Picture Placeholder 93">
            <a:extLst>
              <a:ext uri="{FF2B5EF4-FFF2-40B4-BE49-F238E27FC236}">
                <a16:creationId xmlns:a16="http://schemas.microsoft.com/office/drawing/2014/main" id="{088304DB-1861-404E-82CA-739F8435799F}"/>
              </a:ext>
            </a:extLst>
          </p:cNvPr>
          <p:cNvSpPr>
            <a:spLocks noGrp="1" noChangeAspect="1"/>
          </p:cNvSpPr>
          <p:nvPr>
            <p:ph type="pic" sz="quarter" idx="4294967295"/>
          </p:nvPr>
        </p:nvSpPr>
        <p:spPr>
          <a:xfrm>
            <a:off x="3922076" y="1880036"/>
            <a:ext cx="1490997" cy="1494032"/>
          </a:xfrm>
          <a:prstGeom prst="ellipse">
            <a:avLst/>
          </a:prstGeom>
          <a:solidFill>
            <a:srgbClr val="9BCAEC"/>
          </a:solidFill>
        </p:spPr>
      </p:sp>
      <p:sp>
        <p:nvSpPr>
          <p:cNvPr id="28" name="Picture Placeholder 93">
            <a:extLst>
              <a:ext uri="{FF2B5EF4-FFF2-40B4-BE49-F238E27FC236}">
                <a16:creationId xmlns:a16="http://schemas.microsoft.com/office/drawing/2014/main" id="{6263F53F-2A95-F545-B511-19169FB75975}"/>
              </a:ext>
            </a:extLst>
          </p:cNvPr>
          <p:cNvSpPr>
            <a:spLocks noGrp="1" noChangeAspect="1"/>
          </p:cNvSpPr>
          <p:nvPr>
            <p:ph type="pic" sz="quarter" idx="4294967295"/>
          </p:nvPr>
        </p:nvSpPr>
        <p:spPr>
          <a:xfrm>
            <a:off x="1003948" y="1880036"/>
            <a:ext cx="1490997" cy="1494032"/>
          </a:xfrm>
          <a:prstGeom prst="ellipse">
            <a:avLst/>
          </a:prstGeom>
          <a:solidFill>
            <a:srgbClr val="9BCAEC"/>
          </a:solidFill>
        </p:spPr>
      </p:sp>
      <p:sp>
        <p:nvSpPr>
          <p:cNvPr id="29" name="Picture Placeholder 93">
            <a:extLst>
              <a:ext uri="{FF2B5EF4-FFF2-40B4-BE49-F238E27FC236}">
                <a16:creationId xmlns:a16="http://schemas.microsoft.com/office/drawing/2014/main" id="{1666506C-C311-7A4B-8EBA-B7A74E13F914}"/>
              </a:ext>
            </a:extLst>
          </p:cNvPr>
          <p:cNvSpPr>
            <a:spLocks noGrp="1" noChangeAspect="1"/>
          </p:cNvSpPr>
          <p:nvPr>
            <p:ph type="pic" sz="quarter" idx="4294967295"/>
          </p:nvPr>
        </p:nvSpPr>
        <p:spPr>
          <a:xfrm>
            <a:off x="9631112" y="1880036"/>
            <a:ext cx="1490997" cy="1494032"/>
          </a:xfrm>
          <a:prstGeom prst="ellipse">
            <a:avLst/>
          </a:prstGeom>
          <a:solidFill>
            <a:srgbClr val="9BCAEC"/>
          </a:solidFill>
        </p:spPr>
      </p:sp>
      <p:sp>
        <p:nvSpPr>
          <p:cNvPr id="30" name="Picture Placeholder 93">
            <a:extLst>
              <a:ext uri="{FF2B5EF4-FFF2-40B4-BE49-F238E27FC236}">
                <a16:creationId xmlns:a16="http://schemas.microsoft.com/office/drawing/2014/main" id="{9DD4F94E-D814-ED47-B5D6-287197D169D3}"/>
              </a:ext>
            </a:extLst>
          </p:cNvPr>
          <p:cNvSpPr>
            <a:spLocks noGrp="1" noChangeAspect="1"/>
          </p:cNvSpPr>
          <p:nvPr>
            <p:ph type="pic" sz="quarter" idx="4294967295"/>
          </p:nvPr>
        </p:nvSpPr>
        <p:spPr>
          <a:xfrm>
            <a:off x="6776594" y="1880036"/>
            <a:ext cx="1490997" cy="1494032"/>
          </a:xfrm>
          <a:prstGeom prst="ellipse">
            <a:avLst/>
          </a:prstGeom>
          <a:solidFill>
            <a:srgbClr val="9BCAEC"/>
          </a:solidFill>
        </p:spPr>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26" name="Title 1">
            <a:extLst>
              <a:ext uri="{FF2B5EF4-FFF2-40B4-BE49-F238E27FC236}">
                <a16:creationId xmlns:a16="http://schemas.microsoft.com/office/drawing/2014/main" id="{866DB16C-3E98-2C4A-81BD-C5610057A08A}"/>
              </a:ext>
            </a:extLst>
          </p:cNvPr>
          <p:cNvSpPr>
            <a:spLocks noGrp="1"/>
          </p:cNvSpPr>
          <p:nvPr>
            <p:ph type="title"/>
          </p:nvPr>
        </p:nvSpPr>
        <p:spPr>
          <a:xfrm>
            <a:off x="617693" y="688454"/>
            <a:ext cx="10950419"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Click to edit Master title style</a:t>
            </a:r>
          </a:p>
        </p:txBody>
      </p:sp>
      <p:sp>
        <p:nvSpPr>
          <p:cNvPr id="31" name="Content Placeholder 2">
            <a:extLst>
              <a:ext uri="{FF2B5EF4-FFF2-40B4-BE49-F238E27FC236}">
                <a16:creationId xmlns:a16="http://schemas.microsoft.com/office/drawing/2014/main" id="{BCADDA8D-FC6F-3B42-B632-B8DAC21DD735}"/>
              </a:ext>
            </a:extLst>
          </p:cNvPr>
          <p:cNvSpPr>
            <a:spLocks noGrp="1"/>
          </p:cNvSpPr>
          <p:nvPr>
            <p:ph idx="1" hasCustomPrompt="1"/>
          </p:nvPr>
        </p:nvSpPr>
        <p:spPr>
          <a:xfrm>
            <a:off x="648142"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2" name="Content Placeholder 2">
            <a:extLst>
              <a:ext uri="{FF2B5EF4-FFF2-40B4-BE49-F238E27FC236}">
                <a16:creationId xmlns:a16="http://schemas.microsoft.com/office/drawing/2014/main" id="{DEB7050D-6639-7A44-B787-8EAC96041B53}"/>
              </a:ext>
            </a:extLst>
          </p:cNvPr>
          <p:cNvSpPr>
            <a:spLocks noGrp="1"/>
          </p:cNvSpPr>
          <p:nvPr>
            <p:ph idx="36" hasCustomPrompt="1"/>
          </p:nvPr>
        </p:nvSpPr>
        <p:spPr>
          <a:xfrm>
            <a:off x="3497477"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3" name="Content Placeholder 2">
            <a:extLst>
              <a:ext uri="{FF2B5EF4-FFF2-40B4-BE49-F238E27FC236}">
                <a16:creationId xmlns:a16="http://schemas.microsoft.com/office/drawing/2014/main" id="{3411E307-6FA1-F148-9FEB-C53BB07FF815}"/>
              </a:ext>
            </a:extLst>
          </p:cNvPr>
          <p:cNvSpPr>
            <a:spLocks noGrp="1"/>
          </p:cNvSpPr>
          <p:nvPr>
            <p:ph idx="38" hasCustomPrompt="1"/>
          </p:nvPr>
        </p:nvSpPr>
        <p:spPr>
          <a:xfrm>
            <a:off x="6338649"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4" name="Content Placeholder 2">
            <a:extLst>
              <a:ext uri="{FF2B5EF4-FFF2-40B4-BE49-F238E27FC236}">
                <a16:creationId xmlns:a16="http://schemas.microsoft.com/office/drawing/2014/main" id="{65B63584-0AE9-D545-83CC-5AC06C5AE327}"/>
              </a:ext>
            </a:extLst>
          </p:cNvPr>
          <p:cNvSpPr>
            <a:spLocks noGrp="1"/>
          </p:cNvSpPr>
          <p:nvPr>
            <p:ph idx="40" hasCustomPrompt="1"/>
          </p:nvPr>
        </p:nvSpPr>
        <p:spPr>
          <a:xfrm>
            <a:off x="9187984" y="4001372"/>
            <a:ext cx="2358000" cy="1840628"/>
          </a:xfrm>
          <a:prstGeom prst="rect">
            <a:avLst/>
          </a:prstGeom>
        </p:spPr>
        <p:txBody>
          <a:bodyPr/>
          <a:lstStyle>
            <a:lvl1pPr marL="228600" indent="-228600">
              <a:lnSpc>
                <a:spcPct val="100000"/>
              </a:lnSpc>
              <a:buSzPct val="70000"/>
              <a:buFont typeface="Symbol" pitchFamily="2" charset="2"/>
              <a:buChar char="-"/>
              <a:defRPr sz="165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1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14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Master text styles</a:t>
            </a:r>
          </a:p>
          <a:p>
            <a:pPr lvl="1"/>
            <a:r>
              <a:rPr lang="en-US"/>
              <a:t>Second level</a:t>
            </a:r>
          </a:p>
        </p:txBody>
      </p:sp>
      <p:sp>
        <p:nvSpPr>
          <p:cNvPr id="35" name="Text Placeholder 19">
            <a:extLst>
              <a:ext uri="{FF2B5EF4-FFF2-40B4-BE49-F238E27FC236}">
                <a16:creationId xmlns:a16="http://schemas.microsoft.com/office/drawing/2014/main" id="{C94D6155-B139-474A-A582-37AE9793FB09}"/>
              </a:ext>
            </a:extLst>
          </p:cNvPr>
          <p:cNvSpPr>
            <a:spLocks noGrp="1"/>
          </p:cNvSpPr>
          <p:nvPr>
            <p:ph type="body" sz="quarter" idx="26" hasCustomPrompt="1"/>
          </p:nvPr>
        </p:nvSpPr>
        <p:spPr>
          <a:xfrm>
            <a:off x="649100"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6" name="Text Placeholder 19">
            <a:extLst>
              <a:ext uri="{FF2B5EF4-FFF2-40B4-BE49-F238E27FC236}">
                <a16:creationId xmlns:a16="http://schemas.microsoft.com/office/drawing/2014/main" id="{2E1F09EB-E83E-F748-99C8-81CFF53D8F88}"/>
              </a:ext>
            </a:extLst>
          </p:cNvPr>
          <p:cNvSpPr>
            <a:spLocks noGrp="1"/>
          </p:cNvSpPr>
          <p:nvPr>
            <p:ph type="body" sz="quarter" idx="41" hasCustomPrompt="1"/>
          </p:nvPr>
        </p:nvSpPr>
        <p:spPr>
          <a:xfrm>
            <a:off x="3495667"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37" name="Text Placeholder 19">
            <a:extLst>
              <a:ext uri="{FF2B5EF4-FFF2-40B4-BE49-F238E27FC236}">
                <a16:creationId xmlns:a16="http://schemas.microsoft.com/office/drawing/2014/main" id="{48D96706-6D4D-A94C-9B0F-138374B02D6C}"/>
              </a:ext>
            </a:extLst>
          </p:cNvPr>
          <p:cNvSpPr>
            <a:spLocks noGrp="1"/>
          </p:cNvSpPr>
          <p:nvPr>
            <p:ph type="body" sz="quarter" idx="42" hasCustomPrompt="1"/>
          </p:nvPr>
        </p:nvSpPr>
        <p:spPr>
          <a:xfrm>
            <a:off x="6342234"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
        <p:nvSpPr>
          <p:cNvPr id="53" name="Text Placeholder 19">
            <a:extLst>
              <a:ext uri="{FF2B5EF4-FFF2-40B4-BE49-F238E27FC236}">
                <a16:creationId xmlns:a16="http://schemas.microsoft.com/office/drawing/2014/main" id="{78CEDEFE-B08B-8043-82D1-02A9A908458A}"/>
              </a:ext>
            </a:extLst>
          </p:cNvPr>
          <p:cNvSpPr>
            <a:spLocks noGrp="1"/>
          </p:cNvSpPr>
          <p:nvPr>
            <p:ph type="body" sz="quarter" idx="43" hasCustomPrompt="1"/>
          </p:nvPr>
        </p:nvSpPr>
        <p:spPr>
          <a:xfrm>
            <a:off x="9188801" y="3366858"/>
            <a:ext cx="2357553" cy="581258"/>
          </a:xfrm>
          <a:prstGeom prst="rect">
            <a:avLst/>
          </a:prstGeom>
        </p:spPr>
        <p:txBody>
          <a:bodyPr anchor="b">
            <a:noAutofit/>
          </a:bodyPr>
          <a:lstStyle>
            <a:lvl1pPr marL="0" indent="0">
              <a:lnSpc>
                <a:spcPct val="100000"/>
              </a:lnSpc>
              <a:buNone/>
              <a:defRPr sz="1800" b="0" i="0">
                <a:solidFill>
                  <a:srgbClr val="9BCAEC"/>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Header</a:t>
            </a:r>
          </a:p>
        </p:txBody>
      </p:sp>
    </p:spTree>
    <p:extLst>
      <p:ext uri="{BB962C8B-B14F-4D97-AF65-F5344CB8AC3E}">
        <p14:creationId xmlns:p14="http://schemas.microsoft.com/office/powerpoint/2010/main" val="334176360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guide id="4" orient="horz" pos="36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Sub, 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17695"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17693"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17694"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45972412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Text and Im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107151"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3" name="Content Placeholder 2">
            <a:extLst>
              <a:ext uri="{FF2B5EF4-FFF2-40B4-BE49-F238E27FC236}">
                <a16:creationId xmlns:a16="http://schemas.microsoft.com/office/drawing/2014/main" id="{179E887B-5F60-4B41-BADB-DC479D13F9ED}"/>
              </a:ext>
            </a:extLst>
          </p:cNvPr>
          <p:cNvSpPr>
            <a:spLocks noGrp="1"/>
          </p:cNvSpPr>
          <p:nvPr>
            <p:ph idx="22" hasCustomPrompt="1"/>
          </p:nvPr>
        </p:nvSpPr>
        <p:spPr>
          <a:xfrm>
            <a:off x="617693"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
        <p:nvSpPr>
          <p:cNvPr id="15" name="Title 1">
            <a:extLst>
              <a:ext uri="{FF2B5EF4-FFF2-40B4-BE49-F238E27FC236}">
                <a16:creationId xmlns:a16="http://schemas.microsoft.com/office/drawing/2014/main" id="{0FAC615D-FBA5-2C4A-A177-4A1754D01052}"/>
              </a:ext>
            </a:extLst>
          </p:cNvPr>
          <p:cNvSpPr>
            <a:spLocks noGrp="1"/>
          </p:cNvSpPr>
          <p:nvPr>
            <p:ph type="title" hasCustomPrompt="1"/>
          </p:nvPr>
        </p:nvSpPr>
        <p:spPr>
          <a:xfrm>
            <a:off x="617693" y="688454"/>
            <a:ext cx="4899601" cy="1198790"/>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Tree>
    <p:extLst>
      <p:ext uri="{BB962C8B-B14F-4D97-AF65-F5344CB8AC3E}">
        <p14:creationId xmlns:p14="http://schemas.microsoft.com/office/powerpoint/2010/main" val="344979729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86813193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Image/Photo, Title, Sub an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2" name="Title 1"/>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630570" y="1100176"/>
            <a:ext cx="5472000" cy="4741824"/>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3" name="Content Placeholder 2">
            <a:extLst>
              <a:ext uri="{FF2B5EF4-FFF2-40B4-BE49-F238E27FC236}">
                <a16:creationId xmlns:a16="http://schemas.microsoft.com/office/drawing/2014/main" id="{46BC3ACF-93AA-6443-BFB5-777AF4794F42}"/>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Tree>
    <p:extLst>
      <p:ext uri="{BB962C8B-B14F-4D97-AF65-F5344CB8AC3E}">
        <p14:creationId xmlns:p14="http://schemas.microsoft.com/office/powerpoint/2010/main" val="280633097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14" name="Text Placeholder 19">
            <a:extLst>
              <a:ext uri="{FF2B5EF4-FFF2-40B4-BE49-F238E27FC236}">
                <a16:creationId xmlns:a16="http://schemas.microsoft.com/office/drawing/2014/main" id="{B84533DE-0CE8-3340-A96E-F7B0F2FFEE05}"/>
              </a:ext>
            </a:extLst>
          </p:cNvPr>
          <p:cNvSpPr>
            <a:spLocks noGrp="1"/>
          </p:cNvSpPr>
          <p:nvPr>
            <p:ph type="body" sz="quarter" idx="13" hasCustomPrompt="1"/>
          </p:nvPr>
        </p:nvSpPr>
        <p:spPr>
          <a:xfrm>
            <a:off x="6679552" y="1416283"/>
            <a:ext cx="4899599" cy="300087"/>
          </a:xfrm>
          <a:prstGeom prst="rect">
            <a:avLst/>
          </a:prstGeom>
        </p:spPr>
        <p:txBody>
          <a:bodyPr>
            <a:noAutofit/>
          </a:bodyPr>
          <a:lstStyle>
            <a:lvl1pPr marL="0" indent="0">
              <a:lnSpc>
                <a:spcPct val="100000"/>
              </a:lnSpc>
              <a:buNone/>
              <a:defRPr sz="1800" b="0" i="0">
                <a:solidFill>
                  <a:srgbClr val="00A9E0"/>
                </a:solidFill>
                <a:latin typeface="Gibson Light" panose="02000000000000000000" pitchFamily="2" charset="77"/>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de-DE" noProof="0"/>
              <a:t>Click </a:t>
            </a:r>
            <a:r>
              <a:rPr lang="de-DE" noProof="0" err="1"/>
              <a:t>to</a:t>
            </a:r>
            <a:r>
              <a:rPr lang="de-DE" noProof="0"/>
              <a:t> </a:t>
            </a:r>
            <a:r>
              <a:rPr lang="de-DE" noProof="0" err="1"/>
              <a:t>edit</a:t>
            </a:r>
            <a:r>
              <a:rPr lang="de-DE" noProof="0"/>
              <a:t> Sub-title</a:t>
            </a:r>
          </a:p>
        </p:txBody>
      </p:sp>
      <p:sp>
        <p:nvSpPr>
          <p:cNvPr id="2" name="Title 1"/>
          <p:cNvSpPr>
            <a:spLocks noGrp="1"/>
          </p:cNvSpPr>
          <p:nvPr>
            <p:ph type="title"/>
          </p:nvPr>
        </p:nvSpPr>
        <p:spPr>
          <a:xfrm>
            <a:off x="6679550" y="594811"/>
            <a:ext cx="4899601" cy="1325563"/>
          </a:xfrm>
          <a:prstGeom prst="rect">
            <a:avLst/>
          </a:prstGeom>
        </p:spPr>
        <p:txBody>
          <a:bodyPr>
            <a:normAutofit/>
          </a:bodyPr>
          <a:lstStyle>
            <a:lvl1pPr>
              <a:defRPr sz="3300" b="0" i="0">
                <a:solidFill>
                  <a:srgbClr val="005EB8"/>
                </a:solidFill>
                <a:latin typeface="Gibson Light" panose="02000000000000000000" pitchFamily="2" charset="77"/>
              </a:defRPr>
            </a:lvl1pPr>
          </a:lstStyle>
          <a:p>
            <a:r>
              <a:rPr lang="en-US"/>
              <a:t>Click to edit Master title</a:t>
            </a:r>
          </a:p>
        </p:txBody>
      </p:sp>
      <p:sp>
        <p:nvSpPr>
          <p:cNvPr id="3" name="Content Placeholder 2"/>
          <p:cNvSpPr>
            <a:spLocks noGrp="1"/>
          </p:cNvSpPr>
          <p:nvPr>
            <p:ph idx="1" hasCustomPrompt="1"/>
          </p:nvPr>
        </p:nvSpPr>
        <p:spPr>
          <a:xfrm>
            <a:off x="6679551" y="2154358"/>
            <a:ext cx="4899600" cy="3687642"/>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level</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Tree>
    <p:extLst>
      <p:ext uri="{BB962C8B-B14F-4D97-AF65-F5344CB8AC3E}">
        <p14:creationId xmlns:p14="http://schemas.microsoft.com/office/powerpoint/2010/main" val="39926105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FullBleed Photo/Image, Title, Sub and text">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30AE1BD-05D1-9D41-8A8E-0BAB169E1E31}"/>
              </a:ext>
            </a:extLst>
          </p:cNvPr>
          <p:cNvSpPr>
            <a:spLocks noGrp="1"/>
          </p:cNvSpPr>
          <p:nvPr>
            <p:ph type="pic" sz="quarter" idx="20" hasCustomPrompt="1"/>
          </p:nvPr>
        </p:nvSpPr>
        <p:spPr>
          <a:xfrm>
            <a:off x="0" y="0"/>
            <a:ext cx="6102570" cy="6858000"/>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5" name="Footer Placeholder 4"/>
          <p:cNvSpPr>
            <a:spLocks noGrp="1"/>
          </p:cNvSpPr>
          <p:nvPr>
            <p:ph type="ftr" sz="quarter" idx="11"/>
          </p:nvPr>
        </p:nvSpPr>
        <p:spPr>
          <a:xfrm>
            <a:off x="608268" y="6134727"/>
            <a:ext cx="4114800" cy="365125"/>
          </a:xfrm>
          <a:prstGeom prst="rect">
            <a:avLst/>
          </a:prstGeom>
        </p:spPr>
        <p:txBody>
          <a:bodyPr/>
          <a:lstStyle>
            <a:lvl1pPr algn="l">
              <a:defRPr sz="1000" b="0" i="0">
                <a:solidFill>
                  <a:srgbClr val="005EB8"/>
                </a:solidFill>
                <a:latin typeface="Gibson Light" panose="02000000000000000000" pitchFamily="2" charset="77"/>
              </a:defRPr>
            </a:lvl1pPr>
          </a:lstStyle>
          <a:p>
            <a:r>
              <a:rPr lang="en-US"/>
              <a:t>Footer  I  Credits  I  Links</a:t>
            </a:r>
          </a:p>
        </p:txBody>
      </p:sp>
      <p:sp>
        <p:nvSpPr>
          <p:cNvPr id="7" name="Slide Number Placeholder 6">
            <a:extLst>
              <a:ext uri="{FF2B5EF4-FFF2-40B4-BE49-F238E27FC236}">
                <a16:creationId xmlns:a16="http://schemas.microsoft.com/office/drawing/2014/main" id="{C3833145-6620-C743-9309-9D2B0EA72771}"/>
              </a:ext>
            </a:extLst>
          </p:cNvPr>
          <p:cNvSpPr txBox="1">
            <a:spLocks/>
          </p:cNvSpPr>
          <p:nvPr userDrawn="1"/>
        </p:nvSpPr>
        <p:spPr>
          <a:xfrm>
            <a:off x="8924659" y="6174037"/>
            <a:ext cx="2743200" cy="18736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BD6A53-2941-5D4C-B81F-FE91A07200C0}" type="slidenum">
              <a:rPr lang="en-US" sz="1000" smtClean="0">
                <a:solidFill>
                  <a:srgbClr val="005EB8"/>
                </a:solidFill>
                <a:latin typeface="Gibson" charset="0"/>
                <a:ea typeface="Gibson" charset="0"/>
                <a:cs typeface="Gibson" charset="0"/>
              </a:rPr>
              <a:pPr/>
              <a:t>‹#›</a:t>
            </a:fld>
            <a:endParaRPr lang="en-US" sz="1000">
              <a:solidFill>
                <a:srgbClr val="005EB8"/>
              </a:solidFill>
              <a:latin typeface="Gibson" charset="0"/>
              <a:ea typeface="Gibson" charset="0"/>
              <a:cs typeface="Gibson" charset="0"/>
            </a:endParaRPr>
          </a:p>
        </p:txBody>
      </p:sp>
      <p:pic>
        <p:nvPicPr>
          <p:cNvPr id="8" name="Picture 7">
            <a:extLst>
              <a:ext uri="{FF2B5EF4-FFF2-40B4-BE49-F238E27FC236}">
                <a16:creationId xmlns:a16="http://schemas.microsoft.com/office/drawing/2014/main" id="{4F7431E1-066C-C94E-A8DA-A5B8283C9F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2217" y="6197600"/>
            <a:ext cx="735210" cy="133446"/>
          </a:xfrm>
          <a:prstGeom prst="rect">
            <a:avLst/>
          </a:prstGeom>
        </p:spPr>
      </p:pic>
      <p:cxnSp>
        <p:nvCxnSpPr>
          <p:cNvPr id="9" name="Straight Connector 8">
            <a:extLst>
              <a:ext uri="{FF2B5EF4-FFF2-40B4-BE49-F238E27FC236}">
                <a16:creationId xmlns:a16="http://schemas.microsoft.com/office/drawing/2014/main" id="{6B88F192-B200-CA4D-97BB-943BDF7F2BB8}"/>
              </a:ext>
            </a:extLst>
          </p:cNvPr>
          <p:cNvCxnSpPr/>
          <p:nvPr userDrawn="1"/>
        </p:nvCxnSpPr>
        <p:spPr>
          <a:xfrm>
            <a:off x="11332477" y="6222731"/>
            <a:ext cx="0" cy="100800"/>
          </a:xfrm>
          <a:prstGeom prst="line">
            <a:avLst/>
          </a:prstGeom>
          <a:ln>
            <a:solidFill>
              <a:srgbClr val="005EB8"/>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171E256B-6234-8049-930F-A7CE27E4E59B}"/>
              </a:ext>
            </a:extLst>
          </p:cNvPr>
          <p:cNvSpPr>
            <a:spLocks noGrp="1"/>
          </p:cNvSpPr>
          <p:nvPr>
            <p:ph type="body" sz="quarter" idx="21" hasCustomPrompt="1"/>
          </p:nvPr>
        </p:nvSpPr>
        <p:spPr>
          <a:xfrm>
            <a:off x="5947335" y="496148"/>
            <a:ext cx="5717599" cy="201873"/>
          </a:xfrm>
          <a:prstGeom prst="rect">
            <a:avLst/>
          </a:prstGeom>
        </p:spPr>
        <p:txBody>
          <a:bodyPr>
            <a:noAutofit/>
          </a:bodyPr>
          <a:lstStyle>
            <a:lvl1pPr marL="0" indent="0" algn="r">
              <a:buNone/>
              <a:defRPr sz="1000" b="0" i="0">
                <a:solidFill>
                  <a:srgbClr val="787875"/>
                </a:solidFill>
                <a:latin typeface="Gibson Light" panose="02000000000000000000" pitchFamily="2" charset="77"/>
              </a:defRPr>
            </a:lvl1pPr>
          </a:lstStyle>
          <a:p>
            <a:r>
              <a:rPr lang="de-DE" err="1"/>
              <a:t>Strap</a:t>
            </a:r>
            <a:endParaRPr lang="de-DE"/>
          </a:p>
        </p:txBody>
      </p:sp>
      <p:sp>
        <p:nvSpPr>
          <p:cNvPr id="13" name="Title 1">
            <a:extLst>
              <a:ext uri="{FF2B5EF4-FFF2-40B4-BE49-F238E27FC236}">
                <a16:creationId xmlns:a16="http://schemas.microsoft.com/office/drawing/2014/main" id="{FE94CB47-5B0E-6F48-ADD5-FAC44662AA1D}"/>
              </a:ext>
            </a:extLst>
          </p:cNvPr>
          <p:cNvSpPr>
            <a:spLocks noGrp="1"/>
          </p:cNvSpPr>
          <p:nvPr>
            <p:ph type="title" hasCustomPrompt="1"/>
          </p:nvPr>
        </p:nvSpPr>
        <p:spPr>
          <a:xfrm>
            <a:off x="6679550" y="628264"/>
            <a:ext cx="4899601" cy="1325563"/>
          </a:xfrm>
          <a:prstGeom prst="rect">
            <a:avLst/>
          </a:prstGeom>
        </p:spPr>
        <p:txBody>
          <a:bodyPr>
            <a:normAutofit/>
          </a:bodyPr>
          <a:lstStyle>
            <a:lvl1pPr>
              <a:defRPr sz="4200" b="0" i="0">
                <a:solidFill>
                  <a:srgbClr val="005EB8"/>
                </a:solidFill>
                <a:latin typeface="Gibson Light" panose="02000000000000000000" pitchFamily="2" charset="77"/>
              </a:defRPr>
            </a:lvl1pPr>
          </a:lstStyle>
          <a:p>
            <a:r>
              <a:rPr lang="en-US"/>
              <a:t>Master title style</a:t>
            </a:r>
          </a:p>
        </p:txBody>
      </p:sp>
      <p:sp>
        <p:nvSpPr>
          <p:cNvPr id="15" name="Content Placeholder 2">
            <a:extLst>
              <a:ext uri="{FF2B5EF4-FFF2-40B4-BE49-F238E27FC236}">
                <a16:creationId xmlns:a16="http://schemas.microsoft.com/office/drawing/2014/main" id="{ABAD9182-868A-2546-BB2F-FC5B549DD02A}"/>
              </a:ext>
            </a:extLst>
          </p:cNvPr>
          <p:cNvSpPr>
            <a:spLocks noGrp="1"/>
          </p:cNvSpPr>
          <p:nvPr>
            <p:ph idx="22" hasCustomPrompt="1"/>
          </p:nvPr>
        </p:nvSpPr>
        <p:spPr>
          <a:xfrm>
            <a:off x="6679550" y="1908061"/>
            <a:ext cx="4899601" cy="3935755"/>
          </a:xfrm>
          <a:prstGeom prst="rect">
            <a:avLst/>
          </a:prstGeom>
        </p:spPr>
        <p:txBody>
          <a:bodyPr/>
          <a:lstStyle>
            <a:lvl1pPr marL="228600" indent="-228600">
              <a:buSzPct val="70000"/>
              <a:buFont typeface="Symbol" pitchFamily="2" charset="2"/>
              <a:buChar char="-"/>
              <a:defRPr sz="2800" b="0" i="0">
                <a:solidFill>
                  <a:srgbClr val="787875"/>
                </a:solidFill>
                <a:latin typeface="Gibson Light" panose="02000000000000000000" pitchFamily="2" charset="77"/>
              </a:defRPr>
            </a:lvl1pPr>
            <a:lvl2pPr marL="685800" indent="-228600">
              <a:lnSpc>
                <a:spcPct val="100000"/>
              </a:lnSpc>
              <a:buSzPct val="70000"/>
              <a:buFont typeface="Symbol" pitchFamily="2" charset="2"/>
              <a:buChar char="-"/>
              <a:defRPr sz="2400" b="0" i="0">
                <a:solidFill>
                  <a:srgbClr val="787875"/>
                </a:solidFill>
                <a:latin typeface="Gibson Light" panose="02000000000000000000" pitchFamily="2" charset="77"/>
              </a:defRPr>
            </a:lvl2pPr>
            <a:lvl3pPr marL="1143000" indent="-228600">
              <a:lnSpc>
                <a:spcPct val="100000"/>
              </a:lnSpc>
              <a:buSzPct val="70000"/>
              <a:buFont typeface="Symbol" pitchFamily="2" charset="2"/>
              <a:buChar char="-"/>
              <a:defRPr sz="2100" b="0" i="0">
                <a:solidFill>
                  <a:srgbClr val="787875"/>
                </a:solidFill>
                <a:latin typeface="Gibson Light" panose="02000000000000000000" pitchFamily="2" charset="77"/>
              </a:defRPr>
            </a:lvl3pPr>
            <a:lvl4pPr marL="1600200" indent="-228600">
              <a:lnSpc>
                <a:spcPct val="100000"/>
              </a:lnSpc>
              <a:buSzPct val="70000"/>
              <a:buFont typeface="Symbol" pitchFamily="2" charset="2"/>
              <a:buChar char="-"/>
              <a:defRPr b="0" i="0">
                <a:solidFill>
                  <a:srgbClr val="787875"/>
                </a:solidFill>
                <a:latin typeface="Gibson Light" panose="02000000000000000000" pitchFamily="2" charset="77"/>
              </a:defRPr>
            </a:lvl4pPr>
            <a:lvl5pPr marL="2057400" indent="-228600">
              <a:lnSpc>
                <a:spcPct val="100000"/>
              </a:lnSpc>
              <a:buSzPct val="70000"/>
              <a:buFont typeface="Symbol" pitchFamily="2" charset="2"/>
              <a:buChar char="-"/>
              <a:defRPr sz="1400" b="0" i="0">
                <a:solidFill>
                  <a:srgbClr val="787875"/>
                </a:solidFill>
                <a:latin typeface="Gibson Light" panose="02000000000000000000" pitchFamily="2" charset="77"/>
              </a:defRPr>
            </a:lvl5pPr>
          </a:lstStyle>
          <a:p>
            <a:pPr lvl="0"/>
            <a:r>
              <a:rPr lang="en-US"/>
              <a:t>BIGGEST COPY SIZE: Click to edit Master text styles</a:t>
            </a:r>
          </a:p>
          <a:p>
            <a:pPr lvl="1"/>
            <a:r>
              <a:rPr lang="en-US"/>
              <a:t>Second level</a:t>
            </a:r>
          </a:p>
          <a:p>
            <a:pPr lvl="2"/>
            <a:r>
              <a:rPr lang="en-US"/>
              <a:t>Third level</a:t>
            </a:r>
          </a:p>
          <a:p>
            <a:pPr lvl="3"/>
            <a:r>
              <a:rPr lang="en-US"/>
              <a:t>Fourth level</a:t>
            </a:r>
          </a:p>
          <a:p>
            <a:pPr lvl="4"/>
            <a:r>
              <a:rPr lang="en-US"/>
              <a:t>SMALLEST COPY SIZE: Fifth </a:t>
            </a:r>
            <a:r>
              <a:rPr lang="en-US" err="1"/>
              <a:t>levelz</a:t>
            </a:r>
            <a:endParaRPr lang="en-US"/>
          </a:p>
        </p:txBody>
      </p:sp>
    </p:spTree>
    <p:extLst>
      <p:ext uri="{BB962C8B-B14F-4D97-AF65-F5344CB8AC3E}">
        <p14:creationId xmlns:p14="http://schemas.microsoft.com/office/powerpoint/2010/main" val="287310521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68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72.xml"/><Relationship Id="rId18" Type="http://schemas.openxmlformats.org/officeDocument/2006/relationships/slideLayout" Target="../slideLayouts/slideLayout477.xml"/><Relationship Id="rId26" Type="http://schemas.openxmlformats.org/officeDocument/2006/relationships/slideLayout" Target="../slideLayouts/slideLayout485.xml"/><Relationship Id="rId39" Type="http://schemas.openxmlformats.org/officeDocument/2006/relationships/slideLayout" Target="../slideLayouts/slideLayout498.xml"/><Relationship Id="rId21" Type="http://schemas.openxmlformats.org/officeDocument/2006/relationships/slideLayout" Target="../slideLayouts/slideLayout480.xml"/><Relationship Id="rId34" Type="http://schemas.openxmlformats.org/officeDocument/2006/relationships/slideLayout" Target="../slideLayouts/slideLayout493.xml"/><Relationship Id="rId42" Type="http://schemas.openxmlformats.org/officeDocument/2006/relationships/slideLayout" Target="../slideLayouts/slideLayout501.xml"/><Relationship Id="rId47" Type="http://schemas.openxmlformats.org/officeDocument/2006/relationships/slideLayout" Target="../slideLayouts/slideLayout506.xml"/><Relationship Id="rId50" Type="http://schemas.openxmlformats.org/officeDocument/2006/relationships/slideLayout" Target="../slideLayouts/slideLayout509.xml"/><Relationship Id="rId55" Type="http://schemas.openxmlformats.org/officeDocument/2006/relationships/slideLayout" Target="../slideLayouts/slideLayout514.xml"/><Relationship Id="rId7" Type="http://schemas.openxmlformats.org/officeDocument/2006/relationships/slideLayout" Target="../slideLayouts/slideLayout466.xml"/><Relationship Id="rId2" Type="http://schemas.openxmlformats.org/officeDocument/2006/relationships/slideLayout" Target="../slideLayouts/slideLayout461.xml"/><Relationship Id="rId16" Type="http://schemas.openxmlformats.org/officeDocument/2006/relationships/slideLayout" Target="../slideLayouts/slideLayout475.xml"/><Relationship Id="rId29" Type="http://schemas.openxmlformats.org/officeDocument/2006/relationships/slideLayout" Target="../slideLayouts/slideLayout488.xml"/><Relationship Id="rId11" Type="http://schemas.openxmlformats.org/officeDocument/2006/relationships/slideLayout" Target="../slideLayouts/slideLayout470.xml"/><Relationship Id="rId24" Type="http://schemas.openxmlformats.org/officeDocument/2006/relationships/slideLayout" Target="../slideLayouts/slideLayout483.xml"/><Relationship Id="rId32" Type="http://schemas.openxmlformats.org/officeDocument/2006/relationships/slideLayout" Target="../slideLayouts/slideLayout491.xml"/><Relationship Id="rId37" Type="http://schemas.openxmlformats.org/officeDocument/2006/relationships/slideLayout" Target="../slideLayouts/slideLayout496.xml"/><Relationship Id="rId40" Type="http://schemas.openxmlformats.org/officeDocument/2006/relationships/slideLayout" Target="../slideLayouts/slideLayout499.xml"/><Relationship Id="rId45" Type="http://schemas.openxmlformats.org/officeDocument/2006/relationships/slideLayout" Target="../slideLayouts/slideLayout504.xml"/><Relationship Id="rId53" Type="http://schemas.openxmlformats.org/officeDocument/2006/relationships/slideLayout" Target="../slideLayouts/slideLayout512.xml"/><Relationship Id="rId5" Type="http://schemas.openxmlformats.org/officeDocument/2006/relationships/slideLayout" Target="../slideLayouts/slideLayout464.xml"/><Relationship Id="rId10" Type="http://schemas.openxmlformats.org/officeDocument/2006/relationships/slideLayout" Target="../slideLayouts/slideLayout469.xml"/><Relationship Id="rId19" Type="http://schemas.openxmlformats.org/officeDocument/2006/relationships/slideLayout" Target="../slideLayouts/slideLayout478.xml"/><Relationship Id="rId31" Type="http://schemas.openxmlformats.org/officeDocument/2006/relationships/slideLayout" Target="../slideLayouts/slideLayout490.xml"/><Relationship Id="rId44" Type="http://schemas.openxmlformats.org/officeDocument/2006/relationships/slideLayout" Target="../slideLayouts/slideLayout503.xml"/><Relationship Id="rId52" Type="http://schemas.openxmlformats.org/officeDocument/2006/relationships/slideLayout" Target="../slideLayouts/slideLayout51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slideLayout" Target="../slideLayouts/slideLayout473.xml"/><Relationship Id="rId22" Type="http://schemas.openxmlformats.org/officeDocument/2006/relationships/slideLayout" Target="../slideLayouts/slideLayout481.xml"/><Relationship Id="rId27" Type="http://schemas.openxmlformats.org/officeDocument/2006/relationships/slideLayout" Target="../slideLayouts/slideLayout486.xml"/><Relationship Id="rId30" Type="http://schemas.openxmlformats.org/officeDocument/2006/relationships/slideLayout" Target="../slideLayouts/slideLayout489.xml"/><Relationship Id="rId35" Type="http://schemas.openxmlformats.org/officeDocument/2006/relationships/slideLayout" Target="../slideLayouts/slideLayout494.xml"/><Relationship Id="rId43" Type="http://schemas.openxmlformats.org/officeDocument/2006/relationships/slideLayout" Target="../slideLayouts/slideLayout502.xml"/><Relationship Id="rId48" Type="http://schemas.openxmlformats.org/officeDocument/2006/relationships/slideLayout" Target="../slideLayouts/slideLayout507.xml"/><Relationship Id="rId56" Type="http://schemas.openxmlformats.org/officeDocument/2006/relationships/theme" Target="../theme/theme10.xml"/><Relationship Id="rId8" Type="http://schemas.openxmlformats.org/officeDocument/2006/relationships/slideLayout" Target="../slideLayouts/slideLayout467.xml"/><Relationship Id="rId51" Type="http://schemas.openxmlformats.org/officeDocument/2006/relationships/slideLayout" Target="../slideLayouts/slideLayout510.xml"/><Relationship Id="rId3" Type="http://schemas.openxmlformats.org/officeDocument/2006/relationships/slideLayout" Target="../slideLayouts/slideLayout462.xml"/><Relationship Id="rId12" Type="http://schemas.openxmlformats.org/officeDocument/2006/relationships/slideLayout" Target="../slideLayouts/slideLayout471.xml"/><Relationship Id="rId17" Type="http://schemas.openxmlformats.org/officeDocument/2006/relationships/slideLayout" Target="../slideLayouts/slideLayout476.xml"/><Relationship Id="rId25" Type="http://schemas.openxmlformats.org/officeDocument/2006/relationships/slideLayout" Target="../slideLayouts/slideLayout484.xml"/><Relationship Id="rId33" Type="http://schemas.openxmlformats.org/officeDocument/2006/relationships/slideLayout" Target="../slideLayouts/slideLayout492.xml"/><Relationship Id="rId38" Type="http://schemas.openxmlformats.org/officeDocument/2006/relationships/slideLayout" Target="../slideLayouts/slideLayout497.xml"/><Relationship Id="rId46" Type="http://schemas.openxmlformats.org/officeDocument/2006/relationships/slideLayout" Target="../slideLayouts/slideLayout505.xml"/><Relationship Id="rId20" Type="http://schemas.openxmlformats.org/officeDocument/2006/relationships/slideLayout" Target="../slideLayouts/slideLayout479.xml"/><Relationship Id="rId41" Type="http://schemas.openxmlformats.org/officeDocument/2006/relationships/slideLayout" Target="../slideLayouts/slideLayout500.xml"/><Relationship Id="rId54" Type="http://schemas.openxmlformats.org/officeDocument/2006/relationships/slideLayout" Target="../slideLayouts/slideLayout513.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5" Type="http://schemas.openxmlformats.org/officeDocument/2006/relationships/slideLayout" Target="../slideLayouts/slideLayout474.xml"/><Relationship Id="rId23" Type="http://schemas.openxmlformats.org/officeDocument/2006/relationships/slideLayout" Target="../slideLayouts/slideLayout482.xml"/><Relationship Id="rId28" Type="http://schemas.openxmlformats.org/officeDocument/2006/relationships/slideLayout" Target="../slideLayouts/slideLayout487.xml"/><Relationship Id="rId36" Type="http://schemas.openxmlformats.org/officeDocument/2006/relationships/slideLayout" Target="../slideLayouts/slideLayout495.xml"/><Relationship Id="rId49" Type="http://schemas.openxmlformats.org/officeDocument/2006/relationships/slideLayout" Target="../slideLayouts/slideLayout5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theme" Target="../theme/theme11.xml"/><Relationship Id="rId3" Type="http://schemas.openxmlformats.org/officeDocument/2006/relationships/slideLayout" Target="../slideLayouts/slideLayout517.xml"/><Relationship Id="rId21" Type="http://schemas.openxmlformats.org/officeDocument/2006/relationships/image" Target="../media/image45.emf"/><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oleObject" Target="../embeddings/oleObject6.bin"/><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10" Type="http://schemas.openxmlformats.org/officeDocument/2006/relationships/slideLayout" Target="../slideLayouts/slideLayout524.xml"/><Relationship Id="rId19" Type="http://schemas.openxmlformats.org/officeDocument/2006/relationships/tags" Target="../tags/tag7.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34.xml"/><Relationship Id="rId7" Type="http://schemas.openxmlformats.org/officeDocument/2006/relationships/theme" Target="../theme/theme12.xml"/><Relationship Id="rId2" Type="http://schemas.openxmlformats.org/officeDocument/2006/relationships/slideLayout" Target="../slideLayouts/slideLayout533.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5" Type="http://schemas.openxmlformats.org/officeDocument/2006/relationships/slideLayout" Target="../slideLayouts/slideLayout536.xml"/><Relationship Id="rId4" Type="http://schemas.openxmlformats.org/officeDocument/2006/relationships/slideLayout" Target="../slideLayouts/slideLayout53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50.xml"/><Relationship Id="rId18" Type="http://schemas.openxmlformats.org/officeDocument/2006/relationships/slideLayout" Target="../slideLayouts/slideLayout555.xml"/><Relationship Id="rId26" Type="http://schemas.openxmlformats.org/officeDocument/2006/relationships/slideLayout" Target="../slideLayouts/slideLayout563.xml"/><Relationship Id="rId39" Type="http://schemas.openxmlformats.org/officeDocument/2006/relationships/slideLayout" Target="../slideLayouts/slideLayout576.xml"/><Relationship Id="rId21" Type="http://schemas.openxmlformats.org/officeDocument/2006/relationships/slideLayout" Target="../slideLayouts/slideLayout558.xml"/><Relationship Id="rId34" Type="http://schemas.openxmlformats.org/officeDocument/2006/relationships/slideLayout" Target="../slideLayouts/slideLayout571.xml"/><Relationship Id="rId42" Type="http://schemas.openxmlformats.org/officeDocument/2006/relationships/slideLayout" Target="../slideLayouts/slideLayout579.xml"/><Relationship Id="rId47" Type="http://schemas.openxmlformats.org/officeDocument/2006/relationships/oleObject" Target="../embeddings/oleObject8.bin"/><Relationship Id="rId7" Type="http://schemas.openxmlformats.org/officeDocument/2006/relationships/slideLayout" Target="../slideLayouts/slideLayout544.xml"/><Relationship Id="rId2" Type="http://schemas.openxmlformats.org/officeDocument/2006/relationships/slideLayout" Target="../slideLayouts/slideLayout539.xml"/><Relationship Id="rId16" Type="http://schemas.openxmlformats.org/officeDocument/2006/relationships/slideLayout" Target="../slideLayouts/slideLayout553.xml"/><Relationship Id="rId29" Type="http://schemas.openxmlformats.org/officeDocument/2006/relationships/slideLayout" Target="../slideLayouts/slideLayout566.xml"/><Relationship Id="rId1" Type="http://schemas.openxmlformats.org/officeDocument/2006/relationships/slideLayout" Target="../slideLayouts/slideLayout538.xml"/><Relationship Id="rId6" Type="http://schemas.openxmlformats.org/officeDocument/2006/relationships/slideLayout" Target="../slideLayouts/slideLayout543.xml"/><Relationship Id="rId11" Type="http://schemas.openxmlformats.org/officeDocument/2006/relationships/slideLayout" Target="../slideLayouts/slideLayout548.xml"/><Relationship Id="rId24" Type="http://schemas.openxmlformats.org/officeDocument/2006/relationships/slideLayout" Target="../slideLayouts/slideLayout561.xml"/><Relationship Id="rId32" Type="http://schemas.openxmlformats.org/officeDocument/2006/relationships/slideLayout" Target="../slideLayouts/slideLayout569.xml"/><Relationship Id="rId37" Type="http://schemas.openxmlformats.org/officeDocument/2006/relationships/slideLayout" Target="../slideLayouts/slideLayout574.xml"/><Relationship Id="rId40" Type="http://schemas.openxmlformats.org/officeDocument/2006/relationships/slideLayout" Target="../slideLayouts/slideLayout577.xml"/><Relationship Id="rId45" Type="http://schemas.openxmlformats.org/officeDocument/2006/relationships/theme" Target="../theme/theme13.xml"/><Relationship Id="rId5" Type="http://schemas.openxmlformats.org/officeDocument/2006/relationships/slideLayout" Target="../slideLayouts/slideLayout542.xml"/><Relationship Id="rId15" Type="http://schemas.openxmlformats.org/officeDocument/2006/relationships/slideLayout" Target="../slideLayouts/slideLayout552.xml"/><Relationship Id="rId23" Type="http://schemas.openxmlformats.org/officeDocument/2006/relationships/slideLayout" Target="../slideLayouts/slideLayout560.xml"/><Relationship Id="rId28" Type="http://schemas.openxmlformats.org/officeDocument/2006/relationships/slideLayout" Target="../slideLayouts/slideLayout565.xml"/><Relationship Id="rId36" Type="http://schemas.openxmlformats.org/officeDocument/2006/relationships/slideLayout" Target="../slideLayouts/slideLayout573.xml"/><Relationship Id="rId10" Type="http://schemas.openxmlformats.org/officeDocument/2006/relationships/slideLayout" Target="../slideLayouts/slideLayout547.xml"/><Relationship Id="rId19" Type="http://schemas.openxmlformats.org/officeDocument/2006/relationships/slideLayout" Target="../slideLayouts/slideLayout556.xml"/><Relationship Id="rId31" Type="http://schemas.openxmlformats.org/officeDocument/2006/relationships/slideLayout" Target="../slideLayouts/slideLayout568.xml"/><Relationship Id="rId44" Type="http://schemas.openxmlformats.org/officeDocument/2006/relationships/slideLayout" Target="../slideLayouts/slideLayout581.xml"/><Relationship Id="rId4" Type="http://schemas.openxmlformats.org/officeDocument/2006/relationships/slideLayout" Target="../slideLayouts/slideLayout541.xml"/><Relationship Id="rId9" Type="http://schemas.openxmlformats.org/officeDocument/2006/relationships/slideLayout" Target="../slideLayouts/slideLayout546.xml"/><Relationship Id="rId14" Type="http://schemas.openxmlformats.org/officeDocument/2006/relationships/slideLayout" Target="../slideLayouts/slideLayout551.xml"/><Relationship Id="rId22" Type="http://schemas.openxmlformats.org/officeDocument/2006/relationships/slideLayout" Target="../slideLayouts/slideLayout559.xml"/><Relationship Id="rId27" Type="http://schemas.openxmlformats.org/officeDocument/2006/relationships/slideLayout" Target="../slideLayouts/slideLayout564.xml"/><Relationship Id="rId30" Type="http://schemas.openxmlformats.org/officeDocument/2006/relationships/slideLayout" Target="../slideLayouts/slideLayout567.xml"/><Relationship Id="rId35" Type="http://schemas.openxmlformats.org/officeDocument/2006/relationships/slideLayout" Target="../slideLayouts/slideLayout572.xml"/><Relationship Id="rId43" Type="http://schemas.openxmlformats.org/officeDocument/2006/relationships/slideLayout" Target="../slideLayouts/slideLayout580.xml"/><Relationship Id="rId48" Type="http://schemas.openxmlformats.org/officeDocument/2006/relationships/image" Target="../media/image1.emf"/><Relationship Id="rId8" Type="http://schemas.openxmlformats.org/officeDocument/2006/relationships/slideLayout" Target="../slideLayouts/slideLayout545.xml"/><Relationship Id="rId3" Type="http://schemas.openxmlformats.org/officeDocument/2006/relationships/slideLayout" Target="../slideLayouts/slideLayout540.xml"/><Relationship Id="rId12" Type="http://schemas.openxmlformats.org/officeDocument/2006/relationships/slideLayout" Target="../slideLayouts/slideLayout549.xml"/><Relationship Id="rId17" Type="http://schemas.openxmlformats.org/officeDocument/2006/relationships/slideLayout" Target="../slideLayouts/slideLayout554.xml"/><Relationship Id="rId25" Type="http://schemas.openxmlformats.org/officeDocument/2006/relationships/slideLayout" Target="../slideLayouts/slideLayout562.xml"/><Relationship Id="rId33" Type="http://schemas.openxmlformats.org/officeDocument/2006/relationships/slideLayout" Target="../slideLayouts/slideLayout570.xml"/><Relationship Id="rId38" Type="http://schemas.openxmlformats.org/officeDocument/2006/relationships/slideLayout" Target="../slideLayouts/slideLayout575.xml"/><Relationship Id="rId46" Type="http://schemas.openxmlformats.org/officeDocument/2006/relationships/tags" Target="../tags/tag9.xml"/><Relationship Id="rId20" Type="http://schemas.openxmlformats.org/officeDocument/2006/relationships/slideLayout" Target="../slideLayouts/slideLayout557.xml"/><Relationship Id="rId41" Type="http://schemas.openxmlformats.org/officeDocument/2006/relationships/slideLayout" Target="../slideLayouts/slideLayout578.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94.xml"/><Relationship Id="rId18" Type="http://schemas.openxmlformats.org/officeDocument/2006/relationships/slideLayout" Target="../slideLayouts/slideLayout599.xml"/><Relationship Id="rId26" Type="http://schemas.openxmlformats.org/officeDocument/2006/relationships/slideLayout" Target="../slideLayouts/slideLayout607.xml"/><Relationship Id="rId39" Type="http://schemas.openxmlformats.org/officeDocument/2006/relationships/slideLayout" Target="../slideLayouts/slideLayout620.xml"/><Relationship Id="rId21" Type="http://schemas.openxmlformats.org/officeDocument/2006/relationships/slideLayout" Target="../slideLayouts/slideLayout602.xml"/><Relationship Id="rId34" Type="http://schemas.openxmlformats.org/officeDocument/2006/relationships/slideLayout" Target="../slideLayouts/slideLayout615.xml"/><Relationship Id="rId42" Type="http://schemas.openxmlformats.org/officeDocument/2006/relationships/slideLayout" Target="../slideLayouts/slideLayout623.xml"/><Relationship Id="rId47" Type="http://schemas.openxmlformats.org/officeDocument/2006/relationships/tags" Target="../tags/tag11.xml"/><Relationship Id="rId7" Type="http://schemas.openxmlformats.org/officeDocument/2006/relationships/slideLayout" Target="../slideLayouts/slideLayout588.xml"/><Relationship Id="rId2" Type="http://schemas.openxmlformats.org/officeDocument/2006/relationships/slideLayout" Target="../slideLayouts/slideLayout583.xml"/><Relationship Id="rId16" Type="http://schemas.openxmlformats.org/officeDocument/2006/relationships/slideLayout" Target="../slideLayouts/slideLayout597.xml"/><Relationship Id="rId29" Type="http://schemas.openxmlformats.org/officeDocument/2006/relationships/slideLayout" Target="../slideLayouts/slideLayout610.xml"/><Relationship Id="rId11" Type="http://schemas.openxmlformats.org/officeDocument/2006/relationships/slideLayout" Target="../slideLayouts/slideLayout592.xml"/><Relationship Id="rId24" Type="http://schemas.openxmlformats.org/officeDocument/2006/relationships/slideLayout" Target="../slideLayouts/slideLayout605.xml"/><Relationship Id="rId32" Type="http://schemas.openxmlformats.org/officeDocument/2006/relationships/slideLayout" Target="../slideLayouts/slideLayout613.xml"/><Relationship Id="rId37" Type="http://schemas.openxmlformats.org/officeDocument/2006/relationships/slideLayout" Target="../slideLayouts/slideLayout618.xml"/><Relationship Id="rId40" Type="http://schemas.openxmlformats.org/officeDocument/2006/relationships/slideLayout" Target="../slideLayouts/slideLayout621.xml"/><Relationship Id="rId45" Type="http://schemas.openxmlformats.org/officeDocument/2006/relationships/slideLayout" Target="../slideLayouts/slideLayout626.xml"/><Relationship Id="rId5" Type="http://schemas.openxmlformats.org/officeDocument/2006/relationships/slideLayout" Target="../slideLayouts/slideLayout586.xml"/><Relationship Id="rId15" Type="http://schemas.openxmlformats.org/officeDocument/2006/relationships/slideLayout" Target="../slideLayouts/slideLayout596.xml"/><Relationship Id="rId23" Type="http://schemas.openxmlformats.org/officeDocument/2006/relationships/slideLayout" Target="../slideLayouts/slideLayout604.xml"/><Relationship Id="rId28" Type="http://schemas.openxmlformats.org/officeDocument/2006/relationships/slideLayout" Target="../slideLayouts/slideLayout609.xml"/><Relationship Id="rId36" Type="http://schemas.openxmlformats.org/officeDocument/2006/relationships/slideLayout" Target="../slideLayouts/slideLayout617.xml"/><Relationship Id="rId49" Type="http://schemas.openxmlformats.org/officeDocument/2006/relationships/image" Target="../media/image1.emf"/><Relationship Id="rId10" Type="http://schemas.openxmlformats.org/officeDocument/2006/relationships/slideLayout" Target="../slideLayouts/slideLayout591.xml"/><Relationship Id="rId19" Type="http://schemas.openxmlformats.org/officeDocument/2006/relationships/slideLayout" Target="../slideLayouts/slideLayout600.xml"/><Relationship Id="rId31" Type="http://schemas.openxmlformats.org/officeDocument/2006/relationships/slideLayout" Target="../slideLayouts/slideLayout612.xml"/><Relationship Id="rId44" Type="http://schemas.openxmlformats.org/officeDocument/2006/relationships/slideLayout" Target="../slideLayouts/slideLayout625.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slideLayout" Target="../slideLayouts/slideLayout595.xml"/><Relationship Id="rId22" Type="http://schemas.openxmlformats.org/officeDocument/2006/relationships/slideLayout" Target="../slideLayouts/slideLayout603.xml"/><Relationship Id="rId27" Type="http://schemas.openxmlformats.org/officeDocument/2006/relationships/slideLayout" Target="../slideLayouts/slideLayout608.xml"/><Relationship Id="rId30" Type="http://schemas.openxmlformats.org/officeDocument/2006/relationships/slideLayout" Target="../slideLayouts/slideLayout611.xml"/><Relationship Id="rId35" Type="http://schemas.openxmlformats.org/officeDocument/2006/relationships/slideLayout" Target="../slideLayouts/slideLayout616.xml"/><Relationship Id="rId43" Type="http://schemas.openxmlformats.org/officeDocument/2006/relationships/slideLayout" Target="../slideLayouts/slideLayout624.xml"/><Relationship Id="rId48" Type="http://schemas.openxmlformats.org/officeDocument/2006/relationships/oleObject" Target="../embeddings/oleObject10.bin"/><Relationship Id="rId8" Type="http://schemas.openxmlformats.org/officeDocument/2006/relationships/slideLayout" Target="../slideLayouts/slideLayout589.xml"/><Relationship Id="rId3" Type="http://schemas.openxmlformats.org/officeDocument/2006/relationships/slideLayout" Target="../slideLayouts/slideLayout584.xml"/><Relationship Id="rId12" Type="http://schemas.openxmlformats.org/officeDocument/2006/relationships/slideLayout" Target="../slideLayouts/slideLayout593.xml"/><Relationship Id="rId17" Type="http://schemas.openxmlformats.org/officeDocument/2006/relationships/slideLayout" Target="../slideLayouts/slideLayout598.xml"/><Relationship Id="rId25" Type="http://schemas.openxmlformats.org/officeDocument/2006/relationships/slideLayout" Target="../slideLayouts/slideLayout606.xml"/><Relationship Id="rId33" Type="http://schemas.openxmlformats.org/officeDocument/2006/relationships/slideLayout" Target="../slideLayouts/slideLayout614.xml"/><Relationship Id="rId38" Type="http://schemas.openxmlformats.org/officeDocument/2006/relationships/slideLayout" Target="../slideLayouts/slideLayout619.xml"/><Relationship Id="rId46" Type="http://schemas.openxmlformats.org/officeDocument/2006/relationships/theme" Target="../theme/theme14.xml"/><Relationship Id="rId20" Type="http://schemas.openxmlformats.org/officeDocument/2006/relationships/slideLayout" Target="../slideLayouts/slideLayout601.xml"/><Relationship Id="rId41" Type="http://schemas.openxmlformats.org/officeDocument/2006/relationships/slideLayout" Target="../slideLayouts/slideLayout622.xml"/><Relationship Id="rId1" Type="http://schemas.openxmlformats.org/officeDocument/2006/relationships/slideLayout" Target="../slideLayouts/slideLayout582.xml"/><Relationship Id="rId6" Type="http://schemas.openxmlformats.org/officeDocument/2006/relationships/slideLayout" Target="../slideLayouts/slideLayout5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2.xml"/><Relationship Id="rId3" Type="http://schemas.openxmlformats.org/officeDocument/2006/relationships/slideLayout" Target="../slideLayouts/slideLayout45.xml"/><Relationship Id="rId21" Type="http://schemas.openxmlformats.org/officeDocument/2006/relationships/image" Target="../media/image1.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oleObject" Target="../embeddings/oleObject2.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ags" Target="../tags/tag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5.xml"/><Relationship Id="rId117" Type="http://schemas.openxmlformats.org/officeDocument/2006/relationships/slideLayout" Target="../slideLayouts/slideLayout176.xml"/><Relationship Id="rId21" Type="http://schemas.openxmlformats.org/officeDocument/2006/relationships/slideLayout" Target="../slideLayouts/slideLayout80.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63" Type="http://schemas.openxmlformats.org/officeDocument/2006/relationships/slideLayout" Target="../slideLayouts/slideLayout122.xml"/><Relationship Id="rId68" Type="http://schemas.openxmlformats.org/officeDocument/2006/relationships/slideLayout" Target="../slideLayouts/slideLayout127.xml"/><Relationship Id="rId84" Type="http://schemas.openxmlformats.org/officeDocument/2006/relationships/slideLayout" Target="../slideLayouts/slideLayout143.xml"/><Relationship Id="rId89" Type="http://schemas.openxmlformats.org/officeDocument/2006/relationships/slideLayout" Target="../slideLayouts/slideLayout148.xml"/><Relationship Id="rId112" Type="http://schemas.openxmlformats.org/officeDocument/2006/relationships/slideLayout" Target="../slideLayouts/slideLayout171.xml"/><Relationship Id="rId16" Type="http://schemas.openxmlformats.org/officeDocument/2006/relationships/slideLayout" Target="../slideLayouts/slideLayout75.xml"/><Relationship Id="rId107" Type="http://schemas.openxmlformats.org/officeDocument/2006/relationships/slideLayout" Target="../slideLayouts/slideLayout166.xml"/><Relationship Id="rId11" Type="http://schemas.openxmlformats.org/officeDocument/2006/relationships/slideLayout" Target="../slideLayouts/slideLayout70.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53" Type="http://schemas.openxmlformats.org/officeDocument/2006/relationships/slideLayout" Target="../slideLayouts/slideLayout112.xml"/><Relationship Id="rId58" Type="http://schemas.openxmlformats.org/officeDocument/2006/relationships/slideLayout" Target="../slideLayouts/slideLayout117.xml"/><Relationship Id="rId74" Type="http://schemas.openxmlformats.org/officeDocument/2006/relationships/slideLayout" Target="../slideLayouts/slideLayout133.xml"/><Relationship Id="rId79" Type="http://schemas.openxmlformats.org/officeDocument/2006/relationships/slideLayout" Target="../slideLayouts/slideLayout138.xml"/><Relationship Id="rId102" Type="http://schemas.openxmlformats.org/officeDocument/2006/relationships/slideLayout" Target="../slideLayouts/slideLayout161.xml"/><Relationship Id="rId5" Type="http://schemas.openxmlformats.org/officeDocument/2006/relationships/slideLayout" Target="../slideLayouts/slideLayout64.xml"/><Relationship Id="rId90" Type="http://schemas.openxmlformats.org/officeDocument/2006/relationships/slideLayout" Target="../slideLayouts/slideLayout149.xml"/><Relationship Id="rId95" Type="http://schemas.openxmlformats.org/officeDocument/2006/relationships/slideLayout" Target="../slideLayouts/slideLayout154.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64" Type="http://schemas.openxmlformats.org/officeDocument/2006/relationships/slideLayout" Target="../slideLayouts/slideLayout123.xml"/><Relationship Id="rId69" Type="http://schemas.openxmlformats.org/officeDocument/2006/relationships/slideLayout" Target="../slideLayouts/slideLayout128.xml"/><Relationship Id="rId113" Type="http://schemas.openxmlformats.org/officeDocument/2006/relationships/slideLayout" Target="../slideLayouts/slideLayout172.xml"/><Relationship Id="rId118" Type="http://schemas.openxmlformats.org/officeDocument/2006/relationships/theme" Target="../theme/theme3.xml"/><Relationship Id="rId80" Type="http://schemas.openxmlformats.org/officeDocument/2006/relationships/slideLayout" Target="../slideLayouts/slideLayout139.xml"/><Relationship Id="rId85" Type="http://schemas.openxmlformats.org/officeDocument/2006/relationships/slideLayout" Target="../slideLayouts/slideLayout144.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59" Type="http://schemas.openxmlformats.org/officeDocument/2006/relationships/slideLayout" Target="../slideLayouts/slideLayout118.xml"/><Relationship Id="rId103" Type="http://schemas.openxmlformats.org/officeDocument/2006/relationships/slideLayout" Target="../slideLayouts/slideLayout162.xml"/><Relationship Id="rId108" Type="http://schemas.openxmlformats.org/officeDocument/2006/relationships/slideLayout" Target="../slideLayouts/slideLayout167.xml"/><Relationship Id="rId54" Type="http://schemas.openxmlformats.org/officeDocument/2006/relationships/slideLayout" Target="../slideLayouts/slideLayout113.xml"/><Relationship Id="rId70" Type="http://schemas.openxmlformats.org/officeDocument/2006/relationships/slideLayout" Target="../slideLayouts/slideLayout129.xml"/><Relationship Id="rId75" Type="http://schemas.openxmlformats.org/officeDocument/2006/relationships/slideLayout" Target="../slideLayouts/slideLayout134.xml"/><Relationship Id="rId91" Type="http://schemas.openxmlformats.org/officeDocument/2006/relationships/slideLayout" Target="../slideLayouts/slideLayout150.xml"/><Relationship Id="rId96" Type="http://schemas.openxmlformats.org/officeDocument/2006/relationships/slideLayout" Target="../slideLayouts/slideLayout15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49" Type="http://schemas.openxmlformats.org/officeDocument/2006/relationships/slideLayout" Target="../slideLayouts/slideLayout108.xml"/><Relationship Id="rId114" Type="http://schemas.openxmlformats.org/officeDocument/2006/relationships/slideLayout" Target="../slideLayouts/slideLayout173.xml"/><Relationship Id="rId119" Type="http://schemas.openxmlformats.org/officeDocument/2006/relationships/tags" Target="../tags/tag4.xml"/><Relationship Id="rId44" Type="http://schemas.openxmlformats.org/officeDocument/2006/relationships/slideLayout" Target="../slideLayouts/slideLayout103.xml"/><Relationship Id="rId60" Type="http://schemas.openxmlformats.org/officeDocument/2006/relationships/slideLayout" Target="../slideLayouts/slideLayout119.xml"/><Relationship Id="rId65" Type="http://schemas.openxmlformats.org/officeDocument/2006/relationships/slideLayout" Target="../slideLayouts/slideLayout124.xml"/><Relationship Id="rId81" Type="http://schemas.openxmlformats.org/officeDocument/2006/relationships/slideLayout" Target="../slideLayouts/slideLayout140.xml"/><Relationship Id="rId86" Type="http://schemas.openxmlformats.org/officeDocument/2006/relationships/slideLayout" Target="../slideLayouts/slideLayout14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9" Type="http://schemas.openxmlformats.org/officeDocument/2006/relationships/slideLayout" Target="../slideLayouts/slideLayout98.xml"/><Relationship Id="rId109" Type="http://schemas.openxmlformats.org/officeDocument/2006/relationships/slideLayout" Target="../slideLayouts/slideLayout168.xml"/><Relationship Id="rId34" Type="http://schemas.openxmlformats.org/officeDocument/2006/relationships/slideLayout" Target="../slideLayouts/slideLayout93.xml"/><Relationship Id="rId50" Type="http://schemas.openxmlformats.org/officeDocument/2006/relationships/slideLayout" Target="../slideLayouts/slideLayout109.xml"/><Relationship Id="rId55" Type="http://schemas.openxmlformats.org/officeDocument/2006/relationships/slideLayout" Target="../slideLayouts/slideLayout114.xml"/><Relationship Id="rId76" Type="http://schemas.openxmlformats.org/officeDocument/2006/relationships/slideLayout" Target="../slideLayouts/slideLayout135.xml"/><Relationship Id="rId97" Type="http://schemas.openxmlformats.org/officeDocument/2006/relationships/slideLayout" Target="../slideLayouts/slideLayout156.xml"/><Relationship Id="rId104" Type="http://schemas.openxmlformats.org/officeDocument/2006/relationships/slideLayout" Target="../slideLayouts/slideLayout163.xml"/><Relationship Id="rId120" Type="http://schemas.openxmlformats.org/officeDocument/2006/relationships/oleObject" Target="../embeddings/oleObject3.bin"/><Relationship Id="rId7" Type="http://schemas.openxmlformats.org/officeDocument/2006/relationships/slideLayout" Target="../slideLayouts/slideLayout66.xml"/><Relationship Id="rId71" Type="http://schemas.openxmlformats.org/officeDocument/2006/relationships/slideLayout" Target="../slideLayouts/slideLayout130.xml"/><Relationship Id="rId92" Type="http://schemas.openxmlformats.org/officeDocument/2006/relationships/slideLayout" Target="../slideLayouts/slideLayout151.xml"/><Relationship Id="rId2" Type="http://schemas.openxmlformats.org/officeDocument/2006/relationships/slideLayout" Target="../slideLayouts/slideLayout61.xml"/><Relationship Id="rId29" Type="http://schemas.openxmlformats.org/officeDocument/2006/relationships/slideLayout" Target="../slideLayouts/slideLayout88.xml"/><Relationship Id="rId24" Type="http://schemas.openxmlformats.org/officeDocument/2006/relationships/slideLayout" Target="../slideLayouts/slideLayout83.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66" Type="http://schemas.openxmlformats.org/officeDocument/2006/relationships/slideLayout" Target="../slideLayouts/slideLayout125.xml"/><Relationship Id="rId87" Type="http://schemas.openxmlformats.org/officeDocument/2006/relationships/slideLayout" Target="../slideLayouts/slideLayout146.xml"/><Relationship Id="rId110" Type="http://schemas.openxmlformats.org/officeDocument/2006/relationships/slideLayout" Target="../slideLayouts/slideLayout169.xml"/><Relationship Id="rId115" Type="http://schemas.openxmlformats.org/officeDocument/2006/relationships/slideLayout" Target="../slideLayouts/slideLayout174.xml"/><Relationship Id="rId61" Type="http://schemas.openxmlformats.org/officeDocument/2006/relationships/slideLayout" Target="../slideLayouts/slideLayout120.xml"/><Relationship Id="rId82" Type="http://schemas.openxmlformats.org/officeDocument/2006/relationships/slideLayout" Target="../slideLayouts/slideLayout141.xml"/><Relationship Id="rId19" Type="http://schemas.openxmlformats.org/officeDocument/2006/relationships/slideLayout" Target="../slideLayouts/slideLayout78.xml"/><Relationship Id="rId14" Type="http://schemas.openxmlformats.org/officeDocument/2006/relationships/slideLayout" Target="../slideLayouts/slideLayout73.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56" Type="http://schemas.openxmlformats.org/officeDocument/2006/relationships/slideLayout" Target="../slideLayouts/slideLayout115.xml"/><Relationship Id="rId77" Type="http://schemas.openxmlformats.org/officeDocument/2006/relationships/slideLayout" Target="../slideLayouts/slideLayout136.xml"/><Relationship Id="rId100" Type="http://schemas.openxmlformats.org/officeDocument/2006/relationships/slideLayout" Target="../slideLayouts/slideLayout159.xml"/><Relationship Id="rId105" Type="http://schemas.openxmlformats.org/officeDocument/2006/relationships/slideLayout" Target="../slideLayouts/slideLayout164.xml"/><Relationship Id="rId8" Type="http://schemas.openxmlformats.org/officeDocument/2006/relationships/slideLayout" Target="../slideLayouts/slideLayout67.xml"/><Relationship Id="rId51" Type="http://schemas.openxmlformats.org/officeDocument/2006/relationships/slideLayout" Target="../slideLayouts/slideLayout110.xml"/><Relationship Id="rId72" Type="http://schemas.openxmlformats.org/officeDocument/2006/relationships/slideLayout" Target="../slideLayouts/slideLayout131.xml"/><Relationship Id="rId93" Type="http://schemas.openxmlformats.org/officeDocument/2006/relationships/slideLayout" Target="../slideLayouts/slideLayout152.xml"/><Relationship Id="rId98" Type="http://schemas.openxmlformats.org/officeDocument/2006/relationships/slideLayout" Target="../slideLayouts/slideLayout157.xml"/><Relationship Id="rId121" Type="http://schemas.openxmlformats.org/officeDocument/2006/relationships/image" Target="../media/image1.emf"/><Relationship Id="rId3" Type="http://schemas.openxmlformats.org/officeDocument/2006/relationships/slideLayout" Target="../slideLayouts/slideLayout62.xml"/><Relationship Id="rId25" Type="http://schemas.openxmlformats.org/officeDocument/2006/relationships/slideLayout" Target="../slideLayouts/slideLayout84.xml"/><Relationship Id="rId46" Type="http://schemas.openxmlformats.org/officeDocument/2006/relationships/slideLayout" Target="../slideLayouts/slideLayout105.xml"/><Relationship Id="rId67" Type="http://schemas.openxmlformats.org/officeDocument/2006/relationships/slideLayout" Target="../slideLayouts/slideLayout126.xml"/><Relationship Id="rId116" Type="http://schemas.openxmlformats.org/officeDocument/2006/relationships/slideLayout" Target="../slideLayouts/slideLayout175.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62" Type="http://schemas.openxmlformats.org/officeDocument/2006/relationships/slideLayout" Target="../slideLayouts/slideLayout121.xml"/><Relationship Id="rId83" Type="http://schemas.openxmlformats.org/officeDocument/2006/relationships/slideLayout" Target="../slideLayouts/slideLayout142.xml"/><Relationship Id="rId88" Type="http://schemas.openxmlformats.org/officeDocument/2006/relationships/slideLayout" Target="../slideLayouts/slideLayout147.xml"/><Relationship Id="rId111" Type="http://schemas.openxmlformats.org/officeDocument/2006/relationships/slideLayout" Target="../slideLayouts/slideLayout170.xml"/><Relationship Id="rId15" Type="http://schemas.openxmlformats.org/officeDocument/2006/relationships/slideLayout" Target="../slideLayouts/slideLayout74.xml"/><Relationship Id="rId36" Type="http://schemas.openxmlformats.org/officeDocument/2006/relationships/slideLayout" Target="../slideLayouts/slideLayout95.xml"/><Relationship Id="rId57" Type="http://schemas.openxmlformats.org/officeDocument/2006/relationships/slideLayout" Target="../slideLayouts/slideLayout116.xml"/><Relationship Id="rId106" Type="http://schemas.openxmlformats.org/officeDocument/2006/relationships/slideLayout" Target="../slideLayouts/slideLayout165.xml"/><Relationship Id="rId10" Type="http://schemas.openxmlformats.org/officeDocument/2006/relationships/slideLayout" Target="../slideLayouts/slideLayout69.xml"/><Relationship Id="rId31" Type="http://schemas.openxmlformats.org/officeDocument/2006/relationships/slideLayout" Target="../slideLayouts/slideLayout90.xml"/><Relationship Id="rId52" Type="http://schemas.openxmlformats.org/officeDocument/2006/relationships/slideLayout" Target="../slideLayouts/slideLayout111.xml"/><Relationship Id="rId73" Type="http://schemas.openxmlformats.org/officeDocument/2006/relationships/slideLayout" Target="../slideLayouts/slideLayout132.xml"/><Relationship Id="rId78" Type="http://schemas.openxmlformats.org/officeDocument/2006/relationships/slideLayout" Target="../slideLayouts/slideLayout137.xml"/><Relationship Id="rId94" Type="http://schemas.openxmlformats.org/officeDocument/2006/relationships/slideLayout" Target="../slideLayouts/slideLayout153.xml"/><Relationship Id="rId99" Type="http://schemas.openxmlformats.org/officeDocument/2006/relationships/slideLayout" Target="../slideLayouts/slideLayout158.xml"/><Relationship Id="rId101" Type="http://schemas.openxmlformats.org/officeDocument/2006/relationships/slideLayout" Target="../slideLayouts/slideLayout16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theme" Target="../theme/theme4.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image" Target="../media/image1.emf"/><Relationship Id="rId7" Type="http://schemas.openxmlformats.org/officeDocument/2006/relationships/slideLayout" Target="../slideLayouts/slideLayout18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41" Type="http://schemas.openxmlformats.org/officeDocument/2006/relationships/oleObject" Target="../embeddings/oleObject4.bin"/><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tags" Target="../tags/tag5.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8" Type="http://schemas.openxmlformats.org/officeDocument/2006/relationships/slideLayout" Target="../slideLayouts/slideLayout184.xml"/><Relationship Id="rId3" Type="http://schemas.openxmlformats.org/officeDocument/2006/relationships/slideLayout" Target="../slideLayouts/slideLayout179.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slideLayout" Target="../slideLayouts/slideLayout262.xml"/><Relationship Id="rId8" Type="http://schemas.openxmlformats.org/officeDocument/2006/relationships/slideLayout" Target="../slideLayouts/slideLayout222.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20" Type="http://schemas.openxmlformats.org/officeDocument/2006/relationships/slideLayout" Target="../slideLayouts/slideLayout234.xml"/><Relationship Id="rId41" Type="http://schemas.openxmlformats.org/officeDocument/2006/relationships/slideLayout" Target="../slideLayouts/slideLayout255.xml"/><Relationship Id="rId1" Type="http://schemas.openxmlformats.org/officeDocument/2006/relationships/slideLayout" Target="../slideLayouts/slideLayout215.xml"/><Relationship Id="rId6" Type="http://schemas.openxmlformats.org/officeDocument/2006/relationships/slideLayout" Target="../slideLayouts/slideLayout220.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88.xml"/><Relationship Id="rId21" Type="http://schemas.openxmlformats.org/officeDocument/2006/relationships/slideLayout" Target="../slideLayouts/slideLayout283.xml"/><Relationship Id="rId42" Type="http://schemas.openxmlformats.org/officeDocument/2006/relationships/slideLayout" Target="../slideLayouts/slideLayout304.xml"/><Relationship Id="rId47" Type="http://schemas.openxmlformats.org/officeDocument/2006/relationships/slideLayout" Target="../slideLayouts/slideLayout309.xml"/><Relationship Id="rId63" Type="http://schemas.openxmlformats.org/officeDocument/2006/relationships/slideLayout" Target="../slideLayouts/slideLayout325.xml"/><Relationship Id="rId68" Type="http://schemas.openxmlformats.org/officeDocument/2006/relationships/slideLayout" Target="../slideLayouts/slideLayout330.xml"/><Relationship Id="rId7" Type="http://schemas.openxmlformats.org/officeDocument/2006/relationships/slideLayout" Target="../slideLayouts/slideLayout269.xml"/><Relationship Id="rId71" Type="http://schemas.openxmlformats.org/officeDocument/2006/relationships/slideLayout" Target="../slideLayouts/slideLayout333.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3" Type="http://schemas.openxmlformats.org/officeDocument/2006/relationships/slideLayout" Target="../slideLayouts/slideLayout315.xml"/><Relationship Id="rId58" Type="http://schemas.openxmlformats.org/officeDocument/2006/relationships/slideLayout" Target="../slideLayouts/slideLayout320.xml"/><Relationship Id="rId66" Type="http://schemas.openxmlformats.org/officeDocument/2006/relationships/slideLayout" Target="../slideLayouts/slideLayout328.xml"/><Relationship Id="rId5" Type="http://schemas.openxmlformats.org/officeDocument/2006/relationships/slideLayout" Target="../slideLayouts/slideLayout267.xml"/><Relationship Id="rId61" Type="http://schemas.openxmlformats.org/officeDocument/2006/relationships/slideLayout" Target="../slideLayouts/slideLayout323.xml"/><Relationship Id="rId19" Type="http://schemas.openxmlformats.org/officeDocument/2006/relationships/slideLayout" Target="../slideLayouts/slideLayout28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slideLayout" Target="../slideLayouts/slideLayout310.xml"/><Relationship Id="rId56" Type="http://schemas.openxmlformats.org/officeDocument/2006/relationships/slideLayout" Target="../slideLayouts/slideLayout318.xml"/><Relationship Id="rId64" Type="http://schemas.openxmlformats.org/officeDocument/2006/relationships/slideLayout" Target="../slideLayouts/slideLayout326.xml"/><Relationship Id="rId69" Type="http://schemas.openxmlformats.org/officeDocument/2006/relationships/slideLayout" Target="../slideLayouts/slideLayout331.xml"/><Relationship Id="rId8" Type="http://schemas.openxmlformats.org/officeDocument/2006/relationships/slideLayout" Target="../slideLayouts/slideLayout270.xml"/><Relationship Id="rId51" Type="http://schemas.openxmlformats.org/officeDocument/2006/relationships/slideLayout" Target="../slideLayouts/slideLayout313.xml"/><Relationship Id="rId72" Type="http://schemas.openxmlformats.org/officeDocument/2006/relationships/theme" Target="../theme/theme6.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59" Type="http://schemas.openxmlformats.org/officeDocument/2006/relationships/slideLayout" Target="../slideLayouts/slideLayout321.xml"/><Relationship Id="rId67" Type="http://schemas.openxmlformats.org/officeDocument/2006/relationships/slideLayout" Target="../slideLayouts/slideLayout329.xml"/><Relationship Id="rId20" Type="http://schemas.openxmlformats.org/officeDocument/2006/relationships/slideLayout" Target="../slideLayouts/slideLayout282.xml"/><Relationship Id="rId41" Type="http://schemas.openxmlformats.org/officeDocument/2006/relationships/slideLayout" Target="../slideLayouts/slideLayout303.xml"/><Relationship Id="rId54" Type="http://schemas.openxmlformats.org/officeDocument/2006/relationships/slideLayout" Target="../slideLayouts/slideLayout316.xml"/><Relationship Id="rId62" Type="http://schemas.openxmlformats.org/officeDocument/2006/relationships/slideLayout" Target="../slideLayouts/slideLayout324.xml"/><Relationship Id="rId70" Type="http://schemas.openxmlformats.org/officeDocument/2006/relationships/slideLayout" Target="../slideLayouts/slideLayout332.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49" Type="http://schemas.openxmlformats.org/officeDocument/2006/relationships/slideLayout" Target="../slideLayouts/slideLayout311.xml"/><Relationship Id="rId57" Type="http://schemas.openxmlformats.org/officeDocument/2006/relationships/slideLayout" Target="../slideLayouts/slideLayout319.xml"/><Relationship Id="rId10" Type="http://schemas.openxmlformats.org/officeDocument/2006/relationships/slideLayout" Target="../slideLayouts/slideLayout272.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52" Type="http://schemas.openxmlformats.org/officeDocument/2006/relationships/slideLayout" Target="../slideLayouts/slideLayout314.xml"/><Relationship Id="rId60" Type="http://schemas.openxmlformats.org/officeDocument/2006/relationships/slideLayout" Target="../slideLayouts/slideLayout322.xml"/><Relationship Id="rId65" Type="http://schemas.openxmlformats.org/officeDocument/2006/relationships/slideLayout" Target="../slideLayouts/slideLayout327.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39" Type="http://schemas.openxmlformats.org/officeDocument/2006/relationships/slideLayout" Target="../slideLayouts/slideLayout301.xml"/><Relationship Id="rId34" Type="http://schemas.openxmlformats.org/officeDocument/2006/relationships/slideLayout" Target="../slideLayouts/slideLayout296.xml"/><Relationship Id="rId50" Type="http://schemas.openxmlformats.org/officeDocument/2006/relationships/slideLayout" Target="../slideLayouts/slideLayout312.xml"/><Relationship Id="rId55" Type="http://schemas.openxmlformats.org/officeDocument/2006/relationships/slideLayout" Target="../slideLayouts/slideLayout31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9" Type="http://schemas.openxmlformats.org/officeDocument/2006/relationships/slideLayout" Target="../slideLayouts/slideLayout372.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42" Type="http://schemas.openxmlformats.org/officeDocument/2006/relationships/slideLayout" Target="../slideLayouts/slideLayout375.xml"/><Relationship Id="rId7" Type="http://schemas.openxmlformats.org/officeDocument/2006/relationships/slideLayout" Target="../slideLayouts/slideLayout34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40" Type="http://schemas.openxmlformats.org/officeDocument/2006/relationships/slideLayout" Target="../slideLayouts/slideLayout373.xml"/><Relationship Id="rId45" Type="http://schemas.openxmlformats.org/officeDocument/2006/relationships/theme" Target="../theme/theme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4" Type="http://schemas.openxmlformats.org/officeDocument/2006/relationships/slideLayout" Target="../slideLayouts/slideLayout377.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43" Type="http://schemas.openxmlformats.org/officeDocument/2006/relationships/slideLayout" Target="../slideLayouts/slideLayout376.xml"/><Relationship Id="rId8" Type="http://schemas.openxmlformats.org/officeDocument/2006/relationships/slideLayout" Target="../slideLayouts/slideLayout341.xml"/><Relationship Id="rId3" Type="http://schemas.openxmlformats.org/officeDocument/2006/relationships/slideLayout" Target="../slideLayouts/slideLayout336.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20" Type="http://schemas.openxmlformats.org/officeDocument/2006/relationships/slideLayout" Target="../slideLayouts/slideLayout353.xml"/><Relationship Id="rId41" Type="http://schemas.openxmlformats.org/officeDocument/2006/relationships/slideLayout" Target="../slideLayouts/slideLayout37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slideLayout" Target="../slideLayouts/slideLayout416.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42" Type="http://schemas.openxmlformats.org/officeDocument/2006/relationships/slideLayout" Target="../slideLayouts/slideLayout419.xml"/><Relationship Id="rId7" Type="http://schemas.openxmlformats.org/officeDocument/2006/relationships/slideLayout" Target="../slideLayouts/slideLayout38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slideLayout" Target="../slideLayouts/slideLayout417.xml"/><Relationship Id="rId45" Type="http://schemas.openxmlformats.org/officeDocument/2006/relationships/slideLayout" Target="../slideLayouts/slideLayout422.xml"/><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4" Type="http://schemas.openxmlformats.org/officeDocument/2006/relationships/slideLayout" Target="../slideLayouts/slideLayout421.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43" Type="http://schemas.openxmlformats.org/officeDocument/2006/relationships/slideLayout" Target="../slideLayouts/slideLayout420.xml"/><Relationship Id="rId8" Type="http://schemas.openxmlformats.org/officeDocument/2006/relationships/slideLayout" Target="../slideLayouts/slideLayout385.xml"/><Relationship Id="rId3" Type="http://schemas.openxmlformats.org/officeDocument/2006/relationships/slideLayout" Target="../slideLayouts/slideLayout380.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46" Type="http://schemas.openxmlformats.org/officeDocument/2006/relationships/theme" Target="../theme/theme8.xml"/><Relationship Id="rId20" Type="http://schemas.openxmlformats.org/officeDocument/2006/relationships/slideLayout" Target="../slideLayouts/slideLayout397.xml"/><Relationship Id="rId41" Type="http://schemas.openxmlformats.org/officeDocument/2006/relationships/slideLayout" Target="../slideLayouts/slideLayout41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9" Type="http://schemas.openxmlformats.org/officeDocument/2006/relationships/tags" Target="../tags/tag6.xml"/><Relationship Id="rId21" Type="http://schemas.openxmlformats.org/officeDocument/2006/relationships/slideLayout" Target="../slideLayouts/slideLayout443.xml"/><Relationship Id="rId34" Type="http://schemas.openxmlformats.org/officeDocument/2006/relationships/slideLayout" Target="../slideLayouts/slideLayout456.xml"/><Relationship Id="rId7" Type="http://schemas.openxmlformats.org/officeDocument/2006/relationships/slideLayout" Target="../slideLayouts/slideLayout429.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29" Type="http://schemas.openxmlformats.org/officeDocument/2006/relationships/slideLayout" Target="../slideLayouts/slideLayout451.xml"/><Relationship Id="rId41" Type="http://schemas.openxmlformats.org/officeDocument/2006/relationships/image" Target="../media/image41.emf"/><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32" Type="http://schemas.openxmlformats.org/officeDocument/2006/relationships/slideLayout" Target="../slideLayouts/slideLayout454.xml"/><Relationship Id="rId37" Type="http://schemas.openxmlformats.org/officeDocument/2006/relationships/slideLayout" Target="../slideLayouts/slideLayout459.xml"/><Relationship Id="rId40" Type="http://schemas.openxmlformats.org/officeDocument/2006/relationships/oleObject" Target="../embeddings/oleObject5.bin"/><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slideLayout" Target="../slideLayouts/slideLayout450.xml"/><Relationship Id="rId36" Type="http://schemas.openxmlformats.org/officeDocument/2006/relationships/slideLayout" Target="../slideLayouts/slideLayout458.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31" Type="http://schemas.openxmlformats.org/officeDocument/2006/relationships/slideLayout" Target="../slideLayouts/slideLayout453.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 Id="rId30" Type="http://schemas.openxmlformats.org/officeDocument/2006/relationships/slideLayout" Target="../slideLayouts/slideLayout452.xml"/><Relationship Id="rId35" Type="http://schemas.openxmlformats.org/officeDocument/2006/relationships/slideLayout" Target="../slideLayouts/slideLayout457.xml"/><Relationship Id="rId8" Type="http://schemas.openxmlformats.org/officeDocument/2006/relationships/slideLayout" Target="../slideLayouts/slideLayout430.xml"/><Relationship Id="rId3" Type="http://schemas.openxmlformats.org/officeDocument/2006/relationships/slideLayout" Target="../slideLayouts/slideLayout425.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33" Type="http://schemas.openxmlformats.org/officeDocument/2006/relationships/slideLayout" Target="../slideLayouts/slideLayout455.xml"/><Relationship Id="rId38"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8B8698-633C-BFCB-7AE0-14E15754D03D}"/>
              </a:ext>
            </a:extLst>
          </p:cNvPr>
          <p:cNvGraphicFramePr>
            <a:graphicFrameLocks noChangeAspect="1"/>
          </p:cNvGraphicFramePr>
          <p:nvPr userDrawn="1">
            <p:custDataLst>
              <p:tags r:id="rId44"/>
            </p:custDataLst>
            <p:extLst>
              <p:ext uri="{D42A27DB-BD31-4B8C-83A1-F6EECF244321}">
                <p14:modId xmlns:p14="http://schemas.microsoft.com/office/powerpoint/2010/main" val="293930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95" imgH="394" progId="TCLayout.ActiveDocument.1">
                  <p:embed/>
                </p:oleObj>
              </mc:Choice>
              <mc:Fallback>
                <p:oleObj name="think-cell Slide" r:id="rId45" imgW="395" imgH="394" progId="TCLayout.ActiveDocument.1">
                  <p:embed/>
                  <p:pic>
                    <p:nvPicPr>
                      <p:cNvPr id="2" name="Object 1" hidden="1">
                        <a:extLst>
                          <a:ext uri="{FF2B5EF4-FFF2-40B4-BE49-F238E27FC236}">
                            <a16:creationId xmlns:a16="http://schemas.microsoft.com/office/drawing/2014/main" id="{978B8698-633C-BFCB-7AE0-14E15754D03D}"/>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lumMod val="50000"/>
                  </a:schemeClr>
                </a:solidFill>
                <a:latin typeface="Calibri Light" panose="020F0302020204030204" pitchFamily="34" charset="0"/>
                <a:cs typeface="Arial" panose="020B0604020202020204" pitchFamily="34" charset="0"/>
              </a:rPr>
              <a:pPr/>
              <a:t>‹#›</a:t>
            </a:fld>
            <a:endParaRPr lang="en-GB" sz="1000" b="0" i="0" noProof="0">
              <a:solidFill>
                <a:schemeClr val="bg1">
                  <a:lumMod val="50000"/>
                </a:schemeClr>
              </a:solidFill>
              <a:latin typeface="Calibri Light" panose="020F0302020204030204" pitchFamily="34"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lumMod val="50000"/>
                  </a:schemeClr>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204955454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5" r:id="rId23"/>
    <p:sldLayoutId id="2147483876" r:id="rId24"/>
    <p:sldLayoutId id="2147483877" r:id="rId25"/>
    <p:sldLayoutId id="2147483878" r:id="rId26"/>
    <p:sldLayoutId id="2147483879" r:id="rId27"/>
    <p:sldLayoutId id="2147483892" r:id="rId28"/>
    <p:sldLayoutId id="2147483891"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924" r:id="rId39"/>
    <p:sldLayoutId id="2147483926" r:id="rId40"/>
    <p:sldLayoutId id="2147484108" r:id="rId41"/>
    <p:sldLayoutId id="2147484110" r:id="rId42"/>
  </p:sldLayoutIdLst>
  <p:hf hdr="0" dt="0"/>
  <p:txStyles>
    <p:title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guide id="8" pos="672" userDrawn="1">
          <p15:clr>
            <a:srgbClr val="F26B43"/>
          </p15:clr>
        </p15:guide>
        <p15:guide id="9" orient="horz" pos="432" userDrawn="1">
          <p15:clr>
            <a:srgbClr val="F26B43"/>
          </p15:clr>
        </p15:guide>
        <p15:guide id="10" orient="horz" pos="33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rmAutofit/>
          </a:bodyPr>
          <a:lstStyle/>
          <a:p>
            <a:r>
              <a:rPr lang="en-US" noProof="0"/>
              <a:t>Click to edit Master title style</a:t>
            </a:r>
            <a:endParaRPr lang="en-US" noProof="0" dirty="0"/>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US" noProof="0" dirty="0"/>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887711619"/>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388" r:id="rId25"/>
    <p:sldLayoutId id="2147484389" r:id="rId26"/>
    <p:sldLayoutId id="2147484390" r:id="rId27"/>
    <p:sldLayoutId id="2147484391" r:id="rId28"/>
    <p:sldLayoutId id="2147484392" r:id="rId29"/>
    <p:sldLayoutId id="2147484393" r:id="rId30"/>
    <p:sldLayoutId id="2147484394" r:id="rId31"/>
    <p:sldLayoutId id="2147484395" r:id="rId32"/>
    <p:sldLayoutId id="2147484396" r:id="rId33"/>
    <p:sldLayoutId id="2147484397" r:id="rId34"/>
    <p:sldLayoutId id="2147484398" r:id="rId35"/>
    <p:sldLayoutId id="2147484399" r:id="rId36"/>
    <p:sldLayoutId id="2147484400" r:id="rId37"/>
    <p:sldLayoutId id="2147484401" r:id="rId38"/>
    <p:sldLayoutId id="2147484402" r:id="rId39"/>
    <p:sldLayoutId id="2147484403" r:id="rId40"/>
    <p:sldLayoutId id="2147484404" r:id="rId41"/>
    <p:sldLayoutId id="2147484405" r:id="rId42"/>
    <p:sldLayoutId id="2147484406" r:id="rId43"/>
    <p:sldLayoutId id="2147484407" r:id="rId44"/>
    <p:sldLayoutId id="2147484408" r:id="rId45"/>
    <p:sldLayoutId id="2147484409" r:id="rId46"/>
    <p:sldLayoutId id="2147484410" r:id="rId47"/>
    <p:sldLayoutId id="2147484418" r:id="rId48"/>
    <p:sldLayoutId id="2147484419" r:id="rId49"/>
    <p:sldLayoutId id="2147484420" r:id="rId50"/>
    <p:sldLayoutId id="2147484429" r:id="rId51"/>
    <p:sldLayoutId id="2147484430" r:id="rId52"/>
    <p:sldLayoutId id="2147484431" r:id="rId53"/>
    <p:sldLayoutId id="2147484432" r:id="rId54"/>
    <p:sldLayoutId id="2147484433" r:id="rId55"/>
  </p:sldLayoutIdLst>
  <p:hf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B35444-388A-34FC-FAD3-3B1BC8791C31}"/>
              </a:ext>
            </a:extLst>
          </p:cNvPr>
          <p:cNvGraphicFramePr>
            <a:graphicFrameLocks noChangeAspect="1"/>
          </p:cNvGraphicFramePr>
          <p:nvPr userDrawn="1">
            <p:custDataLst>
              <p:tags r:id="rId19"/>
            </p:custDataLst>
            <p:extLst>
              <p:ext uri="{D42A27DB-BD31-4B8C-83A1-F6EECF244321}">
                <p14:modId xmlns:p14="http://schemas.microsoft.com/office/powerpoint/2010/main" val="608280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2" name="Object 1" hidden="1">
                        <a:extLst>
                          <a:ext uri="{FF2B5EF4-FFF2-40B4-BE49-F238E27FC236}">
                            <a16:creationId xmlns:a16="http://schemas.microsoft.com/office/drawing/2014/main" id="{80B35444-388A-34FC-FAD3-3B1BC8791C31}"/>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7" name="CuadroTexto 10">
            <a:extLst>
              <a:ext uri="{FF2B5EF4-FFF2-40B4-BE49-F238E27FC236}">
                <a16:creationId xmlns:a16="http://schemas.microsoft.com/office/drawing/2014/main" id="{3F622A63-850A-4A90-AA16-89D90CA89A60}"/>
              </a:ext>
            </a:extLst>
          </p:cNvPr>
          <p:cNvSpPr txBox="1"/>
          <p:nvPr userDrawn="1"/>
        </p:nvSpPr>
        <p:spPr>
          <a:xfrm rot="16200000">
            <a:off x="82389" y="235951"/>
            <a:ext cx="348407" cy="246221"/>
          </a:xfrm>
          <a:prstGeom prst="rect">
            <a:avLst/>
          </a:prstGeom>
          <a:noFill/>
        </p:spPr>
        <p:txBody>
          <a:bodyPr wrap="square" rtlCol="0">
            <a:spAutoFit/>
          </a:bodyPr>
          <a:lstStyle/>
          <a:p>
            <a:fld id="{E57627FB-D816-4EA7-98E3-793F2D9BC93A}" type="slidenum">
              <a:rPr lang="en-GB" sz="1000" noProof="0" smtClean="0">
                <a:solidFill>
                  <a:schemeClr val="tx2"/>
                </a:solidFill>
                <a:latin typeface="Arial" panose="020B0604020202020204" pitchFamily="34" charset="0"/>
                <a:cs typeface="Arial" panose="020B0604020202020204" pitchFamily="34" charset="0"/>
              </a:rPr>
              <a:pPr/>
              <a:t>‹#›</a:t>
            </a:fld>
            <a:endParaRPr lang="en-GB" sz="1000" noProof="0">
              <a:solidFill>
                <a:schemeClr val="tx2"/>
              </a:solidFill>
              <a:latin typeface="Arial" panose="020B0604020202020204" pitchFamily="34" charset="0"/>
              <a:cs typeface="Arial" panose="020B0604020202020204" pitchFamily="34" charset="0"/>
            </a:endParaRPr>
          </a:p>
        </p:txBody>
      </p:sp>
      <p:sp>
        <p:nvSpPr>
          <p:cNvPr id="10" name="CuadroTexto 16">
            <a:extLst>
              <a:ext uri="{FF2B5EF4-FFF2-40B4-BE49-F238E27FC236}">
                <a16:creationId xmlns:a16="http://schemas.microsoft.com/office/drawing/2014/main" id="{B5E6DB27-156D-4706-BD20-0FA8BE8B0D2A}"/>
              </a:ext>
            </a:extLst>
          </p:cNvPr>
          <p:cNvSpPr txBox="1"/>
          <p:nvPr userDrawn="1"/>
        </p:nvSpPr>
        <p:spPr>
          <a:xfrm rot="16200000">
            <a:off x="-916450" y="3151882"/>
            <a:ext cx="2341782" cy="246221"/>
          </a:xfrm>
          <a:prstGeom prst="rect">
            <a:avLst/>
          </a:prstGeom>
          <a:noFill/>
        </p:spPr>
        <p:txBody>
          <a:bodyPr wrap="square" rtlCol="0">
            <a:spAutoFit/>
          </a:bodyPr>
          <a:lstStyle/>
          <a:p>
            <a:pPr algn="ctr"/>
            <a:r>
              <a:rPr lang="es-ES" sz="1000">
                <a:solidFill>
                  <a:schemeClr val="tx2"/>
                </a:solidFill>
                <a:latin typeface="Arial" panose="020B0604020202020204" pitchFamily="34" charset="0"/>
                <a:cs typeface="Arial" panose="020B0604020202020204" pitchFamily="34" charset="0"/>
              </a:rPr>
              <a:t>CONFIDENTIAL DOCUMENT</a:t>
            </a:r>
          </a:p>
        </p:txBody>
      </p:sp>
      <p:cxnSp>
        <p:nvCxnSpPr>
          <p:cNvPr id="11" name="Conector recto 18">
            <a:extLst>
              <a:ext uri="{FF2B5EF4-FFF2-40B4-BE49-F238E27FC236}">
                <a16:creationId xmlns:a16="http://schemas.microsoft.com/office/drawing/2014/main" id="{4C6900BA-1EAE-4359-9FA8-19BB95778FB0}"/>
              </a:ext>
            </a:extLst>
          </p:cNvPr>
          <p:cNvCxnSpPr>
            <a:cxnSpLocks/>
          </p:cNvCxnSpPr>
          <p:nvPr userDrawn="1"/>
        </p:nvCxnSpPr>
        <p:spPr>
          <a:xfrm>
            <a:off x="513184" y="261257"/>
            <a:ext cx="0" cy="6327910"/>
          </a:xfrm>
          <a:prstGeom prst="line">
            <a:avLst/>
          </a:prstGeom>
          <a:ln w="9525">
            <a:solidFill>
              <a:srgbClr val="005EB8"/>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68FAB4EA-452A-4B09-821B-AE16CFFD7E51}"/>
              </a:ext>
            </a:extLst>
          </p:cNvPr>
          <p:cNvSpPr>
            <a:spLocks noGrp="1"/>
          </p:cNvSpPr>
          <p:nvPr>
            <p:ph type="ftr" sz="quarter" idx="3"/>
          </p:nvPr>
        </p:nvSpPr>
        <p:spPr>
          <a:xfrm rot="16200000">
            <a:off x="10404203" y="4900095"/>
            <a:ext cx="3086100" cy="226487"/>
          </a:xfrm>
          <a:prstGeom prst="rect">
            <a:avLst/>
          </a:prstGeom>
        </p:spPr>
        <p:txBody>
          <a:bodyPr vert="horz" lIns="91440" tIns="45720" rIns="91440" bIns="45720" rtlCol="0" anchor="ctr"/>
          <a:lstStyle>
            <a:lvl1pPr algn="l">
              <a:defRPr sz="700">
                <a:solidFill>
                  <a:schemeClr val="tx2"/>
                </a:solidFill>
                <a:latin typeface="Arial" panose="020B0604020202020204" pitchFamily="34" charset="0"/>
                <a:cs typeface="Arial" panose="020B0604020202020204" pitchFamily="34" charset="0"/>
              </a:defRPr>
            </a:lvl1pPr>
          </a:lstStyle>
          <a:p>
            <a:r>
              <a:rPr lang="en-GB"/>
              <a:t>© Amadeus IT Group and its affiliates and subsidiaries</a:t>
            </a:r>
          </a:p>
        </p:txBody>
      </p:sp>
      <p:sp>
        <p:nvSpPr>
          <p:cNvPr id="13" name="Freeform 5">
            <a:extLst>
              <a:ext uri="{FF2B5EF4-FFF2-40B4-BE49-F238E27FC236}">
                <a16:creationId xmlns:a16="http://schemas.microsoft.com/office/drawing/2014/main" id="{C34C1320-4B0C-4B05-BAF9-B79297CDF9D0}"/>
              </a:ext>
            </a:extLst>
          </p:cNvPr>
          <p:cNvSpPr>
            <a:spLocks noEditPoints="1"/>
          </p:cNvSpPr>
          <p:nvPr userDrawn="1"/>
        </p:nvSpPr>
        <p:spPr bwMode="auto">
          <a:xfrm rot="16200000">
            <a:off x="-107101" y="6166665"/>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1291807157"/>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2" r:id="rId16"/>
    <p:sldLayoutId id="2147484454" r:id="rId17"/>
  </p:sldLayoutIdLst>
  <p:hf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65941" y="373627"/>
            <a:ext cx="11468947" cy="461665"/>
          </a:xfrm>
          <a:prstGeom prst="rect">
            <a:avLst/>
          </a:prstGeom>
        </p:spPr>
        <p:txBody>
          <a:bodyPr wrap="square" lIns="0" tIns="0" rIns="0" bIns="0">
            <a:spAutoFit/>
          </a:bodyPr>
          <a:lstStyle>
            <a:lvl1pPr>
              <a:defRPr sz="3000" b="1" i="0">
                <a:solidFill>
                  <a:srgbClr val="005EB8"/>
                </a:solidFill>
                <a:latin typeface="Calibri"/>
                <a:cs typeface="Calibri"/>
              </a:defRPr>
            </a:lvl1pPr>
          </a:lstStyle>
          <a:p>
            <a:endParaRPr/>
          </a:p>
        </p:txBody>
      </p:sp>
      <p:sp>
        <p:nvSpPr>
          <p:cNvPr id="3" name="Holder 3"/>
          <p:cNvSpPr>
            <a:spLocks noGrp="1"/>
          </p:cNvSpPr>
          <p:nvPr>
            <p:ph type="body" idx="1"/>
          </p:nvPr>
        </p:nvSpPr>
        <p:spPr>
          <a:xfrm>
            <a:off x="691391" y="1721286"/>
            <a:ext cx="517398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3/2023</a:t>
            </a:fld>
            <a:endParaRPr lang="en-US"/>
          </a:p>
        </p:txBody>
      </p:sp>
      <p:sp>
        <p:nvSpPr>
          <p:cNvPr id="6" name="Holder 6"/>
          <p:cNvSpPr>
            <a:spLocks noGrp="1"/>
          </p:cNvSpPr>
          <p:nvPr>
            <p:ph type="sldNum" sz="quarter" idx="7"/>
          </p:nvPr>
        </p:nvSpPr>
        <p:spPr>
          <a:xfrm>
            <a:off x="201069" y="6541372"/>
            <a:ext cx="324272" cy="141898"/>
          </a:xfrm>
          <a:prstGeom prst="rect">
            <a:avLst/>
          </a:prstGeom>
        </p:spPr>
        <p:txBody>
          <a:bodyPr wrap="square" lIns="0" tIns="0" rIns="0" bIns="0">
            <a:spAutoFit/>
          </a:bodyPr>
          <a:lstStyle>
            <a:lvl1pPr>
              <a:defRPr sz="1067" b="0" i="0">
                <a:solidFill>
                  <a:srgbClr val="005EB8"/>
                </a:solidFill>
                <a:latin typeface="Calibri"/>
                <a:cs typeface="Calibri"/>
              </a:defRPr>
            </a:lvl1pPr>
          </a:lstStyle>
          <a:p>
            <a:pPr marL="50799">
              <a:lnSpc>
                <a:spcPts val="1147"/>
              </a:lnSpc>
            </a:pPr>
            <a:fld id="{81D60167-4931-47E6-BA6A-407CBD079E47}" type="slidenum">
              <a:rPr lang="es-CL" spc="-33" smtClean="0"/>
              <a:pPr marL="50799">
                <a:lnSpc>
                  <a:spcPts val="1147"/>
                </a:lnSpc>
              </a:pPr>
              <a:t>‹#›</a:t>
            </a:fld>
            <a:endParaRPr lang="es-CL" spc="-33"/>
          </a:p>
        </p:txBody>
      </p:sp>
    </p:spTree>
    <p:extLst>
      <p:ext uri="{BB962C8B-B14F-4D97-AF65-F5344CB8AC3E}">
        <p14:creationId xmlns:p14="http://schemas.microsoft.com/office/powerpoint/2010/main" val="2348713539"/>
      </p:ext>
    </p:extLst>
  </p:cSld>
  <p:clrMap bg1="lt1" tx1="dk1" bg2="lt2" tx2="dk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507" r:id="rId6"/>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8B8698-633C-BFCB-7AE0-14E15754D03D}"/>
              </a:ext>
            </a:extLst>
          </p:cNvPr>
          <p:cNvGraphicFramePr>
            <a:graphicFrameLocks noChangeAspect="1"/>
          </p:cNvGraphicFramePr>
          <p:nvPr userDrawn="1">
            <p:custDataLst>
              <p:tags r:id="rId46"/>
            </p:custDataLst>
            <p:extLst>
              <p:ext uri="{D42A27DB-BD31-4B8C-83A1-F6EECF244321}">
                <p14:modId xmlns:p14="http://schemas.microsoft.com/office/powerpoint/2010/main" val="293930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4" progId="TCLayout.ActiveDocument.1">
                  <p:embed/>
                </p:oleObj>
              </mc:Choice>
              <mc:Fallback>
                <p:oleObj name="think-cell Slide" r:id="rId47" imgW="395" imgH="394" progId="TCLayout.ActiveDocument.1">
                  <p:embed/>
                  <p:pic>
                    <p:nvPicPr>
                      <p:cNvPr id="2" name="Object 1" hidden="1">
                        <a:extLst>
                          <a:ext uri="{FF2B5EF4-FFF2-40B4-BE49-F238E27FC236}">
                            <a16:creationId xmlns:a16="http://schemas.microsoft.com/office/drawing/2014/main" id="{978B8698-633C-BFCB-7AE0-14E15754D03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lumMod val="50000"/>
                  </a:schemeClr>
                </a:solidFill>
                <a:latin typeface="Calibri Light" panose="020F0302020204030204" pitchFamily="34" charset="0"/>
                <a:cs typeface="Arial" panose="020B0604020202020204" pitchFamily="34" charset="0"/>
              </a:rPr>
              <a:pPr/>
              <a:t>‹#›</a:t>
            </a:fld>
            <a:endParaRPr lang="en-GB" sz="1000" b="0" i="0" noProof="0">
              <a:solidFill>
                <a:schemeClr val="bg1">
                  <a:lumMod val="50000"/>
                </a:schemeClr>
              </a:solidFill>
              <a:latin typeface="Calibri Light" panose="020F0302020204030204" pitchFamily="34"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lumMod val="50000"/>
                  </a:schemeClr>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3774473390"/>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 id="2147484481" r:id="rId20"/>
    <p:sldLayoutId id="2147484482" r:id="rId21"/>
    <p:sldLayoutId id="2147484483" r:id="rId22"/>
    <p:sldLayoutId id="2147484484" r:id="rId23"/>
    <p:sldLayoutId id="2147484485" r:id="rId24"/>
    <p:sldLayoutId id="2147484486" r:id="rId25"/>
    <p:sldLayoutId id="2147484487" r:id="rId26"/>
    <p:sldLayoutId id="2147484488" r:id="rId27"/>
    <p:sldLayoutId id="2147484489" r:id="rId28"/>
    <p:sldLayoutId id="2147484490" r:id="rId29"/>
    <p:sldLayoutId id="2147484491" r:id="rId30"/>
    <p:sldLayoutId id="2147484492" r:id="rId31"/>
    <p:sldLayoutId id="2147484493" r:id="rId32"/>
    <p:sldLayoutId id="2147484494" r:id="rId33"/>
    <p:sldLayoutId id="2147484495" r:id="rId34"/>
    <p:sldLayoutId id="2147484496" r:id="rId35"/>
    <p:sldLayoutId id="2147484497" r:id="rId36"/>
    <p:sldLayoutId id="2147484498" r:id="rId37"/>
    <p:sldLayoutId id="2147484499" r:id="rId38"/>
    <p:sldLayoutId id="2147484500" r:id="rId39"/>
    <p:sldLayoutId id="2147484501" r:id="rId40"/>
    <p:sldLayoutId id="2147484502" r:id="rId41"/>
    <p:sldLayoutId id="2147484504" r:id="rId42"/>
    <p:sldLayoutId id="2147484505" r:id="rId43"/>
    <p:sldLayoutId id="2147484506" r:id="rId44"/>
  </p:sldLayoutIdLst>
  <p:hf hdr="0" dt="0"/>
  <p:txStyles>
    <p:title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guide id="8" pos="672">
          <p15:clr>
            <a:srgbClr val="F26B43"/>
          </p15:clr>
        </p15:guide>
        <p15:guide id="9" orient="horz" pos="432">
          <p15:clr>
            <a:srgbClr val="F26B43"/>
          </p15:clr>
        </p15:guide>
        <p15:guide id="10" orient="horz" pos="33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8B8698-633C-BFCB-7AE0-14E15754D03D}"/>
              </a:ext>
            </a:extLst>
          </p:cNvPr>
          <p:cNvGraphicFramePr>
            <a:graphicFrameLocks noChangeAspect="1"/>
          </p:cNvGraphicFramePr>
          <p:nvPr userDrawn="1">
            <p:custDataLst>
              <p:tags r:id="rId47"/>
            </p:custDataLst>
            <p:extLst>
              <p:ext uri="{D42A27DB-BD31-4B8C-83A1-F6EECF244321}">
                <p14:modId xmlns:p14="http://schemas.microsoft.com/office/powerpoint/2010/main" val="293930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4" progId="TCLayout.ActiveDocument.1">
                  <p:embed/>
                </p:oleObj>
              </mc:Choice>
              <mc:Fallback>
                <p:oleObj name="think-cell Slide" r:id="rId48" imgW="395" imgH="394" progId="TCLayout.ActiveDocument.1">
                  <p:embed/>
                  <p:pic>
                    <p:nvPicPr>
                      <p:cNvPr id="2" name="Object 1" hidden="1">
                        <a:extLst>
                          <a:ext uri="{FF2B5EF4-FFF2-40B4-BE49-F238E27FC236}">
                            <a16:creationId xmlns:a16="http://schemas.microsoft.com/office/drawing/2014/main" id="{978B8698-633C-BFCB-7AE0-14E15754D03D}"/>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lumMod val="50000"/>
                  </a:schemeClr>
                </a:solidFill>
                <a:latin typeface="Calibri Light" panose="020F0302020204030204" pitchFamily="34" charset="0"/>
                <a:cs typeface="Arial" panose="020B0604020202020204" pitchFamily="34" charset="0"/>
              </a:rPr>
              <a:pPr/>
              <a:t>‹#›</a:t>
            </a:fld>
            <a:endParaRPr lang="en-GB" sz="1000" b="0" i="0" noProof="0">
              <a:solidFill>
                <a:schemeClr val="bg1">
                  <a:lumMod val="50000"/>
                </a:schemeClr>
              </a:solidFill>
              <a:latin typeface="Calibri Light" panose="020F0302020204030204" pitchFamily="34"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lumMod val="50000"/>
                  </a:schemeClr>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21964291"/>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 id="2147484554" r:id="rId45"/>
  </p:sldLayoutIdLst>
  <p:hf hdr="0" dt="0"/>
  <p:txStyles>
    <p:title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guide id="8" pos="672">
          <p15:clr>
            <a:srgbClr val="F26B43"/>
          </p15:clr>
        </p15:guide>
        <p15:guide id="9" orient="horz" pos="432">
          <p15:clr>
            <a:srgbClr val="F26B43"/>
          </p15:clr>
        </p15:guide>
        <p15:guide id="10" orient="horz" pos="3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F74292-3F1B-193E-9501-3C896C3B9357}"/>
              </a:ext>
            </a:extLst>
          </p:cNvPr>
          <p:cNvGraphicFramePr>
            <a:graphicFrameLocks noChangeAspect="1"/>
          </p:cNvGraphicFramePr>
          <p:nvPr userDrawn="1">
            <p:custDataLst>
              <p:tags r:id="rId19"/>
            </p:custDataLst>
            <p:extLst>
              <p:ext uri="{D42A27DB-BD31-4B8C-83A1-F6EECF244321}">
                <p14:modId xmlns:p14="http://schemas.microsoft.com/office/powerpoint/2010/main" val="149653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2" name="Object 1" hidden="1">
                        <a:extLst>
                          <a:ext uri="{FF2B5EF4-FFF2-40B4-BE49-F238E27FC236}">
                            <a16:creationId xmlns:a16="http://schemas.microsoft.com/office/drawing/2014/main" id="{52F74292-3F1B-193E-9501-3C896C3B935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CuadroTexto 10">
            <a:extLst>
              <a:ext uri="{FF2B5EF4-FFF2-40B4-BE49-F238E27FC236}">
                <a16:creationId xmlns:a16="http://schemas.microsoft.com/office/drawing/2014/main" id="{3F622A63-850A-4A90-AA16-89D90CA89A60}"/>
              </a:ext>
            </a:extLst>
          </p:cNvPr>
          <p:cNvSpPr txBox="1"/>
          <p:nvPr userDrawn="1"/>
        </p:nvSpPr>
        <p:spPr>
          <a:xfrm rot="16200000">
            <a:off x="82389" y="235951"/>
            <a:ext cx="348407" cy="246221"/>
          </a:xfrm>
          <a:prstGeom prst="rect">
            <a:avLst/>
          </a:prstGeom>
          <a:noFill/>
        </p:spPr>
        <p:txBody>
          <a:bodyPr wrap="square" rtlCol="0">
            <a:spAutoFit/>
          </a:bodyPr>
          <a:lstStyle/>
          <a:p>
            <a:fld id="{E57627FB-D816-4EA7-98E3-793F2D9BC93A}" type="slidenum">
              <a:rPr lang="en-GB" sz="1000" noProof="0" smtClean="0">
                <a:solidFill>
                  <a:schemeClr val="tx2"/>
                </a:solidFill>
                <a:latin typeface="Arial" panose="020B0604020202020204" pitchFamily="34" charset="0"/>
                <a:cs typeface="Arial" panose="020B0604020202020204" pitchFamily="34" charset="0"/>
              </a:rPr>
              <a:pPr/>
              <a:t>‹#›</a:t>
            </a:fld>
            <a:endParaRPr lang="en-GB" sz="1000" noProof="0">
              <a:solidFill>
                <a:schemeClr val="tx2"/>
              </a:solidFill>
              <a:latin typeface="Arial" panose="020B0604020202020204" pitchFamily="34" charset="0"/>
              <a:cs typeface="Arial" panose="020B0604020202020204" pitchFamily="34" charset="0"/>
            </a:endParaRPr>
          </a:p>
        </p:txBody>
      </p:sp>
      <p:sp>
        <p:nvSpPr>
          <p:cNvPr id="10" name="CuadroTexto 16">
            <a:extLst>
              <a:ext uri="{FF2B5EF4-FFF2-40B4-BE49-F238E27FC236}">
                <a16:creationId xmlns:a16="http://schemas.microsoft.com/office/drawing/2014/main" id="{B5E6DB27-156D-4706-BD20-0FA8BE8B0D2A}"/>
              </a:ext>
            </a:extLst>
          </p:cNvPr>
          <p:cNvSpPr txBox="1"/>
          <p:nvPr userDrawn="1"/>
        </p:nvSpPr>
        <p:spPr>
          <a:xfrm rot="16200000">
            <a:off x="-916450" y="3151882"/>
            <a:ext cx="2341782" cy="246221"/>
          </a:xfrm>
          <a:prstGeom prst="rect">
            <a:avLst/>
          </a:prstGeom>
          <a:noFill/>
        </p:spPr>
        <p:txBody>
          <a:bodyPr wrap="square" rtlCol="0">
            <a:spAutoFit/>
          </a:bodyPr>
          <a:lstStyle/>
          <a:p>
            <a:pPr algn="ctr"/>
            <a:r>
              <a:rPr lang="es-ES" sz="1000">
                <a:solidFill>
                  <a:schemeClr val="tx2"/>
                </a:solidFill>
                <a:latin typeface="Arial" panose="020B0604020202020204" pitchFamily="34" charset="0"/>
                <a:cs typeface="Arial" panose="020B0604020202020204" pitchFamily="34" charset="0"/>
              </a:rPr>
              <a:t>CONFIDENTIAL DOCUMENT</a:t>
            </a:r>
          </a:p>
        </p:txBody>
      </p:sp>
      <p:cxnSp>
        <p:nvCxnSpPr>
          <p:cNvPr id="11" name="Conector recto 18">
            <a:extLst>
              <a:ext uri="{FF2B5EF4-FFF2-40B4-BE49-F238E27FC236}">
                <a16:creationId xmlns:a16="http://schemas.microsoft.com/office/drawing/2014/main" id="{4C6900BA-1EAE-4359-9FA8-19BB95778FB0}"/>
              </a:ext>
            </a:extLst>
          </p:cNvPr>
          <p:cNvCxnSpPr>
            <a:cxnSpLocks/>
          </p:cNvCxnSpPr>
          <p:nvPr userDrawn="1"/>
        </p:nvCxnSpPr>
        <p:spPr>
          <a:xfrm>
            <a:off x="513184" y="261257"/>
            <a:ext cx="0" cy="6327910"/>
          </a:xfrm>
          <a:prstGeom prst="line">
            <a:avLst/>
          </a:prstGeom>
          <a:ln w="9525">
            <a:solidFill>
              <a:srgbClr val="005EB8"/>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68FAB4EA-452A-4B09-821B-AE16CFFD7E51}"/>
              </a:ext>
            </a:extLst>
          </p:cNvPr>
          <p:cNvSpPr>
            <a:spLocks noGrp="1"/>
          </p:cNvSpPr>
          <p:nvPr>
            <p:ph type="ftr" sz="quarter" idx="3"/>
          </p:nvPr>
        </p:nvSpPr>
        <p:spPr>
          <a:xfrm rot="16200000">
            <a:off x="10404203" y="4900095"/>
            <a:ext cx="3086100" cy="226487"/>
          </a:xfrm>
          <a:prstGeom prst="rect">
            <a:avLst/>
          </a:prstGeom>
        </p:spPr>
        <p:txBody>
          <a:bodyPr vert="horz" lIns="91440" tIns="45720" rIns="91440" bIns="45720" rtlCol="0" anchor="ctr"/>
          <a:lstStyle>
            <a:lvl1pPr algn="l">
              <a:defRPr sz="700">
                <a:solidFill>
                  <a:schemeClr val="tx2"/>
                </a:solidFill>
                <a:latin typeface="Arial" panose="020B0604020202020204" pitchFamily="34" charset="0"/>
                <a:cs typeface="Arial" panose="020B0604020202020204" pitchFamily="34" charset="0"/>
              </a:defRPr>
            </a:lvl1pPr>
          </a:lstStyle>
          <a:p>
            <a:r>
              <a:rPr lang="en-GB"/>
              <a:t>© Amadeus IT Group and its affiliates and subsidiaries</a:t>
            </a:r>
          </a:p>
        </p:txBody>
      </p:sp>
      <p:sp>
        <p:nvSpPr>
          <p:cNvPr id="13" name="Freeform 5">
            <a:extLst>
              <a:ext uri="{FF2B5EF4-FFF2-40B4-BE49-F238E27FC236}">
                <a16:creationId xmlns:a16="http://schemas.microsoft.com/office/drawing/2014/main" id="{C34C1320-4B0C-4B05-BAF9-B79297CDF9D0}"/>
              </a:ext>
            </a:extLst>
          </p:cNvPr>
          <p:cNvSpPr>
            <a:spLocks noEditPoints="1"/>
          </p:cNvSpPr>
          <p:nvPr userDrawn="1"/>
        </p:nvSpPr>
        <p:spPr bwMode="auto">
          <a:xfrm rot="16200000">
            <a:off x="-107101" y="6166665"/>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4125763439"/>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6" r:id="rId16"/>
    <p:sldLayoutId id="2147483917" r:id="rId17"/>
  </p:sldLayoutIdLst>
  <p:hf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8" pos="624">
          <p15:clr>
            <a:srgbClr val="F26B43"/>
          </p15:clr>
        </p15:guide>
        <p15:guide id="9" orient="horz" pos="4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195E39-605D-1FE6-D656-0E9E0AD525B9}"/>
              </a:ext>
            </a:extLst>
          </p:cNvPr>
          <p:cNvGraphicFramePr>
            <a:graphicFrameLocks noChangeAspect="1"/>
          </p:cNvGraphicFramePr>
          <p:nvPr userDrawn="1">
            <p:custDataLst>
              <p:tags r:id="rId119"/>
            </p:custDataLst>
            <p:extLst>
              <p:ext uri="{D42A27DB-BD31-4B8C-83A1-F6EECF244321}">
                <p14:modId xmlns:p14="http://schemas.microsoft.com/office/powerpoint/2010/main" val="98862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0" imgW="395" imgH="394" progId="TCLayout.ActiveDocument.1">
                  <p:embed/>
                </p:oleObj>
              </mc:Choice>
              <mc:Fallback>
                <p:oleObj name="think-cell Slide" r:id="rId120" imgW="395" imgH="394" progId="TCLayout.ActiveDocument.1">
                  <p:embed/>
                  <p:pic>
                    <p:nvPicPr>
                      <p:cNvPr id="2" name="Object 1" hidden="1">
                        <a:extLst>
                          <a:ext uri="{FF2B5EF4-FFF2-40B4-BE49-F238E27FC236}">
                            <a16:creationId xmlns:a16="http://schemas.microsoft.com/office/drawing/2014/main" id="{B5195E39-605D-1FE6-D656-0E9E0AD525B9}"/>
                          </a:ext>
                        </a:extLst>
                      </p:cNvPr>
                      <p:cNvPicPr/>
                      <p:nvPr/>
                    </p:nvPicPr>
                    <p:blipFill>
                      <a:blip r:embed="rId1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8093776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 id="2147483964" r:id="rId29"/>
    <p:sldLayoutId id="2147483965" r:id="rId30"/>
    <p:sldLayoutId id="2147483966" r:id="rId31"/>
    <p:sldLayoutId id="2147483967" r:id="rId32"/>
    <p:sldLayoutId id="2147483968" r:id="rId33"/>
    <p:sldLayoutId id="2147483969" r:id="rId34"/>
    <p:sldLayoutId id="2147483970" r:id="rId35"/>
    <p:sldLayoutId id="2147483971" r:id="rId36"/>
    <p:sldLayoutId id="2147483972" r:id="rId37"/>
    <p:sldLayoutId id="2147483973" r:id="rId38"/>
    <p:sldLayoutId id="2147483974" r:id="rId39"/>
    <p:sldLayoutId id="2147483975" r:id="rId40"/>
    <p:sldLayoutId id="2147483976" r:id="rId41"/>
    <p:sldLayoutId id="2147483977" r:id="rId42"/>
    <p:sldLayoutId id="2147483978" r:id="rId43"/>
    <p:sldLayoutId id="2147483979" r:id="rId44"/>
    <p:sldLayoutId id="2147483980" r:id="rId45"/>
    <p:sldLayoutId id="2147483981" r:id="rId46"/>
    <p:sldLayoutId id="2147483982" r:id="rId47"/>
    <p:sldLayoutId id="2147483983" r:id="rId48"/>
    <p:sldLayoutId id="2147483984" r:id="rId49"/>
    <p:sldLayoutId id="2147483985" r:id="rId50"/>
    <p:sldLayoutId id="2147483986" r:id="rId51"/>
    <p:sldLayoutId id="2147483987" r:id="rId52"/>
    <p:sldLayoutId id="2147483988" r:id="rId53"/>
    <p:sldLayoutId id="2147483989" r:id="rId54"/>
    <p:sldLayoutId id="2147483990" r:id="rId55"/>
    <p:sldLayoutId id="2147483991" r:id="rId56"/>
    <p:sldLayoutId id="2147483992" r:id="rId57"/>
    <p:sldLayoutId id="2147483993" r:id="rId58"/>
    <p:sldLayoutId id="2147483994" r:id="rId59"/>
    <p:sldLayoutId id="2147483995" r:id="rId60"/>
    <p:sldLayoutId id="2147483996" r:id="rId61"/>
    <p:sldLayoutId id="2147483997" r:id="rId62"/>
    <p:sldLayoutId id="2147483998" r:id="rId63"/>
    <p:sldLayoutId id="2147483999" r:id="rId64"/>
    <p:sldLayoutId id="2147484000" r:id="rId65"/>
    <p:sldLayoutId id="2147484001" r:id="rId66"/>
    <p:sldLayoutId id="2147484002" r:id="rId67"/>
    <p:sldLayoutId id="2147484003" r:id="rId68"/>
    <p:sldLayoutId id="2147484004" r:id="rId69"/>
    <p:sldLayoutId id="2147484005" r:id="rId70"/>
    <p:sldLayoutId id="2147484006" r:id="rId71"/>
    <p:sldLayoutId id="2147484007" r:id="rId72"/>
    <p:sldLayoutId id="2147484008" r:id="rId73"/>
    <p:sldLayoutId id="2147484009" r:id="rId74"/>
    <p:sldLayoutId id="2147484010" r:id="rId75"/>
    <p:sldLayoutId id="2147484011" r:id="rId76"/>
    <p:sldLayoutId id="2147484012" r:id="rId77"/>
    <p:sldLayoutId id="2147484013" r:id="rId78"/>
    <p:sldLayoutId id="2147484014" r:id="rId79"/>
    <p:sldLayoutId id="2147484015" r:id="rId80"/>
    <p:sldLayoutId id="2147484016" r:id="rId81"/>
    <p:sldLayoutId id="2147484017" r:id="rId82"/>
    <p:sldLayoutId id="2147484018" r:id="rId83"/>
    <p:sldLayoutId id="2147484019" r:id="rId84"/>
    <p:sldLayoutId id="2147484020" r:id="rId85"/>
    <p:sldLayoutId id="2147484021" r:id="rId86"/>
    <p:sldLayoutId id="2147484022" r:id="rId87"/>
    <p:sldLayoutId id="2147484023" r:id="rId88"/>
    <p:sldLayoutId id="2147484024" r:id="rId89"/>
    <p:sldLayoutId id="2147484025" r:id="rId90"/>
    <p:sldLayoutId id="2147484026" r:id="rId91"/>
    <p:sldLayoutId id="2147484027" r:id="rId92"/>
    <p:sldLayoutId id="2147484028" r:id="rId93"/>
    <p:sldLayoutId id="2147484029" r:id="rId94"/>
    <p:sldLayoutId id="2147484030" r:id="rId95"/>
    <p:sldLayoutId id="2147484031" r:id="rId96"/>
    <p:sldLayoutId id="2147484032" r:id="rId97"/>
    <p:sldLayoutId id="2147484033" r:id="rId98"/>
    <p:sldLayoutId id="2147484034" r:id="rId99"/>
    <p:sldLayoutId id="2147484035" r:id="rId100"/>
    <p:sldLayoutId id="2147484036" r:id="rId101"/>
    <p:sldLayoutId id="2147484037" r:id="rId102"/>
    <p:sldLayoutId id="2147484038" r:id="rId103"/>
    <p:sldLayoutId id="2147484039" r:id="rId104"/>
    <p:sldLayoutId id="2147484040" r:id="rId105"/>
    <p:sldLayoutId id="2147484041" r:id="rId106"/>
    <p:sldLayoutId id="2147484042" r:id="rId107"/>
    <p:sldLayoutId id="2147484043" r:id="rId108"/>
    <p:sldLayoutId id="2147484044" r:id="rId109"/>
    <p:sldLayoutId id="2147484045" r:id="rId110"/>
    <p:sldLayoutId id="2147484046" r:id="rId111"/>
    <p:sldLayoutId id="2147484047" r:id="rId112"/>
    <p:sldLayoutId id="2147484048" r:id="rId113"/>
    <p:sldLayoutId id="2147484049" r:id="rId114"/>
    <p:sldLayoutId id="2147484050" r:id="rId115"/>
    <p:sldLayoutId id="2147484051" r:id="rId116"/>
    <p:sldLayoutId id="2147484052" r:id="rId117"/>
  </p:sldLayoutIdLst>
  <p:hf hdr="0" dt="0"/>
  <p:txStyles>
    <p:titleStyle>
      <a:lvl1pPr algn="l" defTabSz="914400" rtl="0" eaLnBrk="1" latinLnBrk="0" hangingPunct="1">
        <a:lnSpc>
          <a:spcPct val="90000"/>
        </a:lnSpc>
        <a:spcBef>
          <a:spcPct val="0"/>
        </a:spcBef>
        <a:buNone/>
        <a:defRPr sz="4200" b="0" i="0" kern="1200">
          <a:solidFill>
            <a:srgbClr val="005EB8"/>
          </a:solidFill>
          <a:latin typeface="Gibson Light"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SzPct val="70000"/>
        <a:buFont typeface="Symbol" pitchFamily="2" charset="2"/>
        <a:buChar char="-"/>
        <a:defRPr lang="en-US" sz="2800" b="0" i="0" kern="1200" dirty="0">
          <a:solidFill>
            <a:srgbClr val="787875"/>
          </a:solidFill>
          <a:latin typeface="Gibson Ligh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a:buChar char="•"/>
        <a:defRPr lang="en-US" sz="2400" b="0" i="0" kern="1200" dirty="0">
          <a:solidFill>
            <a:srgbClr val="787875"/>
          </a:solidFill>
          <a:latin typeface="Gibson Ligh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a:buChar char="•"/>
        <a:defRPr lang="en-US" sz="2100" b="0" i="0" kern="1200" dirty="0">
          <a:solidFill>
            <a:srgbClr val="787875"/>
          </a:solidFill>
          <a:latin typeface="Gibson Ligh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a:buChar char="•"/>
        <a:defRPr lang="en-US" sz="1800" b="0" i="0" kern="1200" dirty="0">
          <a:solidFill>
            <a:srgbClr val="787875"/>
          </a:solidFill>
          <a:latin typeface="Gibson Ligh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a:buChar char="•"/>
        <a:defRPr lang="en-US" sz="1400" b="0" i="0" kern="1200" dirty="0">
          <a:solidFill>
            <a:srgbClr val="787875"/>
          </a:solidFill>
          <a:latin typeface="Gibson 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C87BA3-D8BF-8A4C-70CF-1081B74C0942}"/>
              </a:ext>
            </a:extLst>
          </p:cNvPr>
          <p:cNvGraphicFramePr>
            <a:graphicFrameLocks noChangeAspect="1"/>
          </p:cNvGraphicFramePr>
          <p:nvPr userDrawn="1">
            <p:custDataLst>
              <p:tags r:id="rId40"/>
            </p:custDataLst>
            <p:extLst>
              <p:ext uri="{D42A27DB-BD31-4B8C-83A1-F6EECF244321}">
                <p14:modId xmlns:p14="http://schemas.microsoft.com/office/powerpoint/2010/main" val="41136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4" progId="TCLayout.ActiveDocument.1">
                  <p:embed/>
                </p:oleObj>
              </mc:Choice>
              <mc:Fallback>
                <p:oleObj name="think-cell Slide" r:id="rId41" imgW="395" imgH="394" progId="TCLayout.ActiveDocument.1">
                  <p:embed/>
                  <p:pic>
                    <p:nvPicPr>
                      <p:cNvPr id="4" name="Object 3" hidden="1">
                        <a:extLst>
                          <a:ext uri="{FF2B5EF4-FFF2-40B4-BE49-F238E27FC236}">
                            <a16:creationId xmlns:a16="http://schemas.microsoft.com/office/drawing/2014/main" id="{60C87BA3-D8BF-8A4C-70CF-1081B74C0942}"/>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2728" y="188913"/>
            <a:ext cx="11252793" cy="582052"/>
          </a:xfrm>
          <a:prstGeom prst="rect">
            <a:avLst/>
          </a:prstGeom>
        </p:spPr>
        <p:txBody>
          <a:bodyPr vert="horz" lIns="91440" tIns="0" rIns="91440" bIns="45720" rtlCol="0" anchor="t">
            <a:noAutofit/>
          </a:bodyPr>
          <a:lstStyle/>
          <a:p>
            <a:r>
              <a:rPr lang="en-GB" noProof="0"/>
              <a:t>Click to edit Master title style</a:t>
            </a:r>
          </a:p>
        </p:txBody>
      </p:sp>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noProof="0" smtClean="0">
                <a:solidFill>
                  <a:schemeClr val="tx2"/>
                </a:solidFill>
                <a:latin typeface="Amadeus" panose="02000506020000020004" pitchFamily="50" charset="0"/>
                <a:cs typeface="Arial" panose="020B0604020202020204" pitchFamily="34" charset="0"/>
              </a:rPr>
              <a:pPr/>
              <a:t>‹#›</a:t>
            </a:fld>
            <a:endParaRPr lang="en-GB" sz="1000" noProof="0">
              <a:solidFill>
                <a:schemeClr val="tx2"/>
              </a:solidFill>
              <a:latin typeface="Amadeus" panose="02000506020000020004" pitchFamily="50"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latin typeface="Amadeus" panose="02000506020000020004" pitchFamily="50"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a:solidFill>
                  <a:srgbClr val="005EB8"/>
                </a:solidFill>
              </a:rPr>
              <a:t>© Amadeus IT Group and its affiliates and subsidiaries</a:t>
            </a:r>
          </a:p>
        </p:txBody>
      </p:sp>
    </p:spTree>
    <p:extLst>
      <p:ext uri="{BB962C8B-B14F-4D97-AF65-F5344CB8AC3E}">
        <p14:creationId xmlns:p14="http://schemas.microsoft.com/office/powerpoint/2010/main" val="922737002"/>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 id="2147484086" r:id="rId17"/>
    <p:sldLayoutId id="2147484087" r:id="rId18"/>
    <p:sldLayoutId id="2147484088" r:id="rId19"/>
    <p:sldLayoutId id="2147484089" r:id="rId20"/>
    <p:sldLayoutId id="2147484090" r:id="rId21"/>
    <p:sldLayoutId id="2147484091" r:id="rId22"/>
    <p:sldLayoutId id="2147484092" r:id="rId23"/>
    <p:sldLayoutId id="2147484093" r:id="rId24"/>
    <p:sldLayoutId id="2147484094" r:id="rId25"/>
    <p:sldLayoutId id="2147484095" r:id="rId26"/>
    <p:sldLayoutId id="2147484096" r:id="rId27"/>
    <p:sldLayoutId id="2147484097" r:id="rId28"/>
    <p:sldLayoutId id="2147484098" r:id="rId29"/>
    <p:sldLayoutId id="2147484099" r:id="rId30"/>
    <p:sldLayoutId id="2147484100" r:id="rId31"/>
    <p:sldLayoutId id="2147484101" r:id="rId32"/>
    <p:sldLayoutId id="2147484102" r:id="rId33"/>
    <p:sldLayoutId id="2147484103" r:id="rId34"/>
    <p:sldLayoutId id="2147484104" r:id="rId35"/>
    <p:sldLayoutId id="2147484105" r:id="rId36"/>
    <p:sldLayoutId id="2147484106" r:id="rId37"/>
    <p:sldLayoutId id="2147484107" r:id="rId38"/>
  </p:sldLayoutIdLst>
  <p:hf hdr="0" dt="0"/>
  <p:txStyles>
    <p:title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193170" y="6461559"/>
            <a:ext cx="338554" cy="398953"/>
          </a:xfrm>
          <a:prstGeom prst="rect">
            <a:avLst/>
          </a:prstGeom>
          <a:noFill/>
        </p:spPr>
        <p:txBody>
          <a:bodyPr vert="vert" wrap="square" rtlCol="0">
            <a:spAutoFit/>
          </a:bodyPr>
          <a:lstStyle/>
          <a:p>
            <a:fld id="{E57627FB-D816-4EA7-98E3-793F2D9BC93A}" type="slidenum">
              <a:rPr lang="en-GB" sz="1000" b="0" i="0" noProof="0" smtClean="0">
                <a:solidFill>
                  <a:schemeClr val="bg1">
                    <a:lumMod val="50000"/>
                  </a:schemeClr>
                </a:solidFill>
                <a:latin typeface="Calibri Light" panose="020F0302020204030204" pitchFamily="34" charset="0"/>
                <a:cs typeface="Arial" panose="020B0604020202020204" pitchFamily="34" charset="0"/>
              </a:rPr>
              <a:pPr/>
              <a:t>‹#›</a:t>
            </a:fld>
            <a:endParaRPr lang="en-GB" sz="1000" b="0" i="0" noProof="0">
              <a:solidFill>
                <a:schemeClr val="bg1">
                  <a:lumMod val="50000"/>
                </a:schemeClr>
              </a:solidFill>
              <a:latin typeface="Calibri Light" panose="020F0302020204030204" pitchFamily="34"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093851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b="0" i="0">
              <a:latin typeface="Calibri Light" panose="020F0302020204030204" pitchFamily="34"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6" y="3382675"/>
            <a:ext cx="323083"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i="0">
                <a:solidFill>
                  <a:schemeClr val="bg1">
                    <a:lumMod val="50000"/>
                  </a:schemeClr>
                </a:solidFill>
                <a:latin typeface="Calibri Light" panose="020F0302020204030204" pitchFamily="34" charset="0"/>
              </a:rPr>
              <a:t>© Amadeus IT Group and its affiliates and subsidiaries</a:t>
            </a:r>
          </a:p>
        </p:txBody>
      </p:sp>
    </p:spTree>
    <p:extLst>
      <p:ext uri="{BB962C8B-B14F-4D97-AF65-F5344CB8AC3E}">
        <p14:creationId xmlns:p14="http://schemas.microsoft.com/office/powerpoint/2010/main" val="1592672497"/>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 id="2147484133" r:id="rId20"/>
    <p:sldLayoutId id="2147484134" r:id="rId21"/>
    <p:sldLayoutId id="2147484135" r:id="rId22"/>
    <p:sldLayoutId id="2147484136" r:id="rId23"/>
    <p:sldLayoutId id="2147484137" r:id="rId24"/>
    <p:sldLayoutId id="2147484138" r:id="rId25"/>
    <p:sldLayoutId id="2147484139" r:id="rId26"/>
    <p:sldLayoutId id="2147484140" r:id="rId27"/>
    <p:sldLayoutId id="2147484141" r:id="rId28"/>
    <p:sldLayoutId id="2147484142" r:id="rId29"/>
    <p:sldLayoutId id="2147484143" r:id="rId30"/>
    <p:sldLayoutId id="2147484144" r:id="rId31"/>
    <p:sldLayoutId id="2147484145" r:id="rId32"/>
    <p:sldLayoutId id="2147484146" r:id="rId33"/>
    <p:sldLayoutId id="2147484147" r:id="rId34"/>
    <p:sldLayoutId id="2147484148" r:id="rId35"/>
    <p:sldLayoutId id="2147484149" r:id="rId36"/>
    <p:sldLayoutId id="2147484150" r:id="rId37"/>
    <p:sldLayoutId id="2147484151" r:id="rId38"/>
    <p:sldLayoutId id="2147484152" r:id="rId39"/>
    <p:sldLayoutId id="2147484153" r:id="rId40"/>
    <p:sldLayoutId id="2147484154" r:id="rId41"/>
    <p:sldLayoutId id="2147484155" r:id="rId42"/>
    <p:sldLayoutId id="2147484156" r:id="rId43"/>
    <p:sldLayoutId id="2147484157" r:id="rId44"/>
    <p:sldLayoutId id="2147484158" r:id="rId45"/>
    <p:sldLayoutId id="2147484159" r:id="rId46"/>
    <p:sldLayoutId id="2147484160" r:id="rId47"/>
    <p:sldLayoutId id="2147484161" r:id="rId48"/>
  </p:sldLayoutIdLst>
  <p:hf hdr="0" dt="0"/>
  <p:txStyles>
    <p:title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guide id="8" pos="672">
          <p15:clr>
            <a:srgbClr val="F26B43"/>
          </p15:clr>
        </p15:guide>
        <p15:guide id="9" orient="horz" pos="432">
          <p15:clr>
            <a:srgbClr val="F26B43"/>
          </p15:clr>
        </p15:guide>
        <p15:guide id="10" orient="horz" pos="33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7693" y="360771"/>
            <a:ext cx="1094086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8134" y="1908061"/>
            <a:ext cx="10950419" cy="3935755"/>
          </a:xfrm>
          <a:prstGeom prst="rect">
            <a:avLst/>
          </a:prstGeom>
        </p:spPr>
        <p:txBody>
          <a:bodyPr vert="horz" lIns="91440" tIns="45720" rIns="91440" bIns="45720" rtlCol="0">
            <a:normAutofit/>
          </a:bodyPr>
          <a:lstStyle/>
          <a:p>
            <a:pPr lvl="0"/>
            <a:r>
              <a:rPr lang="en-US" dirty="0"/>
              <a:t>BIGGEST COPY SIZE: Click to edit Master text styles</a:t>
            </a:r>
          </a:p>
          <a:p>
            <a:pPr marL="685800" lvl="1" indent="-228600" algn="l" defTabSz="914400" rtl="0" eaLnBrk="1" latinLnBrk="0" hangingPunct="1">
              <a:lnSpc>
                <a:spcPct val="100000"/>
              </a:lnSpc>
              <a:spcBef>
                <a:spcPts val="500"/>
              </a:spcBef>
              <a:buSzPct val="70000"/>
              <a:buFont typeface="Symbol" pitchFamily="2" charset="2"/>
              <a:buChar char="-"/>
            </a:pPr>
            <a:r>
              <a:rPr lang="en-US" dirty="0"/>
              <a:t>Second level</a:t>
            </a:r>
          </a:p>
          <a:p>
            <a:pPr marL="1143000" lvl="2" indent="-228600" algn="l" defTabSz="914400" rtl="0" eaLnBrk="1" latinLnBrk="0" hangingPunct="1">
              <a:lnSpc>
                <a:spcPct val="100000"/>
              </a:lnSpc>
              <a:spcBef>
                <a:spcPts val="500"/>
              </a:spcBef>
              <a:buSzPct val="70000"/>
              <a:buFont typeface="Symbol" pitchFamily="2" charset="2"/>
              <a:buChar char="-"/>
            </a:pPr>
            <a:r>
              <a:rPr lang="en-US" dirty="0"/>
              <a:t>Third level</a:t>
            </a:r>
          </a:p>
          <a:p>
            <a:pPr marL="1600200" lvl="3" indent="-228600" algn="l" defTabSz="914400" rtl="0" eaLnBrk="1" latinLnBrk="0" hangingPunct="1">
              <a:lnSpc>
                <a:spcPct val="100000"/>
              </a:lnSpc>
              <a:spcBef>
                <a:spcPts val="500"/>
              </a:spcBef>
              <a:buSzPct val="70000"/>
              <a:buFont typeface="Symbol" pitchFamily="2" charset="2"/>
              <a:buChar char="-"/>
            </a:pPr>
            <a:r>
              <a:rPr lang="en-US" dirty="0"/>
              <a:t>Fourth level</a:t>
            </a:r>
          </a:p>
          <a:p>
            <a:pPr marL="2057400" lvl="4" indent="-228600" algn="l" defTabSz="914400" rtl="0" eaLnBrk="1" latinLnBrk="0" hangingPunct="1">
              <a:lnSpc>
                <a:spcPct val="100000"/>
              </a:lnSpc>
              <a:spcBef>
                <a:spcPts val="500"/>
              </a:spcBef>
              <a:buSzPct val="70000"/>
              <a:buFont typeface="Symbol" pitchFamily="2" charset="2"/>
              <a:buChar char="-"/>
            </a:pPr>
            <a:r>
              <a:rPr lang="en-US" dirty="0"/>
              <a:t>SMALLEST COPY SIZE: Fifth level</a:t>
            </a:r>
          </a:p>
        </p:txBody>
      </p:sp>
      <p:sp>
        <p:nvSpPr>
          <p:cNvPr id="4" name="Date Placeholder 3"/>
          <p:cNvSpPr>
            <a:spLocks noGrp="1"/>
          </p:cNvSpPr>
          <p:nvPr>
            <p:ph type="dt" sz="half" idx="2"/>
          </p:nvPr>
        </p:nvSpPr>
        <p:spPr>
          <a:xfrm>
            <a:off x="6096000" y="449878"/>
            <a:ext cx="5568684" cy="312122"/>
          </a:xfrm>
          <a:prstGeom prst="rect">
            <a:avLst/>
          </a:prstGeom>
        </p:spPr>
        <p:txBody>
          <a:bodyPr vert="horz" lIns="91440" tIns="45720" rIns="91440" bIns="45720" rtlCol="0" anchor="ctr"/>
          <a:lstStyle>
            <a:lvl1pPr algn="r">
              <a:defRPr sz="1000" b="0" i="0">
                <a:solidFill>
                  <a:srgbClr val="787875"/>
                </a:solidFill>
                <a:latin typeface="Gibson Light" panose="02000000000000000000" pitchFamily="2" charset="77"/>
              </a:defRPr>
            </a:lvl1pPr>
          </a:lstStyle>
          <a:p>
            <a:r>
              <a:rPr lang="de-DE"/>
              <a:t>Strap</a:t>
            </a:r>
            <a:endParaRPr lang="en-US" dirty="0"/>
          </a:p>
        </p:txBody>
      </p:sp>
    </p:spTree>
    <p:extLst>
      <p:ext uri="{BB962C8B-B14F-4D97-AF65-F5344CB8AC3E}">
        <p14:creationId xmlns:p14="http://schemas.microsoft.com/office/powerpoint/2010/main" val="1601309911"/>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 id="2147484186" r:id="rId24"/>
    <p:sldLayoutId id="2147484187" r:id="rId25"/>
    <p:sldLayoutId id="2147484188" r:id="rId26"/>
    <p:sldLayoutId id="2147484189" r:id="rId27"/>
    <p:sldLayoutId id="2147484190" r:id="rId28"/>
    <p:sldLayoutId id="2147484191" r:id="rId29"/>
    <p:sldLayoutId id="2147484192" r:id="rId30"/>
    <p:sldLayoutId id="2147484193" r:id="rId31"/>
    <p:sldLayoutId id="2147484194" r:id="rId32"/>
    <p:sldLayoutId id="2147484195" r:id="rId33"/>
    <p:sldLayoutId id="2147484196" r:id="rId34"/>
    <p:sldLayoutId id="2147484197" r:id="rId35"/>
    <p:sldLayoutId id="2147484198" r:id="rId36"/>
    <p:sldLayoutId id="2147484199" r:id="rId37"/>
    <p:sldLayoutId id="2147484200" r:id="rId38"/>
    <p:sldLayoutId id="2147484201" r:id="rId39"/>
    <p:sldLayoutId id="2147484202" r:id="rId40"/>
    <p:sldLayoutId id="2147484203" r:id="rId41"/>
    <p:sldLayoutId id="2147484204" r:id="rId42"/>
    <p:sldLayoutId id="2147484205" r:id="rId43"/>
    <p:sldLayoutId id="2147484206" r:id="rId44"/>
    <p:sldLayoutId id="2147484207" r:id="rId45"/>
    <p:sldLayoutId id="2147484208" r:id="rId46"/>
    <p:sldLayoutId id="2147484209" r:id="rId47"/>
    <p:sldLayoutId id="2147484210" r:id="rId48"/>
    <p:sldLayoutId id="2147484211" r:id="rId49"/>
    <p:sldLayoutId id="2147484212" r:id="rId50"/>
    <p:sldLayoutId id="2147484213" r:id="rId51"/>
    <p:sldLayoutId id="2147484214" r:id="rId52"/>
    <p:sldLayoutId id="2147484215" r:id="rId53"/>
    <p:sldLayoutId id="2147484216" r:id="rId54"/>
    <p:sldLayoutId id="2147484217" r:id="rId55"/>
    <p:sldLayoutId id="2147484218" r:id="rId56"/>
    <p:sldLayoutId id="2147484219" r:id="rId57"/>
    <p:sldLayoutId id="2147484220" r:id="rId58"/>
    <p:sldLayoutId id="2147484221" r:id="rId59"/>
    <p:sldLayoutId id="2147484222" r:id="rId60"/>
    <p:sldLayoutId id="2147484223" r:id="rId61"/>
    <p:sldLayoutId id="2147484224" r:id="rId62"/>
    <p:sldLayoutId id="2147484225" r:id="rId63"/>
    <p:sldLayoutId id="2147484226" r:id="rId64"/>
    <p:sldLayoutId id="2147484227" r:id="rId65"/>
    <p:sldLayoutId id="2147484228" r:id="rId66"/>
    <p:sldLayoutId id="2147484229" r:id="rId67"/>
    <p:sldLayoutId id="2147484360" r:id="rId68"/>
    <p:sldLayoutId id="2147484362" r:id="rId69"/>
    <p:sldLayoutId id="2147484434" r:id="rId70"/>
    <p:sldLayoutId id="2147484508" r:id="rId71"/>
  </p:sldLayoutIdLst>
  <p:hf hdr="0" dt="0"/>
  <p:txStyles>
    <p:titleStyle>
      <a:lvl1pPr algn="l" defTabSz="914400" rtl="0" eaLnBrk="1" latinLnBrk="0" hangingPunct="1">
        <a:lnSpc>
          <a:spcPct val="90000"/>
        </a:lnSpc>
        <a:spcBef>
          <a:spcPct val="0"/>
        </a:spcBef>
        <a:buNone/>
        <a:defRPr sz="4200" b="0" i="0" kern="1200">
          <a:solidFill>
            <a:srgbClr val="005EB8"/>
          </a:solidFill>
          <a:latin typeface="Gibson Light" panose="02000000000000000000" pitchFamily="2" charset="77"/>
          <a:ea typeface="+mj-ea"/>
          <a:cs typeface="+mj-cs"/>
        </a:defRPr>
      </a:lvl1pPr>
    </p:titleStyle>
    <p:bodyStyle>
      <a:lvl1pPr marL="228600" indent="-228600" algn="l" defTabSz="914400" rtl="0" eaLnBrk="1" latinLnBrk="0" hangingPunct="1">
        <a:lnSpc>
          <a:spcPct val="90000"/>
        </a:lnSpc>
        <a:spcBef>
          <a:spcPts val="1000"/>
        </a:spcBef>
        <a:buSzPct val="70000"/>
        <a:buFont typeface="Symbol" pitchFamily="2" charset="2"/>
        <a:buChar char="-"/>
        <a:defRPr lang="en-US" sz="2800" b="0" i="0" kern="1200" dirty="0">
          <a:solidFill>
            <a:srgbClr val="787875"/>
          </a:solidFill>
          <a:latin typeface="Gibson Ligh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a:buChar char="•"/>
        <a:defRPr lang="en-US" sz="2400" b="0" i="0" kern="1200" dirty="0">
          <a:solidFill>
            <a:srgbClr val="787875"/>
          </a:solidFill>
          <a:latin typeface="Gibson Ligh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a:buChar char="•"/>
        <a:defRPr lang="en-US" sz="2100" b="0" i="0" kern="1200" dirty="0">
          <a:solidFill>
            <a:srgbClr val="787875"/>
          </a:solidFill>
          <a:latin typeface="Gibson Ligh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a:buChar char="•"/>
        <a:defRPr lang="en-US" sz="1800" b="0" i="0" kern="1200" dirty="0">
          <a:solidFill>
            <a:srgbClr val="787875"/>
          </a:solidFill>
          <a:latin typeface="Gibson Ligh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a:buChar char="•"/>
        <a:defRPr lang="en-US" sz="1400" b="0" i="0" kern="1200" dirty="0">
          <a:solidFill>
            <a:srgbClr val="787875"/>
          </a:solidFill>
          <a:latin typeface="Gibson 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2728" y="188913"/>
            <a:ext cx="11252793" cy="582052"/>
          </a:xfrm>
          <a:prstGeom prst="rect">
            <a:avLst/>
          </a:prstGeom>
        </p:spPr>
        <p:txBody>
          <a:bodyPr vert="horz" lIns="91440" tIns="0" rIns="91440" bIns="45720" rtlCol="0" anchor="t">
            <a:noAutofit/>
          </a:bodyPr>
          <a:lstStyle/>
          <a:p>
            <a:r>
              <a:rPr lang="en-US" noProof="0"/>
              <a:t>Click to edit Master title style</a:t>
            </a:r>
            <a:endParaRPr lang="en-GB" noProof="0" dirty="0"/>
          </a:p>
        </p:txBody>
      </p:sp>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217011" y="6437721"/>
            <a:ext cx="338554" cy="446629"/>
          </a:xfrm>
          <a:prstGeom prst="rect">
            <a:avLst/>
          </a:prstGeom>
          <a:noFill/>
        </p:spPr>
        <p:txBody>
          <a:bodyPr vert="vert" wrap="square" rtlCol="0">
            <a:spAutoFit/>
          </a:bodyPr>
          <a:lstStyle/>
          <a:p>
            <a:fld id="{E57627FB-D816-4EA7-98E3-793F2D9BC93A}" type="slidenum">
              <a:rPr lang="en-GB" sz="1000" noProof="0" smtClean="0">
                <a:solidFill>
                  <a:schemeClr val="tx2"/>
                </a:solidFill>
                <a:latin typeface="Amadeus" panose="02000506020000020004" pitchFamily="50" charset="0"/>
                <a:cs typeface="Arial" panose="020B0604020202020204" pitchFamily="34" charset="0"/>
              </a:rPr>
              <a:pPr/>
              <a:t>‹#›</a:t>
            </a:fld>
            <a:endParaRPr lang="en-GB" sz="1000" noProof="0" dirty="0">
              <a:solidFill>
                <a:schemeClr val="tx2"/>
              </a:solidFill>
              <a:latin typeface="Amadeus" panose="02000506020000020004" pitchFamily="50"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7" y="3382675"/>
            <a:ext cx="299984"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rgbClr val="005EB8"/>
                </a:solidFill>
              </a:rPr>
              <a:t>© Amadeus IT Group and its affiliates and subsidiaries</a:t>
            </a:r>
          </a:p>
        </p:txBody>
      </p:sp>
    </p:spTree>
    <p:extLst>
      <p:ext uri="{BB962C8B-B14F-4D97-AF65-F5344CB8AC3E}">
        <p14:creationId xmlns:p14="http://schemas.microsoft.com/office/powerpoint/2010/main" val="3838230897"/>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246" r:id="rId16"/>
    <p:sldLayoutId id="2147484247" r:id="rId17"/>
    <p:sldLayoutId id="2147484248" r:id="rId18"/>
    <p:sldLayoutId id="2147484249" r:id="rId19"/>
    <p:sldLayoutId id="2147484250" r:id="rId20"/>
    <p:sldLayoutId id="2147484251" r:id="rId21"/>
    <p:sldLayoutId id="2147484252" r:id="rId22"/>
    <p:sldLayoutId id="2147484253" r:id="rId23"/>
    <p:sldLayoutId id="2147484254" r:id="rId24"/>
    <p:sldLayoutId id="2147484255" r:id="rId25"/>
    <p:sldLayoutId id="2147484256" r:id="rId26"/>
    <p:sldLayoutId id="2147484257" r:id="rId27"/>
    <p:sldLayoutId id="2147484258" r:id="rId28"/>
    <p:sldLayoutId id="2147484259" r:id="rId29"/>
    <p:sldLayoutId id="2147484260" r:id="rId30"/>
    <p:sldLayoutId id="2147484261" r:id="rId31"/>
    <p:sldLayoutId id="2147484262" r:id="rId32"/>
    <p:sldLayoutId id="2147484263" r:id="rId33"/>
    <p:sldLayoutId id="2147484264" r:id="rId34"/>
    <p:sldLayoutId id="2147484265" r:id="rId35"/>
    <p:sldLayoutId id="2147484266" r:id="rId36"/>
    <p:sldLayoutId id="2147484267" r:id="rId37"/>
    <p:sldLayoutId id="2147484268" r:id="rId38"/>
    <p:sldLayoutId id="2147484269" r:id="rId39"/>
    <p:sldLayoutId id="2147484270" r:id="rId40"/>
    <p:sldLayoutId id="2147484271" r:id="rId41"/>
    <p:sldLayoutId id="2147484272" r:id="rId42"/>
    <p:sldLayoutId id="2147484273" r:id="rId43"/>
    <p:sldLayoutId id="2147484274" r:id="rId44"/>
  </p:sldLayoutIdLst>
  <p:hf hd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2728" y="188913"/>
            <a:ext cx="11252793" cy="582052"/>
          </a:xfrm>
          <a:prstGeom prst="rect">
            <a:avLst/>
          </a:prstGeom>
        </p:spPr>
        <p:txBody>
          <a:bodyPr vert="horz" lIns="91440" tIns="0" rIns="91440" bIns="45720" rtlCol="0" anchor="t">
            <a:noAutofit/>
          </a:bodyPr>
          <a:lstStyle/>
          <a:p>
            <a:r>
              <a:rPr lang="en-US" noProof="0"/>
              <a:t>Click to edit Master title style</a:t>
            </a:r>
            <a:endParaRPr lang="en-GB" noProof="0" dirty="0"/>
          </a:p>
        </p:txBody>
      </p:sp>
      <p:sp>
        <p:nvSpPr>
          <p:cNvPr id="7" name="CuadroTexto 10">
            <a:extLst>
              <a:ext uri="{FF2B5EF4-FFF2-40B4-BE49-F238E27FC236}">
                <a16:creationId xmlns:a16="http://schemas.microsoft.com/office/drawing/2014/main" id="{2B0229C9-6B76-48A6-B665-519A3E659CE2}"/>
              </a:ext>
              <a:ext uri="{C183D7F6-B498-43B3-948B-1728B52AA6E4}">
                <adec:decorative xmlns:adec="http://schemas.microsoft.com/office/drawing/2017/decorative" val="0"/>
              </a:ext>
            </a:extLst>
          </p:cNvPr>
          <p:cNvSpPr txBox="1"/>
          <p:nvPr userDrawn="1"/>
        </p:nvSpPr>
        <p:spPr>
          <a:xfrm rot="16200000">
            <a:off x="217011" y="6437721"/>
            <a:ext cx="338554" cy="446629"/>
          </a:xfrm>
          <a:prstGeom prst="rect">
            <a:avLst/>
          </a:prstGeom>
          <a:noFill/>
        </p:spPr>
        <p:txBody>
          <a:bodyPr vert="vert" wrap="square" rtlCol="0">
            <a:spAutoFit/>
          </a:bodyPr>
          <a:lstStyle/>
          <a:p>
            <a:fld id="{E57627FB-D816-4EA7-98E3-793F2D9BC93A}" type="slidenum">
              <a:rPr lang="en-GB" sz="1000" noProof="0" smtClean="0">
                <a:solidFill>
                  <a:schemeClr val="tx2"/>
                </a:solidFill>
                <a:latin typeface="Amadeus" panose="02000506020000020004" pitchFamily="50" charset="0"/>
                <a:cs typeface="Arial" panose="020B0604020202020204" pitchFamily="34" charset="0"/>
              </a:rPr>
              <a:pPr/>
              <a:t>‹#›</a:t>
            </a:fld>
            <a:endParaRPr lang="en-GB" sz="1000" noProof="0" dirty="0">
              <a:solidFill>
                <a:schemeClr val="tx2"/>
              </a:solidFill>
              <a:latin typeface="Amadeus" panose="02000506020000020004" pitchFamily="50" charset="0"/>
              <a:cs typeface="Arial" panose="020B0604020202020204" pitchFamily="34" charset="0"/>
            </a:endParaRPr>
          </a:p>
        </p:txBody>
      </p:sp>
      <p:sp>
        <p:nvSpPr>
          <p:cNvPr id="10" name="Freeform 5">
            <a:extLst>
              <a:ext uri="{FF2B5EF4-FFF2-40B4-BE49-F238E27FC236}">
                <a16:creationId xmlns:a16="http://schemas.microsoft.com/office/drawing/2014/main" id="{98CA0A59-6C0D-4418-A0FF-632B96B2886A}"/>
              </a:ext>
            </a:extLst>
          </p:cNvPr>
          <p:cNvSpPr>
            <a:spLocks noEditPoints="1"/>
          </p:cNvSpPr>
          <p:nvPr userDrawn="1"/>
        </p:nvSpPr>
        <p:spPr bwMode="auto">
          <a:xfrm>
            <a:off x="11353800" y="6614614"/>
            <a:ext cx="669797" cy="92843"/>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dirty="0">
              <a:latin typeface="Amadeus" panose="02000506020000020004" pitchFamily="50" charset="0"/>
            </a:endParaRPr>
          </a:p>
        </p:txBody>
      </p:sp>
      <p:sp>
        <p:nvSpPr>
          <p:cNvPr id="9" name="Title Placeholder 1">
            <a:extLst>
              <a:ext uri="{FF2B5EF4-FFF2-40B4-BE49-F238E27FC236}">
                <a16:creationId xmlns:a16="http://schemas.microsoft.com/office/drawing/2014/main" id="{7D055ABF-2AB1-4C61-B302-923B9335E32C}"/>
              </a:ext>
              <a:ext uri="{C183D7F6-B498-43B3-948B-1728B52AA6E4}">
                <adec:decorative xmlns:adec="http://schemas.microsoft.com/office/drawing/2017/decorative" val="1"/>
              </a:ext>
            </a:extLst>
          </p:cNvPr>
          <p:cNvSpPr txBox="1">
            <a:spLocks/>
          </p:cNvSpPr>
          <p:nvPr userDrawn="1"/>
        </p:nvSpPr>
        <p:spPr>
          <a:xfrm>
            <a:off x="125797" y="3382675"/>
            <a:ext cx="299984" cy="2647301"/>
          </a:xfrm>
          <a:prstGeom prst="rect">
            <a:avLst/>
          </a:prstGeom>
        </p:spPr>
        <p:txBody>
          <a:bodyPr vert="vert270" lIns="91440" tIns="0" rIns="91440" bIns="45720" rtlCol="0" anchor="t">
            <a:noAutofit/>
          </a:bodyPr>
          <a:lstStyle>
            <a:lvl1pPr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GB" sz="800" b="0" dirty="0">
                <a:solidFill>
                  <a:srgbClr val="005EB8"/>
                </a:solidFill>
              </a:rPr>
              <a:t>© Amadeus IT Group and its affiliates and subsidiaries</a:t>
            </a:r>
          </a:p>
        </p:txBody>
      </p:sp>
    </p:spTree>
    <p:extLst>
      <p:ext uri="{BB962C8B-B14F-4D97-AF65-F5344CB8AC3E}">
        <p14:creationId xmlns:p14="http://schemas.microsoft.com/office/powerpoint/2010/main" val="480469016"/>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Lst>
  <p:hf hd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60">
          <p15:clr>
            <a:srgbClr val="F26B43"/>
          </p15:clr>
        </p15:guide>
        <p15:guide id="5" orient="horz" pos="2184">
          <p15:clr>
            <a:srgbClr val="F26B43"/>
          </p15:clr>
        </p15:guide>
        <p15:guide id="6" pos="181">
          <p15:clr>
            <a:srgbClr val="F26B43"/>
          </p15:clr>
        </p15:guide>
        <p15:guide id="7" pos="725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67D368-6EAC-88DF-D194-2E564707192F}"/>
              </a:ext>
            </a:extLst>
          </p:cNvPr>
          <p:cNvGraphicFramePr>
            <a:graphicFrameLocks noChangeAspect="1"/>
          </p:cNvGraphicFramePr>
          <p:nvPr userDrawn="1">
            <p:custDataLst>
              <p:tags r:id="rId39"/>
            </p:custDataLst>
            <p:extLst>
              <p:ext uri="{D42A27DB-BD31-4B8C-83A1-F6EECF244321}">
                <p14:modId xmlns:p14="http://schemas.microsoft.com/office/powerpoint/2010/main" val="26868690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6" name="think-cell data - do not delete" hidden="1">
                        <a:extLst>
                          <a:ext uri="{FF2B5EF4-FFF2-40B4-BE49-F238E27FC236}">
                            <a16:creationId xmlns:a16="http://schemas.microsoft.com/office/drawing/2014/main" id="{F767D368-6EAC-88DF-D194-2E564707192F}"/>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rmAutofit/>
          </a:bodyPr>
          <a:lstStyle/>
          <a:p>
            <a:r>
              <a:rPr lang="en-US" noProof="0"/>
              <a:t>Click to edit Master title style</a:t>
            </a:r>
            <a:endParaRPr lang="en-US" noProof="0" dirty="0"/>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endParaRPr lang="en-US" noProof="0" dirty="0"/>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US" noProof="0" smtClean="0"/>
              <a:pPr/>
              <a:t>‹#›</a:t>
            </a:fld>
            <a:endParaRPr lang="en-US" noProof="0" dirty="0"/>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4277279473"/>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8" r:id="rId27"/>
    <p:sldLayoutId id="2147484349" r:id="rId28"/>
    <p:sldLayoutId id="2147484350" r:id="rId29"/>
    <p:sldLayoutId id="2147484351"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xml"/><Relationship Id="rId1" Type="http://schemas.openxmlformats.org/officeDocument/2006/relationships/slideLayout" Target="../slideLayouts/slideLayout374.xml"/></Relationships>
</file>

<file path=ppt/slides/_rels/slide1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27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328.xml"/></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328.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328.xml"/><Relationship Id="rId4" Type="http://schemas.openxmlformats.org/officeDocument/2006/relationships/image" Target="../media/image70.pn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3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8.xml"/></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27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33.xml"/><Relationship Id="rId1" Type="http://schemas.openxmlformats.org/officeDocument/2006/relationships/tags" Target="../tags/tag13.xml"/><Relationship Id="rId6" Type="http://schemas.openxmlformats.org/officeDocument/2006/relationships/chart" Target="../charts/chart2.xml"/><Relationship Id="rId5" Type="http://schemas.openxmlformats.org/officeDocument/2006/relationships/image" Target="../media/image73.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xml"/><Relationship Id="rId1" Type="http://schemas.openxmlformats.org/officeDocument/2006/relationships/slideLayout" Target="../slideLayouts/slideLayout330.xml"/><Relationship Id="rId5" Type="http://schemas.openxmlformats.org/officeDocument/2006/relationships/image" Target="../media/image50.png"/><Relationship Id="rId4" Type="http://schemas.openxmlformats.org/officeDocument/2006/relationships/image" Target="../media/image49.png"/></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61.jpeg"/><Relationship Id="rId7"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27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81.png"/><Relationship Id="rId2" Type="http://schemas.openxmlformats.org/officeDocument/2006/relationships/slideLayout" Target="../slideLayouts/slideLayout537.xml"/><Relationship Id="rId1" Type="http://schemas.openxmlformats.org/officeDocument/2006/relationships/tags" Target="../tags/tag14.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3.xml"/><Relationship Id="rId2" Type="http://schemas.openxmlformats.org/officeDocument/2006/relationships/slideLayout" Target="../slideLayouts/slideLayout537.xml"/><Relationship Id="rId1" Type="http://schemas.openxmlformats.org/officeDocument/2006/relationships/tags" Target="../tags/tag15.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328.xml"/><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61.jpeg"/><Relationship Id="rId7"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274.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274.xml"/><Relationship Id="rId4" Type="http://schemas.openxmlformats.org/officeDocument/2006/relationships/image" Target="../media/image92.jpeg"/></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77.xml"/></Relationships>
</file>

<file path=ppt/slides/_rels/slide27.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jpeg"/><Relationship Id="rId7" Type="http://schemas.openxmlformats.org/officeDocument/2006/relationships/image" Target="../media/image97.jpeg"/><Relationship Id="rId2" Type="http://schemas.openxmlformats.org/officeDocument/2006/relationships/notesSlide" Target="../notesSlides/notesSlide27.xml"/><Relationship Id="rId1" Type="http://schemas.openxmlformats.org/officeDocument/2006/relationships/slideLayout" Target="../slideLayouts/slideLayout274.xml"/><Relationship Id="rId6" Type="http://schemas.openxmlformats.org/officeDocument/2006/relationships/image" Target="../media/image96.jpeg"/><Relationship Id="rId5" Type="http://schemas.openxmlformats.org/officeDocument/2006/relationships/image" Target="../media/image95.jpeg"/><Relationship Id="rId4" Type="http://schemas.openxmlformats.org/officeDocument/2006/relationships/image" Target="../media/image94.jpeg"/><Relationship Id="rId9" Type="http://schemas.openxmlformats.org/officeDocument/2006/relationships/image" Target="../media/image72.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61.jpeg"/><Relationship Id="rId7" Type="http://schemas.microsoft.com/office/2007/relationships/hdphoto" Target="../media/hdphoto8.wdp"/><Relationship Id="rId2" Type="http://schemas.openxmlformats.org/officeDocument/2006/relationships/notesSlide" Target="../notesSlides/notesSlide28.xml"/><Relationship Id="rId1" Type="http://schemas.openxmlformats.org/officeDocument/2006/relationships/slideLayout" Target="../slideLayouts/slideLayout274.xml"/><Relationship Id="rId6" Type="http://schemas.openxmlformats.org/officeDocument/2006/relationships/image" Target="../media/image100.png"/><Relationship Id="rId11" Type="http://schemas.openxmlformats.org/officeDocument/2006/relationships/image" Target="../media/image103.jpeg"/><Relationship Id="rId5" Type="http://schemas.microsoft.com/office/2007/relationships/hdphoto" Target="../media/hdphoto7.wdp"/><Relationship Id="rId10" Type="http://schemas.openxmlformats.org/officeDocument/2006/relationships/image" Target="../media/image102.png"/><Relationship Id="rId4" Type="http://schemas.openxmlformats.org/officeDocument/2006/relationships/image" Target="../media/image99.png"/><Relationship Id="rId9" Type="http://schemas.microsoft.com/office/2007/relationships/hdphoto" Target="../media/hdphoto9.wdp"/></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272.xml"/><Relationship Id="rId4" Type="http://schemas.openxmlformats.org/officeDocument/2006/relationships/image" Target="../media/image105.png"/></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42.xml"/><Relationship Id="rId4" Type="http://schemas.openxmlformats.org/officeDocument/2006/relationships/image" Target="../media/image52.emf"/></Relationships>
</file>

<file path=ppt/slides/_rels/slide3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0.xml"/><Relationship Id="rId1" Type="http://schemas.openxmlformats.org/officeDocument/2006/relationships/slideLayout" Target="../slideLayouts/slideLayout374.xml"/></Relationships>
</file>

<file path=ppt/slides/_rels/slide3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1.xml"/><Relationship Id="rId1" Type="http://schemas.openxmlformats.org/officeDocument/2006/relationships/slideLayout" Target="../slideLayouts/slideLayout422.xml"/><Relationship Id="rId5" Type="http://schemas.openxmlformats.org/officeDocument/2006/relationships/image" Target="../media/image107.png"/><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48.jpeg"/><Relationship Id="rId5" Type="http://schemas.openxmlformats.org/officeDocument/2006/relationships/image" Target="../media/image109.jpeg"/><Relationship Id="rId4" Type="http://schemas.openxmlformats.org/officeDocument/2006/relationships/image" Target="../media/image108.emf"/></Relationships>
</file>

<file path=ppt/slides/_rels/slide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623.xml"/><Relationship Id="rId5" Type="http://schemas.openxmlformats.org/officeDocument/2006/relationships/image" Target="../media/image55.png"/><Relationship Id="rId4" Type="http://schemas.openxmlformats.org/officeDocument/2006/relationships/image" Target="../media/image54.emf"/></Relationships>
</file>

<file path=ppt/slides/_rels/slide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5.xml"/><Relationship Id="rId1" Type="http://schemas.openxmlformats.org/officeDocument/2006/relationships/slideLayout" Target="../slideLayouts/slideLayout331.xml"/><Relationship Id="rId5" Type="http://schemas.openxmlformats.org/officeDocument/2006/relationships/image" Target="../media/image58.png"/><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6.xml"/><Relationship Id="rId1" Type="http://schemas.openxmlformats.org/officeDocument/2006/relationships/slideLayout" Target="../slideLayouts/slideLayout331.xml"/></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278.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ouple of women walk down a stairway&#10;&#10;Description automatically generated with low confidence">
            <a:extLst>
              <a:ext uri="{FF2B5EF4-FFF2-40B4-BE49-F238E27FC236}">
                <a16:creationId xmlns:a16="http://schemas.microsoft.com/office/drawing/2014/main" id="{8B0481EE-831D-9898-6512-3D64A7E33CF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050" y="0"/>
            <a:ext cx="12230100" cy="6879431"/>
          </a:xfrm>
          <a:prstGeom prst="rect">
            <a:avLst/>
          </a:prstGeom>
        </p:spPr>
      </p:pic>
      <p:sp>
        <p:nvSpPr>
          <p:cNvPr id="8" name="TextBox 7">
            <a:extLst>
              <a:ext uri="{FF2B5EF4-FFF2-40B4-BE49-F238E27FC236}">
                <a16:creationId xmlns:a16="http://schemas.microsoft.com/office/drawing/2014/main" id="{5734E038-1E7B-91B5-1B4D-33B985B0ACFB}"/>
              </a:ext>
            </a:extLst>
          </p:cNvPr>
          <p:cNvSpPr txBox="1"/>
          <p:nvPr/>
        </p:nvSpPr>
        <p:spPr>
          <a:xfrm>
            <a:off x="674302" y="3801529"/>
            <a:ext cx="12070080" cy="1785104"/>
          </a:xfrm>
          <a:prstGeom prst="rect">
            <a:avLst/>
          </a:prstGeom>
          <a:noFill/>
          <a:effectLst/>
        </p:spPr>
        <p:txBody>
          <a:bodyPr wrap="square" rtlCol="0">
            <a:spAutoFit/>
          </a:bodyPr>
          <a:lstStyle/>
          <a:p>
            <a:r>
              <a:rPr lang="en-US" sz="11000" b="1" spc="-300" dirty="0" err="1">
                <a:solidFill>
                  <a:srgbClr val="FFC000"/>
                </a:solidFill>
                <a:effectLst>
                  <a:outerShdw blurRad="50800" dist="50800" dir="5400000" algn="t" rotWithShape="0">
                    <a:prstClr val="black"/>
                  </a:outerShdw>
                </a:effectLst>
                <a:latin typeface="Calibri" panose="020F0502020204030204" pitchFamily="34" charset="0"/>
                <a:cs typeface="Calibri" panose="020F0502020204030204" pitchFamily="34" charset="0"/>
              </a:rPr>
              <a:t>Inteligencia</a:t>
            </a:r>
            <a:r>
              <a:rPr lang="en-US" sz="11000" b="1" spc="-300" dirty="0">
                <a:solidFill>
                  <a:srgbClr val="FFC000"/>
                </a:solidFill>
                <a:effectLst>
                  <a:outerShdw blurRad="50800" dist="50800" dir="5400000" algn="t" rotWithShape="0">
                    <a:prstClr val="black"/>
                  </a:outerShdw>
                </a:effectLst>
                <a:latin typeface="Calibri" panose="020F0502020204030204" pitchFamily="34" charset="0"/>
                <a:cs typeface="Calibri" panose="020F0502020204030204" pitchFamily="34" charset="0"/>
              </a:rPr>
              <a:t> Turística</a:t>
            </a:r>
            <a:endParaRPr lang="en-DE" sz="11000" b="1" spc="-300" dirty="0">
              <a:solidFill>
                <a:srgbClr val="FFC000"/>
              </a:solidFill>
              <a:effectLst>
                <a:outerShdw blurRad="50800" dist="50800" dir="5400000" algn="t" rotWithShape="0">
                  <a:prstClr val="black"/>
                </a:outerShdw>
              </a:effectLst>
              <a:latin typeface="Calibri" panose="020F0502020204030204" pitchFamily="34" charset="0"/>
              <a:cs typeface="Calibri" panose="020F0502020204030204" pitchFamily="34" charset="0"/>
            </a:endParaRPr>
          </a:p>
        </p:txBody>
      </p:sp>
      <p:sp>
        <p:nvSpPr>
          <p:cNvPr id="10" name="MSIPCMContentMarking" descr="{&quot;HashCode&quot;:-980460767,&quot;Placement&quot;:&quot;Header&quot;}">
            <a:extLst>
              <a:ext uri="{FF2B5EF4-FFF2-40B4-BE49-F238E27FC236}">
                <a16:creationId xmlns:a16="http://schemas.microsoft.com/office/drawing/2014/main" id="{E5D0967C-3C6F-51FE-DA40-AF0CE2289E3E}"/>
              </a:ext>
            </a:extLst>
          </p:cNvPr>
          <p:cNvSpPr txBox="1"/>
          <p:nvPr/>
        </p:nvSpPr>
        <p:spPr>
          <a:xfrm>
            <a:off x="10002555" y="0"/>
            <a:ext cx="2189445" cy="296525"/>
          </a:xfrm>
          <a:prstGeom prst="rect">
            <a:avLst/>
          </a:prstGeom>
          <a:noFill/>
        </p:spPr>
        <p:txBody>
          <a:bodyPr vert="horz" wrap="square" lIns="0" tIns="0" rIns="0" bIns="0" rtlCol="0" anchor="ctr" anchorCtr="1">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C00"/>
                </a:solidFill>
                <a:effectLst/>
                <a:uLnTx/>
                <a:uFillTx/>
                <a:latin typeface="Calibri" panose="020F0502020204030204" pitchFamily="34" charset="0"/>
                <a:ea typeface="+mn-ea"/>
                <a:cs typeface="+mn-cs"/>
              </a:rPr>
              <a:t>CONFIDENTIAL &amp; RESTRICTED</a:t>
            </a:r>
          </a:p>
        </p:txBody>
      </p:sp>
      <p:sp>
        <p:nvSpPr>
          <p:cNvPr id="3" name="Freeform 2">
            <a:extLst>
              <a:ext uri="{FF2B5EF4-FFF2-40B4-BE49-F238E27FC236}">
                <a16:creationId xmlns:a16="http://schemas.microsoft.com/office/drawing/2014/main" id="{6406CA26-5B74-23AD-72D7-DDB2BE8922BD}"/>
              </a:ext>
            </a:extLst>
          </p:cNvPr>
          <p:cNvSpPr>
            <a:spLocks noEditPoints="1"/>
          </p:cNvSpPr>
          <p:nvPr/>
        </p:nvSpPr>
        <p:spPr bwMode="auto">
          <a:xfrm>
            <a:off x="311487" y="373566"/>
            <a:ext cx="2194285" cy="296525"/>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latin typeface="Calibri Light" panose="020F0302020204030204" pitchFamily="34" charset="0"/>
            </a:endParaRPr>
          </a:p>
        </p:txBody>
      </p:sp>
      <p:sp>
        <p:nvSpPr>
          <p:cNvPr id="5" name="TextBox 4">
            <a:extLst>
              <a:ext uri="{FF2B5EF4-FFF2-40B4-BE49-F238E27FC236}">
                <a16:creationId xmlns:a16="http://schemas.microsoft.com/office/drawing/2014/main" id="{A45B408D-CD86-25A5-0C0F-DD8B4704D91A}"/>
              </a:ext>
            </a:extLst>
          </p:cNvPr>
          <p:cNvSpPr txBox="1"/>
          <p:nvPr/>
        </p:nvSpPr>
        <p:spPr>
          <a:xfrm>
            <a:off x="311487" y="5370095"/>
            <a:ext cx="11416820" cy="769441"/>
          </a:xfrm>
          <a:prstGeom prst="rect">
            <a:avLst/>
          </a:prstGeom>
          <a:noFill/>
          <a:effectLst>
            <a:outerShdw blurRad="50800" dist="128934" dir="5400000" sx="126457" sy="126457" algn="ctr" rotWithShape="0">
              <a:srgbClr val="000000">
                <a:alpha val="99778"/>
              </a:srgbClr>
            </a:outerShdw>
          </a:effectLst>
        </p:spPr>
        <p:txBody>
          <a:bodyPr wrap="square" rtlCol="0">
            <a:spAutoFit/>
          </a:bodyPr>
          <a:lstStyle/>
          <a:p>
            <a:pPr algn="r"/>
            <a:r>
              <a:rPr lang="en-GB" sz="4400" b="1" spc="-150" dirty="0" err="1">
                <a:solidFill>
                  <a:schemeClr val="bg1"/>
                </a:solidFill>
                <a:effectLst>
                  <a:outerShdw blurRad="50800" dist="63500" dir="5400000" algn="t" rotWithShape="0">
                    <a:prstClr val="black"/>
                  </a:outerShdw>
                </a:effectLst>
                <a:latin typeface="Calibri Light" panose="020F0302020204030204" pitchFamily="34" charset="0"/>
              </a:rPr>
              <a:t>Estrategias</a:t>
            </a:r>
            <a:r>
              <a:rPr lang="en-GB" sz="4400" b="1" spc="-150" dirty="0">
                <a:solidFill>
                  <a:schemeClr val="bg1"/>
                </a:solidFill>
                <a:effectLst>
                  <a:outerShdw blurRad="50800" dist="63500" dir="5400000" algn="t" rotWithShape="0">
                    <a:prstClr val="black"/>
                  </a:outerShdw>
                </a:effectLst>
                <a:latin typeface="Calibri Light" panose="020F0302020204030204" pitchFamily="34" charset="0"/>
              </a:rPr>
              <a:t> y </a:t>
            </a:r>
            <a:r>
              <a:rPr lang="en-GB" sz="4400" b="1" spc="-150" dirty="0" err="1">
                <a:solidFill>
                  <a:schemeClr val="bg1"/>
                </a:solidFill>
                <a:effectLst>
                  <a:outerShdw blurRad="50800" dist="63500" dir="5400000" algn="t" rotWithShape="0">
                    <a:prstClr val="black"/>
                  </a:outerShdw>
                </a:effectLst>
                <a:latin typeface="Calibri Light" panose="020F0302020204030204" pitchFamily="34" charset="0"/>
              </a:rPr>
              <a:t>Soluciones</a:t>
            </a:r>
            <a:r>
              <a:rPr lang="en-GB" sz="4400" b="1" spc="-150" dirty="0">
                <a:solidFill>
                  <a:schemeClr val="bg1"/>
                </a:solidFill>
                <a:effectLst>
                  <a:outerShdw blurRad="50800" dist="63500" dir="5400000" algn="t" rotWithShape="0">
                    <a:prstClr val="black"/>
                  </a:outerShdw>
                </a:effectLst>
                <a:latin typeface="Calibri Light" panose="020F0302020204030204" pitchFamily="34" charset="0"/>
              </a:rPr>
              <a:t> para un Turismo </a:t>
            </a:r>
            <a:r>
              <a:rPr lang="en-GB" sz="4400" b="1" spc="-150" dirty="0" err="1">
                <a:solidFill>
                  <a:schemeClr val="bg1"/>
                </a:solidFill>
                <a:effectLst>
                  <a:outerShdw blurRad="50800" dist="63500" dir="5400000" algn="t" rotWithShape="0">
                    <a:prstClr val="black"/>
                  </a:outerShdw>
                </a:effectLst>
                <a:latin typeface="Calibri Light" panose="020F0302020204030204" pitchFamily="34" charset="0"/>
              </a:rPr>
              <a:t>Competitivo</a:t>
            </a:r>
            <a:endParaRPr lang="en-DE" sz="4000" b="1" spc="-150" dirty="0">
              <a:solidFill>
                <a:schemeClr val="bg1"/>
              </a:solidFill>
              <a:effectLst>
                <a:outerShdw blurRad="50800" dist="63500" dir="5400000" algn="t" rotWithShape="0">
                  <a:prstClr val="black"/>
                </a:outerShdw>
              </a:effectLst>
              <a:latin typeface="Calibri Light" panose="020F0302020204030204" pitchFamily="34" charset="0"/>
            </a:endParaRPr>
          </a:p>
        </p:txBody>
      </p:sp>
    </p:spTree>
    <p:extLst>
      <p:ext uri="{BB962C8B-B14F-4D97-AF65-F5344CB8AC3E}">
        <p14:creationId xmlns:p14="http://schemas.microsoft.com/office/powerpoint/2010/main" val="486354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green field&#10;&#10;Description automatically generated">
            <a:extLst>
              <a:ext uri="{FF2B5EF4-FFF2-40B4-BE49-F238E27FC236}">
                <a16:creationId xmlns:a16="http://schemas.microsoft.com/office/drawing/2014/main" id="{5BCB0898-69F5-6071-4C9B-2CA06E632E7F}"/>
              </a:ext>
            </a:extLst>
          </p:cNvPr>
          <p:cNvPicPr>
            <a:picLocks noChangeAspect="1"/>
          </p:cNvPicPr>
          <p:nvPr/>
        </p:nvPicPr>
        <p:blipFill rotWithShape="1">
          <a:blip r:embed="rId3"/>
          <a:srcRect t="54486" b="8950"/>
          <a:stretch/>
        </p:blipFill>
        <p:spPr>
          <a:xfrm>
            <a:off x="0" y="0"/>
            <a:ext cx="12192000" cy="6858000"/>
          </a:xfrm>
          <a:prstGeom prst="rect">
            <a:avLst/>
          </a:prstGeom>
        </p:spPr>
      </p:pic>
      <p:sp>
        <p:nvSpPr>
          <p:cNvPr id="10" name="Footer Placeholder 4">
            <a:extLst>
              <a:ext uri="{FF2B5EF4-FFF2-40B4-BE49-F238E27FC236}">
                <a16:creationId xmlns:a16="http://schemas.microsoft.com/office/drawing/2014/main" id="{8042C1A2-A3FF-5742-8338-CED6A42525EB}"/>
              </a:ext>
            </a:extLst>
          </p:cNvPr>
          <p:cNvSpPr txBox="1">
            <a:spLocks/>
          </p:cNvSpPr>
          <p:nvPr/>
        </p:nvSpPr>
        <p:spPr>
          <a:xfrm rot="16200000">
            <a:off x="10535710" y="5239807"/>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lumMod val="65000"/>
                  </a:srgbClr>
                </a:solidFill>
                <a:effectLst/>
                <a:uLnTx/>
                <a:uFillTx/>
                <a:latin typeface="Gibson Light" panose="02000000000000000000" pitchFamily="2" charset="77"/>
                <a:ea typeface="+mn-ea"/>
                <a:cs typeface="+mn-cs"/>
              </a:rPr>
              <a:t>© Amadeus IT Group and its affiliates and subsidiaries</a:t>
            </a:r>
          </a:p>
        </p:txBody>
      </p:sp>
      <p:sp>
        <p:nvSpPr>
          <p:cNvPr id="32" name="Rectangle 31">
            <a:extLst>
              <a:ext uri="{FF2B5EF4-FFF2-40B4-BE49-F238E27FC236}">
                <a16:creationId xmlns:a16="http://schemas.microsoft.com/office/drawing/2014/main" id="{96181BBC-55AA-CF4B-A8AC-E76382AE0A5A}"/>
              </a:ext>
            </a:extLst>
          </p:cNvPr>
          <p:cNvSpPr/>
          <p:nvPr/>
        </p:nvSpPr>
        <p:spPr>
          <a:xfrm>
            <a:off x="-4" y="2885348"/>
            <a:ext cx="12191995" cy="2917371"/>
          </a:xfrm>
          <a:prstGeom prst="rect">
            <a:avLst/>
          </a:prstGeom>
          <a:gradFill flip="none" rotWithShape="1">
            <a:gsLst>
              <a:gs pos="48000">
                <a:srgbClr val="141415">
                  <a:alpha val="94000"/>
                </a:srgbClr>
              </a:gs>
              <a:gs pos="25000">
                <a:schemeClr val="tx1">
                  <a:lumMod val="45000"/>
                  <a:alpha val="0"/>
                </a:schemeClr>
              </a:gs>
              <a:gs pos="97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13" name="Rectangle 12">
            <a:extLst>
              <a:ext uri="{FF2B5EF4-FFF2-40B4-BE49-F238E27FC236}">
                <a16:creationId xmlns:a16="http://schemas.microsoft.com/office/drawing/2014/main" id="{76750BD4-C216-7146-9AD9-5F2D23DF4D4F}"/>
              </a:ext>
            </a:extLst>
          </p:cNvPr>
          <p:cNvSpPr/>
          <p:nvPr/>
        </p:nvSpPr>
        <p:spPr>
          <a:xfrm>
            <a:off x="716811" y="3679557"/>
            <a:ext cx="2547172"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escubr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0" name="TextBox 19">
            <a:extLst>
              <a:ext uri="{FF2B5EF4-FFF2-40B4-BE49-F238E27FC236}">
                <a16:creationId xmlns:a16="http://schemas.microsoft.com/office/drawing/2014/main" id="{97E4254A-E4D9-0F4F-9653-0EAF647DF7F1}"/>
              </a:ext>
            </a:extLst>
          </p:cNvPr>
          <p:cNvSpPr txBox="1"/>
          <p:nvPr/>
        </p:nvSpPr>
        <p:spPr>
          <a:xfrm>
            <a:off x="763736" y="4344034"/>
            <a:ext cx="2119089"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L"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Mi potencial</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4" name="Rectangle 13">
            <a:extLst>
              <a:ext uri="{FF2B5EF4-FFF2-40B4-BE49-F238E27FC236}">
                <a16:creationId xmlns:a16="http://schemas.microsoft.com/office/drawing/2014/main" id="{7B028E4B-DA68-DB44-B02D-039EB5EDF1AC}"/>
              </a:ext>
            </a:extLst>
          </p:cNvPr>
          <p:cNvSpPr/>
          <p:nvPr/>
        </p:nvSpPr>
        <p:spPr>
          <a:xfrm>
            <a:off x="3834046" y="3679557"/>
            <a:ext cx="1841594"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efin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1" name="TextBox 20">
            <a:extLst>
              <a:ext uri="{FF2B5EF4-FFF2-40B4-BE49-F238E27FC236}">
                <a16:creationId xmlns:a16="http://schemas.microsoft.com/office/drawing/2014/main" id="{195753B5-FB8E-A645-B402-44656EAB8659}"/>
              </a:ext>
            </a:extLst>
          </p:cNvPr>
          <p:cNvSpPr txBox="1"/>
          <p:nvPr/>
        </p:nvSpPr>
        <p:spPr>
          <a:xfrm>
            <a:off x="3525004" y="4344034"/>
            <a:ext cx="2413020"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Mi </a:t>
            </a:r>
            <a:r>
              <a:rPr kumimoji="0" lang="en-US" sz="2400" b="0" i="0" u="none" strike="noStrike" kern="1200" cap="none" spc="0" normalizeH="0" baseline="0" noProof="0" dirty="0" err="1">
                <a:ln>
                  <a:noFill/>
                </a:ln>
                <a:solidFill>
                  <a:srgbClr val="9BCAEC">
                    <a:lumMod val="40000"/>
                    <a:lumOff val="60000"/>
                  </a:srgbClr>
                </a:solidFill>
                <a:effectLst/>
                <a:uLnTx/>
                <a:uFillTx/>
                <a:latin typeface="Gibson Light" panose="02000000000000000000" pitchFamily="2" charset="77"/>
                <a:ea typeface="+mn-ea"/>
                <a:cs typeface="+mn-cs"/>
              </a:rPr>
              <a:t>objetivo</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5" name="Rectangle 14">
            <a:extLst>
              <a:ext uri="{FF2B5EF4-FFF2-40B4-BE49-F238E27FC236}">
                <a16:creationId xmlns:a16="http://schemas.microsoft.com/office/drawing/2014/main" id="{07BDFBFA-E16F-0C4F-9442-A688C8FBC6A4}"/>
              </a:ext>
            </a:extLst>
          </p:cNvPr>
          <p:cNvSpPr/>
          <p:nvPr/>
        </p:nvSpPr>
        <p:spPr>
          <a:xfrm>
            <a:off x="6437897" y="3679557"/>
            <a:ext cx="1899879"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iseñ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2" name="TextBox 21">
            <a:extLst>
              <a:ext uri="{FF2B5EF4-FFF2-40B4-BE49-F238E27FC236}">
                <a16:creationId xmlns:a16="http://schemas.microsoft.com/office/drawing/2014/main" id="{9DCAB336-74F8-DA42-945A-E5D518FEFDEF}"/>
              </a:ext>
            </a:extLst>
          </p:cNvPr>
          <p:cNvSpPr txBox="1"/>
          <p:nvPr/>
        </p:nvSpPr>
        <p:spPr>
          <a:xfrm>
            <a:off x="6237138" y="4344034"/>
            <a:ext cx="2351093"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L"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La estrategia</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6" name="Rectangle 15">
            <a:extLst>
              <a:ext uri="{FF2B5EF4-FFF2-40B4-BE49-F238E27FC236}">
                <a16:creationId xmlns:a16="http://schemas.microsoft.com/office/drawing/2014/main" id="{72F65926-4873-7848-BB8A-5B54FAEC2353}"/>
              </a:ext>
            </a:extLst>
          </p:cNvPr>
          <p:cNvSpPr/>
          <p:nvPr/>
        </p:nvSpPr>
        <p:spPr>
          <a:xfrm>
            <a:off x="9468158" y="3679557"/>
            <a:ext cx="1532792"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irij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3" name="TextBox 22">
            <a:extLst>
              <a:ext uri="{FF2B5EF4-FFF2-40B4-BE49-F238E27FC236}">
                <a16:creationId xmlns:a16="http://schemas.microsoft.com/office/drawing/2014/main" id="{50E41226-3096-4642-AE41-11A5E9843DF4}"/>
              </a:ext>
            </a:extLst>
          </p:cNvPr>
          <p:cNvSpPr txBox="1"/>
          <p:nvPr/>
        </p:nvSpPr>
        <p:spPr>
          <a:xfrm>
            <a:off x="8936670" y="4344034"/>
            <a:ext cx="2555950"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La </a:t>
            </a:r>
            <a:r>
              <a:rPr kumimoji="0" lang="en-US" sz="2400" b="0" i="0" u="none" strike="noStrike" kern="1200" cap="none" spc="0" normalizeH="0" baseline="0" noProof="0" dirty="0" err="1">
                <a:ln>
                  <a:noFill/>
                </a:ln>
                <a:solidFill>
                  <a:srgbClr val="9BCAEC">
                    <a:lumMod val="40000"/>
                    <a:lumOff val="60000"/>
                  </a:srgbClr>
                </a:solidFill>
                <a:effectLst/>
                <a:uLnTx/>
                <a:uFillTx/>
                <a:latin typeface="Gibson Light" panose="02000000000000000000" pitchFamily="2" charset="77"/>
                <a:ea typeface="+mn-ea"/>
                <a:cs typeface="+mn-cs"/>
              </a:rPr>
              <a:t>acción</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Tree>
    <p:extLst>
      <p:ext uri="{BB962C8B-B14F-4D97-AF65-F5344CB8AC3E}">
        <p14:creationId xmlns:p14="http://schemas.microsoft.com/office/powerpoint/2010/main" val="4460574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childTnLst>
                          </p:cTn>
                        </p:par>
                        <p:par>
                          <p:cTn id="8" fill="hold">
                            <p:stCondLst>
                              <p:cond delay="750"/>
                            </p:stCondLst>
                            <p:childTnLst>
                              <p:par>
                                <p:cTn id="9" presetID="10" presetClass="entr" presetSubtype="0" fill="hold" grpId="0" nodeType="afterEffect">
                                  <p:stCondLst>
                                    <p:cond delay="5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750"/>
                                        <p:tgtEl>
                                          <p:spTgt spid="21"/>
                                        </p:tgtEl>
                                      </p:cBhvr>
                                    </p:animEffect>
                                  </p:childTnLst>
                                </p:cTn>
                              </p:par>
                            </p:childTnLst>
                          </p:cTn>
                        </p:par>
                        <p:par>
                          <p:cTn id="12" fill="hold">
                            <p:stCondLst>
                              <p:cond delay="2000"/>
                            </p:stCondLst>
                            <p:childTnLst>
                              <p:par>
                                <p:cTn id="13" presetID="10" presetClass="entr" presetSubtype="0" fill="hold" grpId="0" nodeType="after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750"/>
                                        <p:tgtEl>
                                          <p:spTgt spid="22"/>
                                        </p:tgtEl>
                                      </p:cBhvr>
                                    </p:animEffect>
                                  </p:childTnLst>
                                </p:cTn>
                              </p:par>
                            </p:childTnLst>
                          </p:cTn>
                        </p:par>
                        <p:par>
                          <p:cTn id="16" fill="hold">
                            <p:stCondLst>
                              <p:cond delay="3250"/>
                            </p:stCondLst>
                            <p:childTnLst>
                              <p:par>
                                <p:cTn id="17" presetID="10" presetClass="entr" presetSubtype="0" fill="hold" grpId="0" nodeType="afterEffect">
                                  <p:stCondLst>
                                    <p:cond delay="50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green field&#10;&#10;Description automatically generated">
            <a:extLst>
              <a:ext uri="{FF2B5EF4-FFF2-40B4-BE49-F238E27FC236}">
                <a16:creationId xmlns:a16="http://schemas.microsoft.com/office/drawing/2014/main" id="{19571B48-ECD6-CB40-51A8-7CA617EDECE9}"/>
              </a:ext>
            </a:extLst>
          </p:cNvPr>
          <p:cNvPicPr>
            <a:picLocks noChangeAspect="1"/>
          </p:cNvPicPr>
          <p:nvPr/>
        </p:nvPicPr>
        <p:blipFill rotWithShape="1">
          <a:blip r:embed="rId3"/>
          <a:srcRect t="54486" b="8950"/>
          <a:stretch/>
        </p:blipFill>
        <p:spPr>
          <a:xfrm>
            <a:off x="0" y="0"/>
            <a:ext cx="12192000" cy="6858000"/>
          </a:xfrm>
          <a:prstGeom prst="rect">
            <a:avLst/>
          </a:prstGeom>
        </p:spPr>
      </p:pic>
      <p:pic>
        <p:nvPicPr>
          <p:cNvPr id="21" name="Picture 20" descr="A hand holding a clock&#10;&#10;Description automatically generated">
            <a:extLst>
              <a:ext uri="{FF2B5EF4-FFF2-40B4-BE49-F238E27FC236}">
                <a16:creationId xmlns:a16="http://schemas.microsoft.com/office/drawing/2014/main" id="{C74FD83D-4566-5D47-8A8B-0D273F49FA9B}"/>
              </a:ext>
            </a:extLst>
          </p:cNvPr>
          <p:cNvPicPr>
            <a:picLocks noChangeAspect="1"/>
          </p:cNvPicPr>
          <p:nvPr/>
        </p:nvPicPr>
        <p:blipFill>
          <a:blip r:embed="rId4"/>
          <a:stretch>
            <a:fillRect/>
          </a:stretch>
        </p:blipFill>
        <p:spPr>
          <a:xfrm>
            <a:off x="563100" y="343879"/>
            <a:ext cx="1520140" cy="1520140"/>
          </a:xfrm>
          <a:prstGeom prst="rect">
            <a:avLst/>
          </a:prstGeom>
        </p:spPr>
      </p:pic>
      <p:sp>
        <p:nvSpPr>
          <p:cNvPr id="31" name="Title 3">
            <a:extLst>
              <a:ext uri="{FF2B5EF4-FFF2-40B4-BE49-F238E27FC236}">
                <a16:creationId xmlns:a16="http://schemas.microsoft.com/office/drawing/2014/main" id="{DC16B9FA-CC1B-E94E-A2B9-FA5C513926C0}"/>
              </a:ext>
            </a:extLst>
          </p:cNvPr>
          <p:cNvSpPr txBox="1">
            <a:spLocks/>
          </p:cNvSpPr>
          <p:nvPr/>
        </p:nvSpPr>
        <p:spPr>
          <a:xfrm>
            <a:off x="2199278" y="836120"/>
            <a:ext cx="9267498"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200" b="1" i="0" u="none" strike="noStrike" kern="1200" cap="none" spc="0" normalizeH="0" baseline="0" noProof="0" dirty="0">
                <a:ln>
                  <a:noFill/>
                </a:ln>
                <a:solidFill>
                  <a:srgbClr val="005EB8"/>
                </a:solidFill>
                <a:effectLst/>
                <a:uLnTx/>
                <a:uFillTx/>
                <a:latin typeface="Calibri Light" panose="020F0302020204030204"/>
                <a:ea typeface="+mj-ea"/>
                <a:cs typeface="+mj-cs"/>
              </a:rPr>
              <a:t>Descubrir</a:t>
            </a:r>
          </a:p>
        </p:txBody>
      </p:sp>
      <p:cxnSp>
        <p:nvCxnSpPr>
          <p:cNvPr id="4" name="Straight Connector 3">
            <a:extLst>
              <a:ext uri="{FF2B5EF4-FFF2-40B4-BE49-F238E27FC236}">
                <a16:creationId xmlns:a16="http://schemas.microsoft.com/office/drawing/2014/main" id="{E46B9588-E47D-A04D-8F9C-C5900C5228E7}"/>
              </a:ext>
            </a:extLst>
          </p:cNvPr>
          <p:cNvCxnSpPr>
            <a:cxnSpLocks/>
          </p:cNvCxnSpPr>
          <p:nvPr/>
        </p:nvCxnSpPr>
        <p:spPr>
          <a:xfrm>
            <a:off x="2258195" y="1374497"/>
            <a:ext cx="9267498"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6" name="Picture 5" descr="A close up of a sign&#10;&#10;Description automatically generated">
            <a:extLst>
              <a:ext uri="{FF2B5EF4-FFF2-40B4-BE49-F238E27FC236}">
                <a16:creationId xmlns:a16="http://schemas.microsoft.com/office/drawing/2014/main" id="{EA0581A6-6A32-4042-A8FF-D3207B19F4BB}"/>
              </a:ext>
            </a:extLst>
          </p:cNvPr>
          <p:cNvPicPr>
            <a:picLocks noChangeAspect="1"/>
          </p:cNvPicPr>
          <p:nvPr/>
        </p:nvPicPr>
        <p:blipFill>
          <a:blip r:embed="rId5"/>
          <a:stretch>
            <a:fillRect/>
          </a:stretch>
        </p:blipFill>
        <p:spPr>
          <a:xfrm>
            <a:off x="2144145" y="1895223"/>
            <a:ext cx="1303423" cy="1303423"/>
          </a:xfrm>
          <a:prstGeom prst="rect">
            <a:avLst/>
          </a:prstGeom>
        </p:spPr>
      </p:pic>
      <p:pic>
        <p:nvPicPr>
          <p:cNvPr id="10" name="Picture 9" descr="A close up of a logo&#10;&#10;Description automatically generated">
            <a:extLst>
              <a:ext uri="{FF2B5EF4-FFF2-40B4-BE49-F238E27FC236}">
                <a16:creationId xmlns:a16="http://schemas.microsoft.com/office/drawing/2014/main" id="{273AED7E-2AF3-1B4D-A822-4EB5E6479BB1}"/>
              </a:ext>
            </a:extLst>
          </p:cNvPr>
          <p:cNvPicPr>
            <a:picLocks noChangeAspect="1"/>
          </p:cNvPicPr>
          <p:nvPr/>
        </p:nvPicPr>
        <p:blipFill>
          <a:blip r:embed="rId6"/>
          <a:stretch>
            <a:fillRect/>
          </a:stretch>
        </p:blipFill>
        <p:spPr>
          <a:xfrm>
            <a:off x="5649925" y="2064126"/>
            <a:ext cx="808182" cy="881653"/>
          </a:xfrm>
          <a:prstGeom prst="rect">
            <a:avLst/>
          </a:prstGeom>
        </p:spPr>
      </p:pic>
      <p:pic>
        <p:nvPicPr>
          <p:cNvPr id="12" name="Picture 11" descr="A close up of a logo&#10;&#10;Description automatically generated">
            <a:extLst>
              <a:ext uri="{FF2B5EF4-FFF2-40B4-BE49-F238E27FC236}">
                <a16:creationId xmlns:a16="http://schemas.microsoft.com/office/drawing/2014/main" id="{E2A373BF-38BF-9A44-BE4E-2D94CBC5F378}"/>
              </a:ext>
            </a:extLst>
          </p:cNvPr>
          <p:cNvPicPr>
            <a:picLocks noChangeAspect="1"/>
          </p:cNvPicPr>
          <p:nvPr/>
        </p:nvPicPr>
        <p:blipFill>
          <a:blip r:embed="rId7"/>
          <a:stretch>
            <a:fillRect/>
          </a:stretch>
        </p:blipFill>
        <p:spPr>
          <a:xfrm>
            <a:off x="8683523" y="1901092"/>
            <a:ext cx="1257300" cy="1257300"/>
          </a:xfrm>
          <a:prstGeom prst="rect">
            <a:avLst/>
          </a:prstGeom>
        </p:spPr>
      </p:pic>
      <p:pic>
        <p:nvPicPr>
          <p:cNvPr id="15" name="Picture 14" descr="A close up of a logo&#10;&#10;Description automatically generated">
            <a:extLst>
              <a:ext uri="{FF2B5EF4-FFF2-40B4-BE49-F238E27FC236}">
                <a16:creationId xmlns:a16="http://schemas.microsoft.com/office/drawing/2014/main" id="{82C0CA68-5105-9044-955F-FA5FBA068659}"/>
              </a:ext>
            </a:extLst>
          </p:cNvPr>
          <p:cNvPicPr>
            <a:picLocks noChangeAspect="1"/>
          </p:cNvPicPr>
          <p:nvPr/>
        </p:nvPicPr>
        <p:blipFill>
          <a:blip r:embed="rId8"/>
          <a:stretch>
            <a:fillRect/>
          </a:stretch>
        </p:blipFill>
        <p:spPr>
          <a:xfrm>
            <a:off x="3689565" y="3628186"/>
            <a:ext cx="1734856" cy="1734856"/>
          </a:xfrm>
          <a:prstGeom prst="rect">
            <a:avLst/>
          </a:prstGeom>
        </p:spPr>
      </p:pic>
      <p:pic>
        <p:nvPicPr>
          <p:cNvPr id="18" name="Picture 17" descr="A picture containing light&#10;&#10;Description automatically generated">
            <a:extLst>
              <a:ext uri="{FF2B5EF4-FFF2-40B4-BE49-F238E27FC236}">
                <a16:creationId xmlns:a16="http://schemas.microsoft.com/office/drawing/2014/main" id="{3DEA8205-07C8-C84D-AA73-B34EA7B6E612}"/>
              </a:ext>
            </a:extLst>
          </p:cNvPr>
          <p:cNvPicPr>
            <a:picLocks noChangeAspect="1"/>
          </p:cNvPicPr>
          <p:nvPr/>
        </p:nvPicPr>
        <p:blipFill>
          <a:blip r:embed="rId9"/>
          <a:stretch>
            <a:fillRect/>
          </a:stretch>
        </p:blipFill>
        <p:spPr>
          <a:xfrm>
            <a:off x="7052984" y="3737038"/>
            <a:ext cx="1517151" cy="1517151"/>
          </a:xfrm>
          <a:prstGeom prst="rect">
            <a:avLst/>
          </a:prstGeom>
        </p:spPr>
      </p:pic>
      <p:sp>
        <p:nvSpPr>
          <p:cNvPr id="23" name="Title 3">
            <a:extLst>
              <a:ext uri="{FF2B5EF4-FFF2-40B4-BE49-F238E27FC236}">
                <a16:creationId xmlns:a16="http://schemas.microsoft.com/office/drawing/2014/main" id="{B44C7F2D-6C5F-4AB9-9E4D-2D6FB8C3A56A}"/>
              </a:ext>
            </a:extLst>
          </p:cNvPr>
          <p:cNvSpPr txBox="1">
            <a:spLocks/>
          </p:cNvSpPr>
          <p:nvPr/>
        </p:nvSpPr>
        <p:spPr>
          <a:xfrm>
            <a:off x="1572381" y="3124047"/>
            <a:ext cx="2446949" cy="47697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Cuál es su origen?</a:t>
            </a:r>
          </a:p>
        </p:txBody>
      </p:sp>
      <p:sp>
        <p:nvSpPr>
          <p:cNvPr id="24" name="Title 3">
            <a:extLst>
              <a:ext uri="{FF2B5EF4-FFF2-40B4-BE49-F238E27FC236}">
                <a16:creationId xmlns:a16="http://schemas.microsoft.com/office/drawing/2014/main" id="{1D151D30-6B99-487D-A907-298AC7335E4A}"/>
              </a:ext>
            </a:extLst>
          </p:cNvPr>
          <p:cNvSpPr txBox="1">
            <a:spLocks/>
          </p:cNvSpPr>
          <p:nvPr/>
        </p:nvSpPr>
        <p:spPr>
          <a:xfrm>
            <a:off x="4710046" y="3124047"/>
            <a:ext cx="2687940" cy="47697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1" i="0" u="none" strike="noStrike" kern="1200" cap="none" spc="0" normalizeH="0" baseline="0" noProof="0" dirty="0">
                <a:ln>
                  <a:noFill/>
                </a:ln>
                <a:solidFill>
                  <a:srgbClr val="4472C4"/>
                </a:solidFill>
                <a:effectLst/>
                <a:uLnTx/>
                <a:uFillTx/>
                <a:latin typeface="Calibri Light" panose="020F0302020204030204"/>
                <a:ea typeface="+mj-ea"/>
                <a:cs typeface="+mj-cs"/>
              </a:rPr>
              <a:t>¿Cuándo comenzaron su búsqueda?</a:t>
            </a:r>
          </a:p>
        </p:txBody>
      </p:sp>
      <p:sp>
        <p:nvSpPr>
          <p:cNvPr id="28" name="Title 3">
            <a:extLst>
              <a:ext uri="{FF2B5EF4-FFF2-40B4-BE49-F238E27FC236}">
                <a16:creationId xmlns:a16="http://schemas.microsoft.com/office/drawing/2014/main" id="{1C8ECB2B-2781-45FA-8350-52AA9DD35992}"/>
              </a:ext>
            </a:extLst>
          </p:cNvPr>
          <p:cNvSpPr txBox="1">
            <a:spLocks/>
          </p:cNvSpPr>
          <p:nvPr/>
        </p:nvSpPr>
        <p:spPr>
          <a:xfrm>
            <a:off x="8088698" y="3124047"/>
            <a:ext cx="2446949" cy="47697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Cómo viajan?</a:t>
            </a:r>
          </a:p>
        </p:txBody>
      </p:sp>
      <p:sp>
        <p:nvSpPr>
          <p:cNvPr id="30" name="Title 3">
            <a:extLst>
              <a:ext uri="{FF2B5EF4-FFF2-40B4-BE49-F238E27FC236}">
                <a16:creationId xmlns:a16="http://schemas.microsoft.com/office/drawing/2014/main" id="{4FA35060-4FC8-45C6-8C8A-8519153424DD}"/>
              </a:ext>
            </a:extLst>
          </p:cNvPr>
          <p:cNvSpPr txBox="1">
            <a:spLocks/>
          </p:cNvSpPr>
          <p:nvPr/>
        </p:nvSpPr>
        <p:spPr>
          <a:xfrm>
            <a:off x="3333518" y="5199467"/>
            <a:ext cx="2446949"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Cuál es la duración de su viaje?</a:t>
            </a:r>
          </a:p>
        </p:txBody>
      </p:sp>
      <p:sp>
        <p:nvSpPr>
          <p:cNvPr id="33" name="Title 3">
            <a:extLst>
              <a:ext uri="{FF2B5EF4-FFF2-40B4-BE49-F238E27FC236}">
                <a16:creationId xmlns:a16="http://schemas.microsoft.com/office/drawing/2014/main" id="{B3D1AEE3-ECDF-4019-B376-37B2C1BF2385}"/>
              </a:ext>
            </a:extLst>
          </p:cNvPr>
          <p:cNvSpPr txBox="1">
            <a:spLocks/>
          </p:cNvSpPr>
          <p:nvPr/>
        </p:nvSpPr>
        <p:spPr>
          <a:xfrm>
            <a:off x="6465737" y="5200466"/>
            <a:ext cx="2691644"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Con quién competimos?</a:t>
            </a:r>
          </a:p>
        </p:txBody>
      </p:sp>
    </p:spTree>
    <p:extLst>
      <p:ext uri="{BB962C8B-B14F-4D97-AF65-F5344CB8AC3E}">
        <p14:creationId xmlns:p14="http://schemas.microsoft.com/office/powerpoint/2010/main" val="4010273375"/>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239585" y="3888827"/>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sp>
        <p:nvSpPr>
          <p:cNvPr id="2" name="Title 6">
            <a:extLst>
              <a:ext uri="{FF2B5EF4-FFF2-40B4-BE49-F238E27FC236}">
                <a16:creationId xmlns:a16="http://schemas.microsoft.com/office/drawing/2014/main" id="{1E47156E-6F9E-C3D3-117B-218B4508A0E4}"/>
              </a:ext>
            </a:extLst>
          </p:cNvPr>
          <p:cNvSpPr txBox="1">
            <a:spLocks/>
          </p:cNvSpPr>
          <p:nvPr/>
        </p:nvSpPr>
        <p:spPr>
          <a:xfrm>
            <a:off x="1926772" y="331119"/>
            <a:ext cx="8632372"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a:solidFill>
                  <a:srgbClr val="005EB8"/>
                </a:solidFill>
                <a:latin typeface="+mn-lt"/>
                <a:ea typeface="ＭＳ Ｐゴシック" charset="-128"/>
                <a:cs typeface="+mn-cs"/>
              </a:rPr>
              <a:t>Market share de Uruguay a </a:t>
            </a:r>
            <a:r>
              <a:rPr lang="en-US" altLang="es-ES_tradnl" b="1" dirty="0" err="1">
                <a:solidFill>
                  <a:srgbClr val="005EB8"/>
                </a:solidFill>
                <a:latin typeface="+mn-lt"/>
                <a:ea typeface="ＭＳ Ｐゴシック" charset="-128"/>
                <a:cs typeface="+mn-cs"/>
              </a:rPr>
              <a:t>nivel</a:t>
            </a:r>
            <a:r>
              <a:rPr lang="en-US" altLang="es-ES_tradnl" b="1" dirty="0">
                <a:solidFill>
                  <a:srgbClr val="005EB8"/>
                </a:solidFill>
                <a:latin typeface="+mn-lt"/>
                <a:ea typeface="ＭＳ Ｐゴシック" charset="-128"/>
                <a:cs typeface="+mn-cs"/>
              </a:rPr>
              <a:t> </a:t>
            </a:r>
            <a:r>
              <a:rPr lang="en-US" altLang="es-ES_tradnl" b="1" dirty="0" err="1">
                <a:solidFill>
                  <a:srgbClr val="005EB8"/>
                </a:solidFill>
                <a:latin typeface="+mn-lt"/>
                <a:ea typeface="ＭＳ Ｐゴシック" charset="-128"/>
                <a:cs typeface="+mn-cs"/>
              </a:rPr>
              <a:t>mundial</a:t>
            </a:r>
            <a:r>
              <a:rPr lang="en-US" altLang="es-ES_tradnl" b="1" dirty="0">
                <a:solidFill>
                  <a:srgbClr val="005EB8"/>
                </a:solidFill>
                <a:latin typeface="+mn-lt"/>
                <a:ea typeface="ＭＳ Ｐゴシック" charset="-128"/>
                <a:cs typeface="+mn-cs"/>
              </a:rPr>
              <a:t> &gt; 0,08%</a:t>
            </a:r>
          </a:p>
        </p:txBody>
      </p:sp>
      <p:sp>
        <p:nvSpPr>
          <p:cNvPr id="10" name="Espace réservé du contenu 11">
            <a:extLst>
              <a:ext uri="{FF2B5EF4-FFF2-40B4-BE49-F238E27FC236}">
                <a16:creationId xmlns:a16="http://schemas.microsoft.com/office/drawing/2014/main" id="{22792480-4D15-021A-55E7-260CF93360AF}"/>
              </a:ext>
            </a:extLst>
          </p:cNvPr>
          <p:cNvSpPr txBox="1">
            <a:spLocks/>
          </p:cNvSpPr>
          <p:nvPr/>
        </p:nvSpPr>
        <p:spPr>
          <a:xfrm>
            <a:off x="425302" y="1481704"/>
            <a:ext cx="2172092" cy="48846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a:solidFill>
                  <a:srgbClr val="4472C4"/>
                </a:solidFill>
                <a:latin typeface="Calibri" panose="020F0502020204030204"/>
              </a:rPr>
              <a:t>Los </a:t>
            </a:r>
            <a:r>
              <a:rPr lang="en-US" sz="1200" b="1" cap="all" dirty="0" err="1">
                <a:solidFill>
                  <a:srgbClr val="4472C4"/>
                </a:solidFill>
                <a:latin typeface="Calibri" panose="020F0502020204030204"/>
              </a:rPr>
              <a:t>países</a:t>
            </a:r>
            <a:r>
              <a:rPr lang="en-US" sz="1200" b="1" cap="all" dirty="0">
                <a:solidFill>
                  <a:srgbClr val="4472C4"/>
                </a:solidFill>
                <a:latin typeface="Calibri" panose="020F0502020204030204"/>
              </a:rPr>
              <a:t> del </a:t>
            </a:r>
            <a:r>
              <a:rPr lang="en-US" sz="1200" b="1" cap="all" dirty="0" err="1">
                <a:solidFill>
                  <a:srgbClr val="4472C4"/>
                </a:solidFill>
                <a:latin typeface="Calibri" panose="020F0502020204030204"/>
              </a:rPr>
              <a:t>mundo</a:t>
            </a:r>
            <a:r>
              <a:rPr lang="en-US" sz="1200" b="1" cap="all" dirty="0">
                <a:solidFill>
                  <a:srgbClr val="4472C4"/>
                </a:solidFill>
                <a:latin typeface="Calibri" panose="020F0502020204030204"/>
              </a:rPr>
              <a:t> con mayor </a:t>
            </a:r>
            <a:r>
              <a:rPr lang="en-US" sz="1200" b="1" cap="all" dirty="0" err="1">
                <a:solidFill>
                  <a:srgbClr val="4472C4"/>
                </a:solidFill>
                <a:latin typeface="Calibri" panose="020F0502020204030204"/>
              </a:rPr>
              <a:t>intención</a:t>
            </a:r>
            <a:r>
              <a:rPr lang="en-US" sz="1200" b="1" cap="all" dirty="0">
                <a:solidFill>
                  <a:srgbClr val="4472C4"/>
                </a:solidFill>
                <a:latin typeface="Calibri" panose="020F0502020204030204"/>
              </a:rPr>
              <a:t> de </a:t>
            </a:r>
            <a:r>
              <a:rPr lang="en-US" sz="1200" b="1" cap="all" dirty="0" err="1">
                <a:solidFill>
                  <a:srgbClr val="4472C4"/>
                </a:solidFill>
                <a:latin typeface="Calibri" panose="020F0502020204030204"/>
              </a:rPr>
              <a:t>viaje</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13" name="Espace réservé du contenu 11">
            <a:extLst>
              <a:ext uri="{FF2B5EF4-FFF2-40B4-BE49-F238E27FC236}">
                <a16:creationId xmlns:a16="http://schemas.microsoft.com/office/drawing/2014/main" id="{659CCCD6-D77F-9C27-3D62-D41D1CC0CAFD}"/>
              </a:ext>
            </a:extLst>
          </p:cNvPr>
          <p:cNvSpPr txBox="1">
            <a:spLocks/>
          </p:cNvSpPr>
          <p:nvPr/>
        </p:nvSpPr>
        <p:spPr>
          <a:xfrm>
            <a:off x="2986446" y="1481703"/>
            <a:ext cx="2172092" cy="48846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a:solidFill>
                  <a:srgbClr val="4472C4"/>
                </a:solidFill>
                <a:latin typeface="Calibri" panose="020F0502020204030204"/>
              </a:rPr>
              <a:t>Los </a:t>
            </a:r>
            <a:r>
              <a:rPr lang="en-US" sz="1200" b="1" cap="all" dirty="0" err="1">
                <a:solidFill>
                  <a:srgbClr val="4472C4"/>
                </a:solidFill>
                <a:latin typeface="Calibri" panose="020F0502020204030204"/>
              </a:rPr>
              <a:t>países</a:t>
            </a:r>
            <a:r>
              <a:rPr lang="en-US" sz="1200" b="1" cap="all" dirty="0">
                <a:solidFill>
                  <a:srgbClr val="4472C4"/>
                </a:solidFill>
                <a:latin typeface="Calibri" panose="020F0502020204030204"/>
              </a:rPr>
              <a:t> del </a:t>
            </a:r>
            <a:r>
              <a:rPr lang="en-US" sz="1200" b="1" cap="all" dirty="0" err="1">
                <a:solidFill>
                  <a:srgbClr val="4472C4"/>
                </a:solidFill>
                <a:latin typeface="Calibri" panose="020F0502020204030204"/>
              </a:rPr>
              <a:t>mundo</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más</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demandados</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15" name="Picture 14" descr="A graph of green bars&#10;&#10;Description automatically generated">
            <a:extLst>
              <a:ext uri="{FF2B5EF4-FFF2-40B4-BE49-F238E27FC236}">
                <a16:creationId xmlns:a16="http://schemas.microsoft.com/office/drawing/2014/main" id="{2E6B7B19-1952-6734-2AD0-BBEFE4D98511}"/>
              </a:ext>
            </a:extLst>
          </p:cNvPr>
          <p:cNvPicPr>
            <a:picLocks noChangeAspect="1"/>
          </p:cNvPicPr>
          <p:nvPr/>
        </p:nvPicPr>
        <p:blipFill rotWithShape="1">
          <a:blip r:embed="rId3">
            <a:extLst>
              <a:ext uri="{28A0092B-C50C-407E-A947-70E740481C1C}">
                <a14:useLocalDpi xmlns:a14="http://schemas.microsoft.com/office/drawing/2010/main" val="0"/>
              </a:ext>
            </a:extLst>
          </a:blip>
          <a:srcRect l="23965" t="16190" r="16692" b="7778"/>
          <a:stretch/>
        </p:blipFill>
        <p:spPr>
          <a:xfrm>
            <a:off x="5638041" y="1281698"/>
            <a:ext cx="6128657" cy="5214257"/>
          </a:xfrm>
          <a:prstGeom prst="rect">
            <a:avLst/>
          </a:prstGeom>
          <a:ln>
            <a:solidFill>
              <a:schemeClr val="accent1"/>
            </a:solidFill>
          </a:ln>
        </p:spPr>
      </p:pic>
      <p:sp>
        <p:nvSpPr>
          <p:cNvPr id="18" name="New shape">
            <a:extLst>
              <a:ext uri="{FF2B5EF4-FFF2-40B4-BE49-F238E27FC236}">
                <a16:creationId xmlns:a16="http://schemas.microsoft.com/office/drawing/2014/main" id="{7D00F39C-3DF5-00D8-DAA5-4BDBBA7AE747}"/>
              </a:ext>
            </a:extLst>
          </p:cNvPr>
          <p:cNvSpPr/>
          <p:nvPr/>
        </p:nvSpPr>
        <p:spPr>
          <a:xfrm>
            <a:off x="7784386" y="6549166"/>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graphicFrame>
        <p:nvGraphicFramePr>
          <p:cNvPr id="4" name="Table 26">
            <a:extLst>
              <a:ext uri="{FF2B5EF4-FFF2-40B4-BE49-F238E27FC236}">
                <a16:creationId xmlns:a16="http://schemas.microsoft.com/office/drawing/2014/main" id="{8F09CB3E-0121-317D-3106-D6AA850EF312}"/>
              </a:ext>
            </a:extLst>
          </p:cNvPr>
          <p:cNvGraphicFramePr>
            <a:graphicFrameLocks noGrp="1"/>
          </p:cNvGraphicFramePr>
          <p:nvPr>
            <p:extLst>
              <p:ext uri="{D42A27DB-BD31-4B8C-83A1-F6EECF244321}">
                <p14:modId xmlns:p14="http://schemas.microsoft.com/office/powerpoint/2010/main" val="1983218066"/>
              </p:ext>
            </p:extLst>
          </p:nvPr>
        </p:nvGraphicFramePr>
        <p:xfrm>
          <a:off x="478046" y="2319287"/>
          <a:ext cx="2119348" cy="4207594"/>
        </p:xfrm>
        <a:graphic>
          <a:graphicData uri="http://schemas.openxmlformats.org/drawingml/2006/table">
            <a:tbl>
              <a:tblPr firstRow="1" bandRow="1"/>
              <a:tblGrid>
                <a:gridCol w="1059674">
                  <a:extLst>
                    <a:ext uri="{9D8B030D-6E8A-4147-A177-3AD203B41FA5}">
                      <a16:colId xmlns:a16="http://schemas.microsoft.com/office/drawing/2014/main" val="1150457880"/>
                    </a:ext>
                  </a:extLst>
                </a:gridCol>
                <a:gridCol w="1059674">
                  <a:extLst>
                    <a:ext uri="{9D8B030D-6E8A-4147-A177-3AD203B41FA5}">
                      <a16:colId xmlns:a16="http://schemas.microsoft.com/office/drawing/2014/main" val="2555060522"/>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5%</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eino Unido</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0,8%</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lemani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6,1%</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Franc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anadá</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6% </a:t>
                      </a:r>
                      <a:r>
                        <a:rPr lang="de-DE" sz="1400" b="1" i="0" u="none" strike="noStrike" dirty="0">
                          <a:solidFill>
                            <a:schemeClr val="accent6"/>
                          </a:solidFill>
                          <a:effectLst/>
                          <a:latin typeface="Calibri" panose="020F0502020204030204" pitchFamily="34" charset="0"/>
                        </a:rPr>
                        <a:t>↑</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orea del Sur</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3% </a:t>
                      </a:r>
                      <a:r>
                        <a:rPr lang="de-DE" sz="1400" b="1" i="0" u="none" strike="noStrike" dirty="0">
                          <a:solidFill>
                            <a:schemeClr val="accent6"/>
                          </a:solidFill>
                          <a:effectLst/>
                          <a:latin typeface="Calibri" panose="020F0502020204030204" pitchFamily="34" charset="0"/>
                        </a:rPr>
                        <a:t>↑</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Ital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ustral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6% </a:t>
                      </a:r>
                      <a:r>
                        <a:rPr lang="de-DE" sz="1400" b="1" i="0" u="none" strike="noStrike" dirty="0">
                          <a:solidFill>
                            <a:schemeClr val="accent6"/>
                          </a:solidFill>
                          <a:effectLst/>
                          <a:latin typeface="Calibri" panose="020F0502020204030204" pitchFamily="34" charset="0"/>
                        </a:rPr>
                        <a:t>↑</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graphicFrame>
        <p:nvGraphicFramePr>
          <p:cNvPr id="6" name="Table 26">
            <a:extLst>
              <a:ext uri="{FF2B5EF4-FFF2-40B4-BE49-F238E27FC236}">
                <a16:creationId xmlns:a16="http://schemas.microsoft.com/office/drawing/2014/main" id="{C3C5502A-1B49-EDAA-D761-8471D4D00D75}"/>
              </a:ext>
            </a:extLst>
          </p:cNvPr>
          <p:cNvGraphicFramePr>
            <a:graphicFrameLocks noGrp="1"/>
          </p:cNvGraphicFramePr>
          <p:nvPr>
            <p:extLst>
              <p:ext uri="{D42A27DB-BD31-4B8C-83A1-F6EECF244321}">
                <p14:modId xmlns:p14="http://schemas.microsoft.com/office/powerpoint/2010/main" val="2927319868"/>
              </p:ext>
            </p:extLst>
          </p:nvPr>
        </p:nvGraphicFramePr>
        <p:xfrm>
          <a:off x="3012818" y="2319287"/>
          <a:ext cx="2119348" cy="4207594"/>
        </p:xfrm>
        <a:graphic>
          <a:graphicData uri="http://schemas.openxmlformats.org/drawingml/2006/table">
            <a:tbl>
              <a:tblPr firstRow="1" bandRow="1"/>
              <a:tblGrid>
                <a:gridCol w="1059674">
                  <a:extLst>
                    <a:ext uri="{9D8B030D-6E8A-4147-A177-3AD203B41FA5}">
                      <a16:colId xmlns:a16="http://schemas.microsoft.com/office/drawing/2014/main" val="1150457880"/>
                    </a:ext>
                  </a:extLst>
                </a:gridCol>
                <a:gridCol w="1059674">
                  <a:extLst>
                    <a:ext uri="{9D8B030D-6E8A-4147-A177-3AD203B41FA5}">
                      <a16:colId xmlns:a16="http://schemas.microsoft.com/office/drawing/2014/main" val="2555060522"/>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9%</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8%</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eino Unido</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4%</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Ital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3%</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Ind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1%</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Japon</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9% </a:t>
                      </a:r>
                      <a:r>
                        <a:rPr lang="de-DE" sz="1400" b="1" i="0" u="none" strike="noStrike" dirty="0">
                          <a:solidFill>
                            <a:schemeClr val="accent6"/>
                          </a:solidFill>
                          <a:effectLst/>
                          <a:latin typeface="Calibri" panose="020F0502020204030204" pitchFamily="34" charset="0"/>
                        </a:rPr>
                        <a:t>↑</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Tailand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4% </a:t>
                      </a:r>
                      <a:r>
                        <a:rPr lang="de-DE" sz="1400" b="1" i="0" u="none" strike="noStrike" dirty="0">
                          <a:solidFill>
                            <a:schemeClr val="accent6"/>
                          </a:solidFill>
                          <a:effectLst/>
                          <a:latin typeface="Calibri" panose="020F0502020204030204" pitchFamily="34" charset="0"/>
                        </a:rPr>
                        <a:t>↑</a:t>
                      </a:r>
                      <a:endParaRPr lang="de-DE" sz="14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Franc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4%</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hin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7% </a:t>
                      </a:r>
                      <a:r>
                        <a:rPr lang="de-DE" sz="1400" b="1" i="0" u="none" strike="noStrike" dirty="0">
                          <a:solidFill>
                            <a:schemeClr val="accent6"/>
                          </a:solidFill>
                          <a:effectLst/>
                          <a:latin typeface="Calibri" panose="020F0502020204030204" pitchFamily="34" charset="0"/>
                        </a:rPr>
                        <a:t>↑</a:t>
                      </a:r>
                      <a:endParaRPr lang="de-DE" sz="14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spTree>
    <p:extLst>
      <p:ext uri="{BB962C8B-B14F-4D97-AF65-F5344CB8AC3E}">
        <p14:creationId xmlns:p14="http://schemas.microsoft.com/office/powerpoint/2010/main" val="2443885685"/>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239585" y="3888827"/>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sp>
        <p:nvSpPr>
          <p:cNvPr id="2" name="Title 6">
            <a:extLst>
              <a:ext uri="{FF2B5EF4-FFF2-40B4-BE49-F238E27FC236}">
                <a16:creationId xmlns:a16="http://schemas.microsoft.com/office/drawing/2014/main" id="{1E47156E-6F9E-C3D3-117B-218B4508A0E4}"/>
              </a:ext>
            </a:extLst>
          </p:cNvPr>
          <p:cNvSpPr txBox="1">
            <a:spLocks/>
          </p:cNvSpPr>
          <p:nvPr/>
        </p:nvSpPr>
        <p:spPr>
          <a:xfrm>
            <a:off x="2239586" y="328739"/>
            <a:ext cx="8178044"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a:solidFill>
                  <a:srgbClr val="005EB8"/>
                </a:solidFill>
                <a:latin typeface="+mn-lt"/>
                <a:ea typeface="ＭＳ Ｐゴシック" charset="-128"/>
                <a:cs typeface="+mn-cs"/>
              </a:rPr>
              <a:t>Market share de Uruguay en </a:t>
            </a:r>
            <a:r>
              <a:rPr lang="en-US" altLang="es-ES_tradnl" b="1" dirty="0" err="1">
                <a:solidFill>
                  <a:srgbClr val="005EB8"/>
                </a:solidFill>
                <a:latin typeface="+mn-lt"/>
                <a:ea typeface="ＭＳ Ｐゴシック" charset="-128"/>
                <a:cs typeface="+mn-cs"/>
              </a:rPr>
              <a:t>Sudamérica</a:t>
            </a:r>
            <a:r>
              <a:rPr lang="en-US" altLang="es-ES_tradnl" b="1" dirty="0">
                <a:solidFill>
                  <a:srgbClr val="005EB8"/>
                </a:solidFill>
                <a:latin typeface="+mn-lt"/>
                <a:ea typeface="ＭＳ Ｐゴシック" charset="-128"/>
                <a:cs typeface="+mn-cs"/>
              </a:rPr>
              <a:t> &gt; 2%</a:t>
            </a:r>
          </a:p>
        </p:txBody>
      </p:sp>
      <p:sp>
        <p:nvSpPr>
          <p:cNvPr id="10" name="Espace réservé du contenu 11">
            <a:extLst>
              <a:ext uri="{FF2B5EF4-FFF2-40B4-BE49-F238E27FC236}">
                <a16:creationId xmlns:a16="http://schemas.microsoft.com/office/drawing/2014/main" id="{22792480-4D15-021A-55E7-260CF93360AF}"/>
              </a:ext>
            </a:extLst>
          </p:cNvPr>
          <p:cNvSpPr txBox="1">
            <a:spLocks/>
          </p:cNvSpPr>
          <p:nvPr/>
        </p:nvSpPr>
        <p:spPr>
          <a:xfrm>
            <a:off x="317387" y="1488095"/>
            <a:ext cx="2172092" cy="48846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a:solidFill>
                  <a:srgbClr val="4472C4"/>
                </a:solidFill>
                <a:latin typeface="Calibri" panose="020F0502020204030204"/>
              </a:rPr>
              <a:t>DESTINOS en </a:t>
            </a:r>
            <a:r>
              <a:rPr lang="en-US" sz="1200" b="1" cap="all" dirty="0" err="1">
                <a:solidFill>
                  <a:srgbClr val="4472C4"/>
                </a:solidFill>
                <a:latin typeface="Calibri" panose="020F0502020204030204"/>
              </a:rPr>
              <a:t>sudamérica</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más</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buscados</a:t>
            </a:r>
            <a:r>
              <a:rPr lang="en-US" sz="1200" b="1" cap="all" dirty="0">
                <a:solidFill>
                  <a:srgbClr val="4472C4"/>
                </a:solidFill>
                <a:latin typeface="Calibri" panose="020F0502020204030204"/>
              </a:rPr>
              <a:t> en el </a:t>
            </a:r>
            <a:r>
              <a:rPr lang="en-US" sz="1200" b="1" cap="all" dirty="0" err="1">
                <a:solidFill>
                  <a:srgbClr val="4472C4"/>
                </a:solidFill>
                <a:latin typeface="Calibri" panose="020F0502020204030204"/>
              </a:rPr>
              <a:t>mundo</a:t>
            </a:r>
            <a:r>
              <a:rPr lang="en-US" sz="1200" b="1" cap="all" dirty="0">
                <a:solidFill>
                  <a:srgbClr val="4472C4"/>
                </a:solidFill>
                <a:latin typeface="Calibri" panose="020F0502020204030204"/>
                <a:sym typeface="Wingdings" panose="05000000000000000000" pitchFamily="2" charset="2"/>
              </a:rPr>
              <a:t> </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6" name="Picture 5" descr="A graph of green bars&#10;&#10;Description automatically generated with medium confidence">
            <a:extLst>
              <a:ext uri="{FF2B5EF4-FFF2-40B4-BE49-F238E27FC236}">
                <a16:creationId xmlns:a16="http://schemas.microsoft.com/office/drawing/2014/main" id="{F5DA8E4A-2C6B-5D39-0EB3-DB39B62C22FA}"/>
              </a:ext>
            </a:extLst>
          </p:cNvPr>
          <p:cNvPicPr>
            <a:picLocks noChangeAspect="1"/>
          </p:cNvPicPr>
          <p:nvPr/>
        </p:nvPicPr>
        <p:blipFill rotWithShape="1">
          <a:blip r:embed="rId3">
            <a:extLst>
              <a:ext uri="{28A0092B-C50C-407E-A947-70E740481C1C}">
                <a14:useLocalDpi xmlns:a14="http://schemas.microsoft.com/office/drawing/2010/main" val="0"/>
              </a:ext>
            </a:extLst>
          </a:blip>
          <a:srcRect l="24386" t="17461" r="17113" b="8254"/>
          <a:stretch/>
        </p:blipFill>
        <p:spPr>
          <a:xfrm>
            <a:off x="5833041" y="1341570"/>
            <a:ext cx="6041572" cy="5094514"/>
          </a:xfrm>
          <a:prstGeom prst="rect">
            <a:avLst/>
          </a:prstGeom>
          <a:ln>
            <a:solidFill>
              <a:schemeClr val="accent1"/>
            </a:solidFill>
          </a:ln>
        </p:spPr>
      </p:pic>
      <p:sp>
        <p:nvSpPr>
          <p:cNvPr id="13" name="Espace réservé du contenu 11">
            <a:extLst>
              <a:ext uri="{FF2B5EF4-FFF2-40B4-BE49-F238E27FC236}">
                <a16:creationId xmlns:a16="http://schemas.microsoft.com/office/drawing/2014/main" id="{CDAEF77B-8DE7-684C-F180-0FADA20E0892}"/>
              </a:ext>
            </a:extLst>
          </p:cNvPr>
          <p:cNvSpPr txBox="1">
            <a:spLocks/>
          </p:cNvSpPr>
          <p:nvPr/>
        </p:nvSpPr>
        <p:spPr>
          <a:xfrm>
            <a:off x="3195890" y="1386528"/>
            <a:ext cx="2172092" cy="691600"/>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err="1">
                <a:solidFill>
                  <a:srgbClr val="4472C4"/>
                </a:solidFill>
                <a:latin typeface="Calibri" panose="020F0502020204030204"/>
              </a:rPr>
              <a:t>Ciudades</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destino</a:t>
            </a:r>
            <a:r>
              <a:rPr lang="en-US" sz="1200" b="1" cap="all" dirty="0">
                <a:solidFill>
                  <a:srgbClr val="4472C4"/>
                </a:solidFill>
                <a:latin typeface="Calibri" panose="020F0502020204030204"/>
              </a:rPr>
              <a:t> en </a:t>
            </a:r>
            <a:r>
              <a:rPr lang="en-US" sz="1200" b="1" cap="all" dirty="0" err="1">
                <a:solidFill>
                  <a:srgbClr val="4472C4"/>
                </a:solidFill>
                <a:latin typeface="Calibri" panose="020F0502020204030204"/>
              </a:rPr>
              <a:t>sudamérica</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más</a:t>
            </a:r>
            <a:r>
              <a:rPr lang="en-US" sz="1200" b="1" cap="all" dirty="0">
                <a:solidFill>
                  <a:srgbClr val="4472C4"/>
                </a:solidFill>
                <a:latin typeface="Calibri" panose="020F0502020204030204"/>
              </a:rPr>
              <a:t> </a:t>
            </a:r>
            <a:r>
              <a:rPr lang="en-US" sz="1200" b="1" cap="all" dirty="0" err="1">
                <a:solidFill>
                  <a:srgbClr val="4472C4"/>
                </a:solidFill>
                <a:latin typeface="Calibri" panose="020F0502020204030204"/>
              </a:rPr>
              <a:t>buscadas</a:t>
            </a:r>
            <a:r>
              <a:rPr lang="en-US" sz="1200" b="1" cap="all" dirty="0">
                <a:solidFill>
                  <a:srgbClr val="4472C4"/>
                </a:solidFill>
                <a:latin typeface="Calibri" panose="020F0502020204030204"/>
              </a:rPr>
              <a:t> en el </a:t>
            </a:r>
            <a:r>
              <a:rPr lang="en-US" sz="1200" b="1" cap="all" dirty="0" err="1">
                <a:solidFill>
                  <a:srgbClr val="4472C4"/>
                </a:solidFill>
                <a:latin typeface="Calibri" panose="020F0502020204030204"/>
              </a:rPr>
              <a:t>mundo</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7C94EA00-14E3-35B3-475B-B59198AA466D}"/>
              </a:ext>
            </a:extLst>
          </p:cNvPr>
          <p:cNvSpPr txBox="1"/>
          <p:nvPr/>
        </p:nvSpPr>
        <p:spPr>
          <a:xfrm>
            <a:off x="2895600" y="4659955"/>
            <a:ext cx="6096000" cy="369332"/>
          </a:xfrm>
          <a:prstGeom prst="rect">
            <a:avLst/>
          </a:prstGeom>
          <a:noFill/>
        </p:spPr>
        <p:txBody>
          <a:bodyPr wrap="square">
            <a:spAutoFit/>
          </a:bodyPr>
          <a:lstStyle/>
          <a:p>
            <a:r>
              <a:rPr lang="en-US" sz="1800" b="1" cap="all" dirty="0">
                <a:solidFill>
                  <a:srgbClr val="4472C4"/>
                </a:solidFill>
                <a:latin typeface="Calibri" panose="020F0502020204030204"/>
                <a:sym typeface="Wingdings" panose="05000000000000000000" pitchFamily="2" charset="2"/>
              </a:rPr>
              <a:t></a:t>
            </a:r>
            <a:endParaRPr lang="es-CL" dirty="0"/>
          </a:p>
        </p:txBody>
      </p:sp>
      <p:sp>
        <p:nvSpPr>
          <p:cNvPr id="18" name="New shape">
            <a:extLst>
              <a:ext uri="{FF2B5EF4-FFF2-40B4-BE49-F238E27FC236}">
                <a16:creationId xmlns:a16="http://schemas.microsoft.com/office/drawing/2014/main" id="{C4314AC8-249E-B7FB-F139-B324A9D5F078}"/>
              </a:ext>
            </a:extLst>
          </p:cNvPr>
          <p:cNvSpPr/>
          <p:nvPr/>
        </p:nvSpPr>
        <p:spPr>
          <a:xfrm>
            <a:off x="7784386" y="6549166"/>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graphicFrame>
        <p:nvGraphicFramePr>
          <p:cNvPr id="11" name="Table 26">
            <a:extLst>
              <a:ext uri="{FF2B5EF4-FFF2-40B4-BE49-F238E27FC236}">
                <a16:creationId xmlns:a16="http://schemas.microsoft.com/office/drawing/2014/main" id="{D78359A6-98A5-C38C-CE3E-C97124333D72}"/>
              </a:ext>
            </a:extLst>
          </p:cNvPr>
          <p:cNvGraphicFramePr>
            <a:graphicFrameLocks noGrp="1"/>
          </p:cNvGraphicFramePr>
          <p:nvPr>
            <p:extLst>
              <p:ext uri="{D42A27DB-BD31-4B8C-83A1-F6EECF244321}">
                <p14:modId xmlns:p14="http://schemas.microsoft.com/office/powerpoint/2010/main" val="3527510121"/>
              </p:ext>
            </p:extLst>
          </p:nvPr>
        </p:nvGraphicFramePr>
        <p:xfrm>
          <a:off x="2987210" y="2228490"/>
          <a:ext cx="2589453" cy="4207594"/>
        </p:xfrm>
        <a:graphic>
          <a:graphicData uri="http://schemas.openxmlformats.org/drawingml/2006/table">
            <a:tbl>
              <a:tblPr firstRow="1" bandRow="1"/>
              <a:tblGrid>
                <a:gridCol w="863151">
                  <a:extLst>
                    <a:ext uri="{9D8B030D-6E8A-4147-A177-3AD203B41FA5}">
                      <a16:colId xmlns:a16="http://schemas.microsoft.com/office/drawing/2014/main" val="1150457880"/>
                    </a:ext>
                  </a:extLst>
                </a:gridCol>
                <a:gridCol w="863151">
                  <a:extLst>
                    <a:ext uri="{9D8B030D-6E8A-4147-A177-3AD203B41FA5}">
                      <a16:colId xmlns:a16="http://schemas.microsoft.com/office/drawing/2014/main" val="2555060522"/>
                    </a:ext>
                  </a:extLst>
                </a:gridCol>
                <a:gridCol w="863151">
                  <a:extLst>
                    <a:ext uri="{9D8B030D-6E8A-4147-A177-3AD203B41FA5}">
                      <a16:colId xmlns:a16="http://schemas.microsoft.com/office/drawing/2014/main" val="2462893069"/>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p>
                      <a:pPr algn="ctr"/>
                      <a:r>
                        <a:rPr lang="de-DE" sz="1400" b="0" dirty="0">
                          <a:solidFill>
                            <a:schemeClr val="tx1"/>
                          </a:solidFill>
                        </a:rPr>
                        <a:t>YoY</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3,4%</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35%</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olombi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8,5%</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9,8%</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7,1%</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55%</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Perú</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9,5%</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12%</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hile</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8,1%</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37%</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Ecuador</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3%</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17%</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Uruguay</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1%</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rgbClr val="FF0000"/>
                          </a:solidFill>
                          <a:effectLst/>
                          <a:latin typeface="Calibri" panose="020F0502020204030204" pitchFamily="34" charset="0"/>
                        </a:rPr>
                        <a:t>↓ 5,4%</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oliv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23%</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Otros</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1% </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graphicFrame>
        <p:nvGraphicFramePr>
          <p:cNvPr id="16" name="Table 26">
            <a:extLst>
              <a:ext uri="{FF2B5EF4-FFF2-40B4-BE49-F238E27FC236}">
                <a16:creationId xmlns:a16="http://schemas.microsoft.com/office/drawing/2014/main" id="{708BE82A-A2C2-2414-BA1D-7C2C6FB7B7A5}"/>
              </a:ext>
            </a:extLst>
          </p:cNvPr>
          <p:cNvGraphicFramePr>
            <a:graphicFrameLocks noGrp="1"/>
          </p:cNvGraphicFramePr>
          <p:nvPr>
            <p:extLst>
              <p:ext uri="{D42A27DB-BD31-4B8C-83A1-F6EECF244321}">
                <p14:modId xmlns:p14="http://schemas.microsoft.com/office/powerpoint/2010/main" val="4275130316"/>
              </p:ext>
            </p:extLst>
          </p:nvPr>
        </p:nvGraphicFramePr>
        <p:xfrm>
          <a:off x="108707" y="2228490"/>
          <a:ext cx="2589453" cy="4214890"/>
        </p:xfrm>
        <a:graphic>
          <a:graphicData uri="http://schemas.openxmlformats.org/drawingml/2006/table">
            <a:tbl>
              <a:tblPr firstRow="1" bandRow="1"/>
              <a:tblGrid>
                <a:gridCol w="863151">
                  <a:extLst>
                    <a:ext uri="{9D8B030D-6E8A-4147-A177-3AD203B41FA5}">
                      <a16:colId xmlns:a16="http://schemas.microsoft.com/office/drawing/2014/main" val="1150457880"/>
                    </a:ext>
                  </a:extLst>
                </a:gridCol>
                <a:gridCol w="863151">
                  <a:extLst>
                    <a:ext uri="{9D8B030D-6E8A-4147-A177-3AD203B41FA5}">
                      <a16:colId xmlns:a16="http://schemas.microsoft.com/office/drawing/2014/main" val="2555060522"/>
                    </a:ext>
                  </a:extLst>
                </a:gridCol>
                <a:gridCol w="863151">
                  <a:extLst>
                    <a:ext uri="{9D8B030D-6E8A-4147-A177-3AD203B41FA5}">
                      <a16:colId xmlns:a16="http://schemas.microsoft.com/office/drawing/2014/main" val="2462893069"/>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p>
                      <a:pPr algn="ctr"/>
                      <a:r>
                        <a:rPr lang="de-DE" sz="1400" b="0" dirty="0">
                          <a:solidFill>
                            <a:schemeClr val="tx1"/>
                          </a:solidFill>
                        </a:rPr>
                        <a:t>YoY</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2,7%</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chemeClr val="accent6"/>
                          </a:solidFill>
                          <a:effectLst/>
                          <a:latin typeface="Calibri" panose="020F0502020204030204" pitchFamily="34" charset="0"/>
                        </a:rPr>
                        <a:t>↑ 10%</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3,5%</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43%</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7,7%</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33%</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35%</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eino Unido</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42%</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anad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5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Ital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44%</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leman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32%</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Mexico</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9,4%</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spTree>
    <p:extLst>
      <p:ext uri="{BB962C8B-B14F-4D97-AF65-F5344CB8AC3E}">
        <p14:creationId xmlns:p14="http://schemas.microsoft.com/office/powerpoint/2010/main" val="2547199711"/>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239585" y="4585513"/>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graphicFrame>
        <p:nvGraphicFramePr>
          <p:cNvPr id="14" name="Chart 13">
            <a:extLst>
              <a:ext uri="{FF2B5EF4-FFF2-40B4-BE49-F238E27FC236}">
                <a16:creationId xmlns:a16="http://schemas.microsoft.com/office/drawing/2014/main" id="{8DE148A5-8FD3-7729-DC76-BFA73BE77064}"/>
              </a:ext>
            </a:extLst>
          </p:cNvPr>
          <p:cNvGraphicFramePr/>
          <p:nvPr>
            <p:extLst>
              <p:ext uri="{D42A27DB-BD31-4B8C-83A1-F6EECF244321}">
                <p14:modId xmlns:p14="http://schemas.microsoft.com/office/powerpoint/2010/main" val="3930067243"/>
              </p:ext>
            </p:extLst>
          </p:nvPr>
        </p:nvGraphicFramePr>
        <p:xfrm>
          <a:off x="448064" y="1433948"/>
          <a:ext cx="10941425" cy="3637968"/>
        </p:xfrm>
        <a:graphic>
          <a:graphicData uri="http://schemas.openxmlformats.org/drawingml/2006/chart">
            <c:chart xmlns:c="http://schemas.openxmlformats.org/drawingml/2006/chart" xmlns:r="http://schemas.openxmlformats.org/officeDocument/2006/relationships" r:id="rId3"/>
          </a:graphicData>
        </a:graphic>
      </p:graphicFrame>
      <p:sp>
        <p:nvSpPr>
          <p:cNvPr id="16" name="Espace réservé du contenu 11">
            <a:extLst>
              <a:ext uri="{FF2B5EF4-FFF2-40B4-BE49-F238E27FC236}">
                <a16:creationId xmlns:a16="http://schemas.microsoft.com/office/drawing/2014/main" id="{BE518A1A-3804-781C-EBD8-DB5944E84529}"/>
              </a:ext>
            </a:extLst>
          </p:cNvPr>
          <p:cNvSpPr txBox="1">
            <a:spLocks/>
          </p:cNvSpPr>
          <p:nvPr/>
        </p:nvSpPr>
        <p:spPr>
          <a:xfrm>
            <a:off x="593704" y="1438460"/>
            <a:ext cx="11689700" cy="269241"/>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s-CL" sz="1100" b="1" i="0" u="none" strike="noStrike" kern="1200" cap="all" spc="0" normalizeH="0" baseline="0" noProof="0" dirty="0">
                <a:ln>
                  <a:noFill/>
                </a:ln>
                <a:solidFill>
                  <a:srgbClr val="4472C4"/>
                </a:solidFill>
                <a:effectLst/>
                <a:uLnTx/>
                <a:uFillTx/>
                <a:latin typeface="Calibri" panose="020F0502020204030204"/>
                <a:ea typeface="+mn-ea"/>
                <a:cs typeface="+mn-cs"/>
              </a:rPr>
              <a:t>Búsquedas globales a Sudamérica por trimestre de viajes en 2023 hasta la fecha</a:t>
            </a:r>
            <a:r>
              <a:rPr kumimoji="0" lang="en-US" sz="1100" b="1" i="0" u="none" strike="noStrike" kern="1200" cap="all" spc="0" normalizeH="0" baseline="0" noProof="0" dirty="0">
                <a:ln>
                  <a:noFill/>
                </a:ln>
                <a:solidFill>
                  <a:srgbClr val="4472C4"/>
                </a:solidFill>
                <a:effectLst/>
                <a:uLnTx/>
                <a:uFillTx/>
                <a:latin typeface="Calibri" panose="020F0502020204030204"/>
                <a:ea typeface="+mn-ea"/>
                <a:cs typeface="+mn-cs"/>
              </a:rPr>
              <a:t>, </a:t>
            </a:r>
            <a:r>
              <a:rPr kumimoji="0" lang="es-CL"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cuota de mercado por país en %</a:t>
            </a:r>
            <a:endPar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5563A8-8314-17F9-2034-2D3DBD17D791}"/>
              </a:ext>
            </a:extLst>
          </p:cNvPr>
          <p:cNvSpPr/>
          <p:nvPr/>
        </p:nvSpPr>
        <p:spPr>
          <a:xfrm>
            <a:off x="448064" y="1698059"/>
            <a:ext cx="11121888" cy="3869779"/>
          </a:xfrm>
          <a:prstGeom prst="rect">
            <a:avLst/>
          </a:prstGeom>
          <a:noFill/>
          <a:ln w="12700" cap="flat" cmpd="sng" algn="ctr">
            <a:solidFill>
              <a:srgbClr val="005EB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D8824A2E-2DAB-E87A-4515-59A44C3FFD89}"/>
              </a:ext>
            </a:extLst>
          </p:cNvPr>
          <p:cNvSpPr txBox="1"/>
          <p:nvPr/>
        </p:nvSpPr>
        <p:spPr>
          <a:xfrm rot="16200000">
            <a:off x="-417399" y="3166238"/>
            <a:ext cx="13256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05EB8"/>
                </a:solidFill>
                <a:effectLst/>
                <a:uLnTx/>
                <a:uFillTx/>
                <a:latin typeface="Calibri" panose="020F0502020204030204"/>
                <a:ea typeface="+mn-ea"/>
                <a:cs typeface="+mn-cs"/>
              </a:rPr>
              <a:t>2023</a:t>
            </a:r>
          </a:p>
        </p:txBody>
      </p:sp>
      <p:sp>
        <p:nvSpPr>
          <p:cNvPr id="21" name="New shape">
            <a:extLst>
              <a:ext uri="{FF2B5EF4-FFF2-40B4-BE49-F238E27FC236}">
                <a16:creationId xmlns:a16="http://schemas.microsoft.com/office/drawing/2014/main" id="{BAA0C13F-9480-1E2E-A930-92E67A3DD14F}"/>
              </a:ext>
            </a:extLst>
          </p:cNvPr>
          <p:cNvSpPr/>
          <p:nvPr/>
        </p:nvSpPr>
        <p:spPr>
          <a:xfrm>
            <a:off x="7694675" y="5616603"/>
            <a:ext cx="4081014" cy="170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291A7A18-16D3-2B45-E49B-F62022646D52}"/>
              </a:ext>
            </a:extLst>
          </p:cNvPr>
          <p:cNvPicPr>
            <a:picLocks noChangeAspect="1"/>
          </p:cNvPicPr>
          <p:nvPr/>
        </p:nvPicPr>
        <p:blipFill>
          <a:blip r:embed="rId4"/>
          <a:stretch>
            <a:fillRect/>
          </a:stretch>
        </p:blipFill>
        <p:spPr>
          <a:xfrm>
            <a:off x="2818388" y="5291614"/>
            <a:ext cx="6200775" cy="276225"/>
          </a:xfrm>
          <a:prstGeom prst="rect">
            <a:avLst/>
          </a:prstGeom>
        </p:spPr>
      </p:pic>
      <p:sp>
        <p:nvSpPr>
          <p:cNvPr id="6" name="Title 6">
            <a:extLst>
              <a:ext uri="{FF2B5EF4-FFF2-40B4-BE49-F238E27FC236}">
                <a16:creationId xmlns:a16="http://schemas.microsoft.com/office/drawing/2014/main" id="{7D7971BB-3B2C-6CD9-4160-915D4DC3FD70}"/>
              </a:ext>
            </a:extLst>
          </p:cNvPr>
          <p:cNvSpPr txBox="1">
            <a:spLocks/>
          </p:cNvSpPr>
          <p:nvPr/>
        </p:nvSpPr>
        <p:spPr>
          <a:xfrm>
            <a:off x="2349532" y="374055"/>
            <a:ext cx="8178044"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a:solidFill>
                  <a:srgbClr val="005EB8"/>
                </a:solidFill>
                <a:latin typeface="+mn-lt"/>
                <a:ea typeface="ＭＳ Ｐゴシック" charset="-128"/>
                <a:cs typeface="+mn-cs"/>
              </a:rPr>
              <a:t>Market share de Uruguay en </a:t>
            </a:r>
            <a:r>
              <a:rPr lang="en-US" altLang="es-ES_tradnl" b="1" dirty="0" err="1">
                <a:solidFill>
                  <a:srgbClr val="005EB8"/>
                </a:solidFill>
                <a:latin typeface="+mn-lt"/>
                <a:ea typeface="ＭＳ Ｐゴシック" charset="-128"/>
                <a:cs typeface="+mn-cs"/>
              </a:rPr>
              <a:t>Sudamérica</a:t>
            </a:r>
            <a:r>
              <a:rPr lang="en-US" altLang="es-ES_tradnl" b="1" dirty="0">
                <a:solidFill>
                  <a:srgbClr val="005EB8"/>
                </a:solidFill>
                <a:latin typeface="+mn-lt"/>
                <a:ea typeface="ＭＳ Ｐゴシック" charset="-128"/>
                <a:cs typeface="+mn-cs"/>
              </a:rPr>
              <a:t> &gt; 2%</a:t>
            </a:r>
          </a:p>
        </p:txBody>
      </p:sp>
    </p:spTree>
    <p:extLst>
      <p:ext uri="{BB962C8B-B14F-4D97-AF65-F5344CB8AC3E}">
        <p14:creationId xmlns:p14="http://schemas.microsoft.com/office/powerpoint/2010/main" val="2142659332"/>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239585" y="3888827"/>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sp>
        <p:nvSpPr>
          <p:cNvPr id="2" name="Title 6">
            <a:extLst>
              <a:ext uri="{FF2B5EF4-FFF2-40B4-BE49-F238E27FC236}">
                <a16:creationId xmlns:a16="http://schemas.microsoft.com/office/drawing/2014/main" id="{1E47156E-6F9E-C3D3-117B-218B4508A0E4}"/>
              </a:ext>
            </a:extLst>
          </p:cNvPr>
          <p:cNvSpPr txBox="1">
            <a:spLocks/>
          </p:cNvSpPr>
          <p:nvPr/>
        </p:nvSpPr>
        <p:spPr>
          <a:xfrm>
            <a:off x="2108956" y="328739"/>
            <a:ext cx="8178044"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err="1">
                <a:solidFill>
                  <a:srgbClr val="005EB8"/>
                </a:solidFill>
                <a:latin typeface="+mn-lt"/>
                <a:ea typeface="ＭＳ Ｐゴシック" charset="-128"/>
                <a:cs typeface="+mn-cs"/>
              </a:rPr>
              <a:t>Demanda</a:t>
            </a:r>
            <a:r>
              <a:rPr lang="en-US" altLang="es-ES_tradnl" b="1" dirty="0">
                <a:solidFill>
                  <a:srgbClr val="005EB8"/>
                </a:solidFill>
                <a:latin typeface="+mn-lt"/>
                <a:ea typeface="ＭＳ Ｐゴシック" charset="-128"/>
                <a:cs typeface="+mn-cs"/>
              </a:rPr>
              <a:t> </a:t>
            </a:r>
            <a:r>
              <a:rPr lang="en-US" altLang="es-ES_tradnl" b="1" dirty="0" err="1">
                <a:solidFill>
                  <a:srgbClr val="005EB8"/>
                </a:solidFill>
                <a:latin typeface="+mn-lt"/>
                <a:ea typeface="ＭＳ Ｐゴシック" charset="-128"/>
                <a:cs typeface="+mn-cs"/>
              </a:rPr>
              <a:t>potencial</a:t>
            </a:r>
            <a:r>
              <a:rPr lang="en-US" altLang="es-ES_tradnl" b="1" dirty="0">
                <a:solidFill>
                  <a:srgbClr val="005EB8"/>
                </a:solidFill>
                <a:latin typeface="+mn-lt"/>
                <a:ea typeface="ＭＳ Ｐゴシック" charset="-128"/>
                <a:cs typeface="+mn-cs"/>
              </a:rPr>
              <a:t> para Uruguay </a:t>
            </a:r>
            <a:r>
              <a:rPr lang="en-US" altLang="es-ES_tradnl" b="1" dirty="0" err="1">
                <a:solidFill>
                  <a:srgbClr val="005EB8"/>
                </a:solidFill>
                <a:latin typeface="+mn-lt"/>
                <a:ea typeface="ＭＳ Ｐゴシック" charset="-128"/>
                <a:cs typeface="+mn-cs"/>
              </a:rPr>
              <a:t>durante</a:t>
            </a:r>
            <a:r>
              <a:rPr lang="en-US" altLang="es-ES_tradnl" b="1" dirty="0">
                <a:solidFill>
                  <a:srgbClr val="005EB8"/>
                </a:solidFill>
                <a:latin typeface="+mn-lt"/>
                <a:ea typeface="ＭＳ Ｐゴシック" charset="-128"/>
                <a:cs typeface="+mn-cs"/>
              </a:rPr>
              <a:t> 2023</a:t>
            </a:r>
          </a:p>
        </p:txBody>
      </p:sp>
      <p:sp>
        <p:nvSpPr>
          <p:cNvPr id="10" name="Espace réservé du contenu 11">
            <a:extLst>
              <a:ext uri="{FF2B5EF4-FFF2-40B4-BE49-F238E27FC236}">
                <a16:creationId xmlns:a16="http://schemas.microsoft.com/office/drawing/2014/main" id="{22792480-4D15-021A-55E7-260CF93360AF}"/>
              </a:ext>
            </a:extLst>
          </p:cNvPr>
          <p:cNvSpPr txBox="1">
            <a:spLocks/>
          </p:cNvSpPr>
          <p:nvPr/>
        </p:nvSpPr>
        <p:spPr>
          <a:xfrm>
            <a:off x="317387" y="1513690"/>
            <a:ext cx="2172092" cy="48846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err="1">
                <a:solidFill>
                  <a:srgbClr val="4472C4"/>
                </a:solidFill>
                <a:latin typeface="Calibri" panose="020F0502020204030204"/>
              </a:rPr>
              <a:t>Países</a:t>
            </a:r>
            <a:r>
              <a:rPr lang="en-US" sz="1200" b="1" cap="all" dirty="0">
                <a:solidFill>
                  <a:srgbClr val="4472C4"/>
                </a:solidFill>
                <a:latin typeface="Calibri" panose="020F0502020204030204"/>
              </a:rPr>
              <a:t> con mayor </a:t>
            </a:r>
            <a:r>
              <a:rPr lang="en-US" sz="1200" b="1" cap="all" dirty="0" err="1">
                <a:solidFill>
                  <a:srgbClr val="4472C4"/>
                </a:solidFill>
                <a:latin typeface="Calibri" panose="020F0502020204030204"/>
              </a:rPr>
              <a:t>intención</a:t>
            </a:r>
            <a:r>
              <a:rPr lang="en-US" sz="1200" b="1" cap="all" dirty="0">
                <a:solidFill>
                  <a:srgbClr val="4472C4"/>
                </a:solidFill>
                <a:latin typeface="Calibri" panose="020F0502020204030204"/>
              </a:rPr>
              <a:t> de </a:t>
            </a:r>
            <a:r>
              <a:rPr lang="en-US" sz="1200" b="1" cap="all" dirty="0" err="1">
                <a:solidFill>
                  <a:srgbClr val="4472C4"/>
                </a:solidFill>
                <a:latin typeface="Calibri" panose="020F0502020204030204"/>
              </a:rPr>
              <a:t>viaje</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18" name="New shape">
            <a:extLst>
              <a:ext uri="{FF2B5EF4-FFF2-40B4-BE49-F238E27FC236}">
                <a16:creationId xmlns:a16="http://schemas.microsoft.com/office/drawing/2014/main" id="{C4314AC8-249E-B7FB-F139-B324A9D5F078}"/>
              </a:ext>
            </a:extLst>
          </p:cNvPr>
          <p:cNvSpPr/>
          <p:nvPr/>
        </p:nvSpPr>
        <p:spPr>
          <a:xfrm>
            <a:off x="7784386" y="6549166"/>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sp>
        <p:nvSpPr>
          <p:cNvPr id="11" name="Espace réservé du contenu 11">
            <a:extLst>
              <a:ext uri="{FF2B5EF4-FFF2-40B4-BE49-F238E27FC236}">
                <a16:creationId xmlns:a16="http://schemas.microsoft.com/office/drawing/2014/main" id="{5D1544C3-1791-BE57-CBA9-CA8773C6FDE5}"/>
              </a:ext>
            </a:extLst>
          </p:cNvPr>
          <p:cNvSpPr txBox="1">
            <a:spLocks/>
          </p:cNvSpPr>
          <p:nvPr/>
        </p:nvSpPr>
        <p:spPr>
          <a:xfrm>
            <a:off x="3270813" y="1513690"/>
            <a:ext cx="2172092" cy="48846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lang="en-US" sz="1200" b="1" cap="all" dirty="0" err="1">
                <a:solidFill>
                  <a:srgbClr val="4472C4"/>
                </a:solidFill>
                <a:latin typeface="Calibri" panose="020F0502020204030204"/>
              </a:rPr>
              <a:t>ciudades</a:t>
            </a:r>
            <a:r>
              <a:rPr lang="en-US" sz="1200" b="1" cap="all" dirty="0">
                <a:solidFill>
                  <a:srgbClr val="4472C4"/>
                </a:solidFill>
                <a:latin typeface="Calibri" panose="020F0502020204030204"/>
              </a:rPr>
              <a:t> con mayor </a:t>
            </a:r>
            <a:r>
              <a:rPr lang="en-US" sz="1200" b="1" cap="all" dirty="0" err="1">
                <a:solidFill>
                  <a:srgbClr val="4472C4"/>
                </a:solidFill>
                <a:latin typeface="Calibri" panose="020F0502020204030204"/>
              </a:rPr>
              <a:t>intención</a:t>
            </a:r>
            <a:r>
              <a:rPr lang="en-US" sz="1200" b="1" cap="all" dirty="0">
                <a:solidFill>
                  <a:srgbClr val="4472C4"/>
                </a:solidFill>
                <a:latin typeface="Calibri" panose="020F0502020204030204"/>
              </a:rPr>
              <a:t> de </a:t>
            </a:r>
            <a:r>
              <a:rPr lang="en-US" sz="1200" b="1" cap="all" dirty="0" err="1">
                <a:solidFill>
                  <a:srgbClr val="4472C4"/>
                </a:solidFill>
                <a:latin typeface="Calibri" panose="020F0502020204030204"/>
              </a:rPr>
              <a:t>viaje</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8228174B-7FE4-09D3-F711-6756F1E6FF6B}"/>
              </a:ext>
            </a:extLst>
          </p:cNvPr>
          <p:cNvPicPr>
            <a:picLocks noChangeAspect="1"/>
          </p:cNvPicPr>
          <p:nvPr/>
        </p:nvPicPr>
        <p:blipFill rotWithShape="1">
          <a:blip r:embed="rId3">
            <a:extLst>
              <a:ext uri="{28A0092B-C50C-407E-A947-70E740481C1C}">
                <a14:useLocalDpi xmlns:a14="http://schemas.microsoft.com/office/drawing/2010/main" val="0"/>
              </a:ext>
            </a:extLst>
          </a:blip>
          <a:srcRect l="23965" t="17619" r="16797" b="8388"/>
          <a:stretch/>
        </p:blipFill>
        <p:spPr>
          <a:xfrm>
            <a:off x="5896758" y="1454871"/>
            <a:ext cx="6117771" cy="5074390"/>
          </a:xfrm>
          <a:prstGeom prst="rect">
            <a:avLst/>
          </a:prstGeom>
          <a:ln>
            <a:solidFill>
              <a:schemeClr val="accent1"/>
            </a:solidFill>
          </a:ln>
        </p:spPr>
      </p:pic>
      <p:graphicFrame>
        <p:nvGraphicFramePr>
          <p:cNvPr id="4" name="Table 26">
            <a:extLst>
              <a:ext uri="{FF2B5EF4-FFF2-40B4-BE49-F238E27FC236}">
                <a16:creationId xmlns:a16="http://schemas.microsoft.com/office/drawing/2014/main" id="{035B7FC5-B87D-6E6E-E552-E65C892E12C3}"/>
              </a:ext>
            </a:extLst>
          </p:cNvPr>
          <p:cNvGraphicFramePr>
            <a:graphicFrameLocks noGrp="1"/>
          </p:cNvGraphicFramePr>
          <p:nvPr>
            <p:extLst>
              <p:ext uri="{D42A27DB-BD31-4B8C-83A1-F6EECF244321}">
                <p14:modId xmlns:p14="http://schemas.microsoft.com/office/powerpoint/2010/main" val="821542439"/>
              </p:ext>
            </p:extLst>
          </p:nvPr>
        </p:nvGraphicFramePr>
        <p:xfrm>
          <a:off x="108707" y="2228490"/>
          <a:ext cx="2589453" cy="4207594"/>
        </p:xfrm>
        <a:graphic>
          <a:graphicData uri="http://schemas.openxmlformats.org/drawingml/2006/table">
            <a:tbl>
              <a:tblPr firstRow="1" bandRow="1"/>
              <a:tblGrid>
                <a:gridCol w="863151">
                  <a:extLst>
                    <a:ext uri="{9D8B030D-6E8A-4147-A177-3AD203B41FA5}">
                      <a16:colId xmlns:a16="http://schemas.microsoft.com/office/drawing/2014/main" val="1150457880"/>
                    </a:ext>
                  </a:extLst>
                </a:gridCol>
                <a:gridCol w="863151">
                  <a:extLst>
                    <a:ext uri="{9D8B030D-6E8A-4147-A177-3AD203B41FA5}">
                      <a16:colId xmlns:a16="http://schemas.microsoft.com/office/drawing/2014/main" val="2555060522"/>
                    </a:ext>
                  </a:extLst>
                </a:gridCol>
                <a:gridCol w="863151">
                  <a:extLst>
                    <a:ext uri="{9D8B030D-6E8A-4147-A177-3AD203B41FA5}">
                      <a16:colId xmlns:a16="http://schemas.microsoft.com/office/drawing/2014/main" val="2462893069"/>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p>
                      <a:pPr algn="ctr"/>
                      <a:r>
                        <a:rPr lang="de-DE" sz="1400" b="0" dirty="0">
                          <a:solidFill>
                            <a:schemeClr val="tx1"/>
                          </a:solidFill>
                        </a:rPr>
                        <a:t>YoY</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1,2%</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rgbClr val="FF0000"/>
                          </a:solidFill>
                          <a:effectLst/>
                          <a:latin typeface="Calibri" panose="020F0502020204030204" pitchFamily="34" charset="0"/>
                        </a:rPr>
                        <a:t>↓ 22%</a:t>
                      </a:r>
                    </a:p>
                  </a:txBody>
                  <a:tcPr marL="9525" marR="9525" marT="9525" marB="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2,8%</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4,2%</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8,7%</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7%</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3%</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olomb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5,5%</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hile</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2%</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Aleman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20%</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Mexico</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6,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anad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3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graphicFrame>
        <p:nvGraphicFramePr>
          <p:cNvPr id="7" name="Table 26">
            <a:extLst>
              <a:ext uri="{FF2B5EF4-FFF2-40B4-BE49-F238E27FC236}">
                <a16:creationId xmlns:a16="http://schemas.microsoft.com/office/drawing/2014/main" id="{FE4C48D9-1F7F-B669-9828-F61C36DC07EB}"/>
              </a:ext>
            </a:extLst>
          </p:cNvPr>
          <p:cNvGraphicFramePr>
            <a:graphicFrameLocks noGrp="1"/>
          </p:cNvGraphicFramePr>
          <p:nvPr>
            <p:extLst>
              <p:ext uri="{D42A27DB-BD31-4B8C-83A1-F6EECF244321}">
                <p14:modId xmlns:p14="http://schemas.microsoft.com/office/powerpoint/2010/main" val="1580816004"/>
              </p:ext>
            </p:extLst>
          </p:nvPr>
        </p:nvGraphicFramePr>
        <p:xfrm>
          <a:off x="3062133" y="2228490"/>
          <a:ext cx="2589453" cy="4229482"/>
        </p:xfrm>
        <a:graphic>
          <a:graphicData uri="http://schemas.openxmlformats.org/drawingml/2006/table">
            <a:tbl>
              <a:tblPr firstRow="1" bandRow="1"/>
              <a:tblGrid>
                <a:gridCol w="863151">
                  <a:extLst>
                    <a:ext uri="{9D8B030D-6E8A-4147-A177-3AD203B41FA5}">
                      <a16:colId xmlns:a16="http://schemas.microsoft.com/office/drawing/2014/main" val="1150457880"/>
                    </a:ext>
                  </a:extLst>
                </a:gridCol>
                <a:gridCol w="863151">
                  <a:extLst>
                    <a:ext uri="{9D8B030D-6E8A-4147-A177-3AD203B41FA5}">
                      <a16:colId xmlns:a16="http://schemas.microsoft.com/office/drawing/2014/main" val="2555060522"/>
                    </a:ext>
                  </a:extLst>
                </a:gridCol>
                <a:gridCol w="863151">
                  <a:extLst>
                    <a:ext uri="{9D8B030D-6E8A-4147-A177-3AD203B41FA5}">
                      <a16:colId xmlns:a16="http://schemas.microsoft.com/office/drawing/2014/main" val="2462893069"/>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p>
                      <a:pPr algn="ctr"/>
                      <a:r>
                        <a:rPr lang="de-DE" sz="1400" b="0" dirty="0">
                          <a:solidFill>
                            <a:schemeClr val="tx1"/>
                          </a:solidFill>
                        </a:rPr>
                        <a:t>YoY</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Sao Paulo</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4,6%</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8,7%</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io de Janeiro</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2%</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2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8,7%</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Madrid</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2%</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8%</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uenos Aires</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5%</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Porto Alegre</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36%</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Miami</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14%</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Santiago</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1,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Nueva York</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arcelon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2,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24%</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bl>
          </a:graphicData>
        </a:graphic>
      </p:graphicFrame>
    </p:spTree>
    <p:extLst>
      <p:ext uri="{BB962C8B-B14F-4D97-AF65-F5344CB8AC3E}">
        <p14:creationId xmlns:p14="http://schemas.microsoft.com/office/powerpoint/2010/main" val="349810235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457301" y="3888827"/>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sp>
        <p:nvSpPr>
          <p:cNvPr id="2" name="Title 6">
            <a:extLst>
              <a:ext uri="{FF2B5EF4-FFF2-40B4-BE49-F238E27FC236}">
                <a16:creationId xmlns:a16="http://schemas.microsoft.com/office/drawing/2014/main" id="{1E47156E-6F9E-C3D3-117B-218B4508A0E4}"/>
              </a:ext>
            </a:extLst>
          </p:cNvPr>
          <p:cNvSpPr txBox="1">
            <a:spLocks/>
          </p:cNvSpPr>
          <p:nvPr/>
        </p:nvSpPr>
        <p:spPr>
          <a:xfrm>
            <a:off x="2108954" y="364282"/>
            <a:ext cx="8178044"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err="1">
                <a:solidFill>
                  <a:srgbClr val="005EB8"/>
                </a:solidFill>
                <a:latin typeface="+mn-lt"/>
                <a:ea typeface="ＭＳ Ｐゴシック" charset="-128"/>
                <a:cs typeface="+mn-cs"/>
              </a:rPr>
              <a:t>Demanda</a:t>
            </a:r>
            <a:r>
              <a:rPr lang="en-US" altLang="es-ES_tradnl" b="1" dirty="0">
                <a:solidFill>
                  <a:srgbClr val="005EB8"/>
                </a:solidFill>
                <a:latin typeface="+mn-lt"/>
                <a:ea typeface="ＭＳ Ｐゴシック" charset="-128"/>
                <a:cs typeface="+mn-cs"/>
              </a:rPr>
              <a:t> </a:t>
            </a:r>
            <a:r>
              <a:rPr lang="en-US" altLang="es-ES_tradnl" b="1" dirty="0" err="1">
                <a:solidFill>
                  <a:srgbClr val="005EB8"/>
                </a:solidFill>
                <a:latin typeface="+mn-lt"/>
                <a:ea typeface="ＭＳ Ｐゴシック" charset="-128"/>
                <a:cs typeface="+mn-cs"/>
              </a:rPr>
              <a:t>potencial</a:t>
            </a:r>
            <a:r>
              <a:rPr lang="en-US" altLang="es-ES_tradnl" b="1" dirty="0">
                <a:solidFill>
                  <a:srgbClr val="005EB8"/>
                </a:solidFill>
                <a:latin typeface="+mn-lt"/>
                <a:ea typeface="ＭＳ Ｐゴシック" charset="-128"/>
                <a:cs typeface="+mn-cs"/>
              </a:rPr>
              <a:t> </a:t>
            </a:r>
            <a:r>
              <a:rPr lang="en-US" altLang="es-ES_tradnl" b="1" dirty="0" err="1">
                <a:solidFill>
                  <a:srgbClr val="005EB8"/>
                </a:solidFill>
                <a:latin typeface="+mn-lt"/>
                <a:ea typeface="ＭＳ Ｐゴシック" charset="-128"/>
                <a:cs typeface="+mn-cs"/>
              </a:rPr>
              <a:t>aérea</a:t>
            </a:r>
            <a:r>
              <a:rPr lang="en-US" altLang="es-ES_tradnl" b="1" dirty="0">
                <a:solidFill>
                  <a:srgbClr val="005EB8"/>
                </a:solidFill>
                <a:latin typeface="+mn-lt"/>
                <a:ea typeface="ＭＳ Ｐゴシック" charset="-128"/>
                <a:cs typeface="+mn-cs"/>
              </a:rPr>
              <a:t> vs </a:t>
            </a:r>
            <a:r>
              <a:rPr lang="en-US" altLang="es-ES_tradnl" b="1" dirty="0" err="1">
                <a:solidFill>
                  <a:srgbClr val="005EB8"/>
                </a:solidFill>
                <a:latin typeface="+mn-lt"/>
                <a:ea typeface="ＭＳ Ｐゴシック" charset="-128"/>
                <a:cs typeface="+mn-cs"/>
              </a:rPr>
              <a:t>demanda</a:t>
            </a:r>
            <a:r>
              <a:rPr lang="en-US" altLang="es-ES_tradnl" b="1" dirty="0">
                <a:solidFill>
                  <a:srgbClr val="005EB8"/>
                </a:solidFill>
                <a:latin typeface="+mn-lt"/>
                <a:ea typeface="ＭＳ Ｐゴシック" charset="-128"/>
                <a:cs typeface="+mn-cs"/>
              </a:rPr>
              <a:t> real</a:t>
            </a:r>
          </a:p>
        </p:txBody>
      </p:sp>
      <p:sp>
        <p:nvSpPr>
          <p:cNvPr id="18" name="New shape">
            <a:extLst>
              <a:ext uri="{FF2B5EF4-FFF2-40B4-BE49-F238E27FC236}">
                <a16:creationId xmlns:a16="http://schemas.microsoft.com/office/drawing/2014/main" id="{C4314AC8-249E-B7FB-F139-B324A9D5F078}"/>
              </a:ext>
            </a:extLst>
          </p:cNvPr>
          <p:cNvSpPr/>
          <p:nvPr/>
        </p:nvSpPr>
        <p:spPr>
          <a:xfrm>
            <a:off x="87086" y="6581230"/>
            <a:ext cx="6825343" cy="206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 y Monitor de la Actividad Turística CERES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graphicFrame>
        <p:nvGraphicFramePr>
          <p:cNvPr id="3" name="Table 3">
            <a:extLst>
              <a:ext uri="{FF2B5EF4-FFF2-40B4-BE49-F238E27FC236}">
                <a16:creationId xmlns:a16="http://schemas.microsoft.com/office/drawing/2014/main" id="{5342D4A6-9C5E-6E8C-D709-A936F9926228}"/>
              </a:ext>
            </a:extLst>
          </p:cNvPr>
          <p:cNvGraphicFramePr>
            <a:graphicFrameLocks noGrp="1"/>
          </p:cNvGraphicFramePr>
          <p:nvPr>
            <p:extLst>
              <p:ext uri="{D42A27DB-BD31-4B8C-83A1-F6EECF244321}">
                <p14:modId xmlns:p14="http://schemas.microsoft.com/office/powerpoint/2010/main" val="4288871395"/>
              </p:ext>
            </p:extLst>
          </p:nvPr>
        </p:nvGraphicFramePr>
        <p:xfrm>
          <a:off x="544285" y="1979744"/>
          <a:ext cx="4974776" cy="2919550"/>
        </p:xfrm>
        <a:graphic>
          <a:graphicData uri="http://schemas.openxmlformats.org/drawingml/2006/table">
            <a:tbl>
              <a:tblPr firstRow="1" bandRow="1">
                <a:tableStyleId>{5C22544A-7EE6-4342-B048-85BDC9FD1C3A}</a:tableStyleId>
              </a:tblPr>
              <a:tblGrid>
                <a:gridCol w="1243694">
                  <a:extLst>
                    <a:ext uri="{9D8B030D-6E8A-4147-A177-3AD203B41FA5}">
                      <a16:colId xmlns:a16="http://schemas.microsoft.com/office/drawing/2014/main" val="22101424"/>
                    </a:ext>
                  </a:extLst>
                </a:gridCol>
                <a:gridCol w="1243694">
                  <a:extLst>
                    <a:ext uri="{9D8B030D-6E8A-4147-A177-3AD203B41FA5}">
                      <a16:colId xmlns:a16="http://schemas.microsoft.com/office/drawing/2014/main" val="3802041236"/>
                    </a:ext>
                  </a:extLst>
                </a:gridCol>
                <a:gridCol w="1243694">
                  <a:extLst>
                    <a:ext uri="{9D8B030D-6E8A-4147-A177-3AD203B41FA5}">
                      <a16:colId xmlns:a16="http://schemas.microsoft.com/office/drawing/2014/main" val="3776069909"/>
                    </a:ext>
                  </a:extLst>
                </a:gridCol>
                <a:gridCol w="1243694">
                  <a:extLst>
                    <a:ext uri="{9D8B030D-6E8A-4147-A177-3AD203B41FA5}">
                      <a16:colId xmlns:a16="http://schemas.microsoft.com/office/drawing/2014/main" val="2521343845"/>
                    </a:ext>
                  </a:extLst>
                </a:gridCol>
              </a:tblGrid>
              <a:tr h="377885">
                <a:tc>
                  <a:txBody>
                    <a:bodyPr/>
                    <a:lstStyle/>
                    <a:p>
                      <a:pPr algn="ctr"/>
                      <a:r>
                        <a:rPr lang="es-CL" dirty="0"/>
                        <a:t>País</a:t>
                      </a:r>
                    </a:p>
                  </a:txBody>
                  <a:tcPr/>
                </a:tc>
                <a:tc>
                  <a:txBody>
                    <a:bodyPr/>
                    <a:lstStyle/>
                    <a:p>
                      <a:pPr algn="ctr"/>
                      <a:r>
                        <a:rPr lang="es-CL" dirty="0"/>
                        <a:t>2019</a:t>
                      </a:r>
                    </a:p>
                  </a:txBody>
                  <a:tcPr/>
                </a:tc>
                <a:tc>
                  <a:txBody>
                    <a:bodyPr/>
                    <a:lstStyle/>
                    <a:p>
                      <a:pPr algn="ctr"/>
                      <a:r>
                        <a:rPr lang="es-CL" dirty="0"/>
                        <a:t>2022</a:t>
                      </a:r>
                    </a:p>
                  </a:txBody>
                  <a:tcPr/>
                </a:tc>
                <a:tc>
                  <a:txBody>
                    <a:bodyPr/>
                    <a:lstStyle/>
                    <a:p>
                      <a:pPr algn="ctr"/>
                      <a:r>
                        <a:rPr lang="es-CL" dirty="0"/>
                        <a:t>2023</a:t>
                      </a:r>
                    </a:p>
                  </a:txBody>
                  <a:tcPr/>
                </a:tc>
                <a:extLst>
                  <a:ext uri="{0D108BD9-81ED-4DB2-BD59-A6C34878D82A}">
                    <a16:rowId xmlns:a16="http://schemas.microsoft.com/office/drawing/2014/main" val="3008448917"/>
                  </a:ext>
                </a:extLst>
              </a:tr>
              <a:tr h="377885">
                <a:tc>
                  <a:txBody>
                    <a:bodyPr/>
                    <a:lstStyle/>
                    <a:p>
                      <a:pPr algn="ctr"/>
                      <a:r>
                        <a:rPr lang="es-CL" dirty="0"/>
                        <a:t>Argentina</a:t>
                      </a:r>
                    </a:p>
                  </a:txBody>
                  <a:tcPr/>
                </a:tc>
                <a:tc>
                  <a:txBody>
                    <a:bodyPr/>
                    <a:lstStyle/>
                    <a:p>
                      <a:pPr algn="ctr"/>
                      <a:r>
                        <a:rPr lang="es-CL" dirty="0"/>
                        <a:t>64%</a:t>
                      </a:r>
                    </a:p>
                  </a:txBody>
                  <a:tcPr/>
                </a:tc>
                <a:tc>
                  <a:txBody>
                    <a:bodyPr/>
                    <a:lstStyle/>
                    <a:p>
                      <a:pPr algn="ctr"/>
                      <a:r>
                        <a:rPr lang="es-CL" dirty="0"/>
                        <a:t>59%</a:t>
                      </a:r>
                    </a:p>
                  </a:txBody>
                  <a:tcPr/>
                </a:tc>
                <a:tc>
                  <a:txBody>
                    <a:bodyPr/>
                    <a:lstStyle/>
                    <a:p>
                      <a:pPr algn="ctr"/>
                      <a:r>
                        <a:rPr lang="es-CL" dirty="0"/>
                        <a:t>68%</a:t>
                      </a:r>
                    </a:p>
                  </a:txBody>
                  <a:tcPr/>
                </a:tc>
                <a:extLst>
                  <a:ext uri="{0D108BD9-81ED-4DB2-BD59-A6C34878D82A}">
                    <a16:rowId xmlns:a16="http://schemas.microsoft.com/office/drawing/2014/main" val="1822587640"/>
                  </a:ext>
                </a:extLst>
              </a:tr>
              <a:tr h="377885">
                <a:tc>
                  <a:txBody>
                    <a:bodyPr/>
                    <a:lstStyle/>
                    <a:p>
                      <a:pPr algn="ctr"/>
                      <a:r>
                        <a:rPr lang="es-CL" b="1" dirty="0"/>
                        <a:t>Brasil</a:t>
                      </a:r>
                    </a:p>
                  </a:txBody>
                  <a:tcPr/>
                </a:tc>
                <a:tc>
                  <a:txBody>
                    <a:bodyPr/>
                    <a:lstStyle/>
                    <a:p>
                      <a:pPr algn="ctr"/>
                      <a:r>
                        <a:rPr lang="es-CL" b="1" dirty="0"/>
                        <a:t>14%</a:t>
                      </a:r>
                    </a:p>
                  </a:txBody>
                  <a:tcPr/>
                </a:tc>
                <a:tc>
                  <a:txBody>
                    <a:bodyPr/>
                    <a:lstStyle/>
                    <a:p>
                      <a:pPr algn="ctr"/>
                      <a:r>
                        <a:rPr lang="es-CL" b="1" dirty="0"/>
                        <a:t>27%</a:t>
                      </a:r>
                    </a:p>
                  </a:txBody>
                  <a:tcPr/>
                </a:tc>
                <a:tc>
                  <a:txBody>
                    <a:bodyPr/>
                    <a:lstStyle/>
                    <a:p>
                      <a:pPr algn="ctr"/>
                      <a:r>
                        <a:rPr lang="es-CL" b="1" dirty="0"/>
                        <a:t>18%</a:t>
                      </a:r>
                    </a:p>
                  </a:txBody>
                  <a:tcPr/>
                </a:tc>
                <a:extLst>
                  <a:ext uri="{0D108BD9-81ED-4DB2-BD59-A6C34878D82A}">
                    <a16:rowId xmlns:a16="http://schemas.microsoft.com/office/drawing/2014/main" val="2388657675"/>
                  </a:ext>
                </a:extLst>
              </a:tr>
              <a:tr h="377885">
                <a:tc>
                  <a:txBody>
                    <a:bodyPr/>
                    <a:lstStyle/>
                    <a:p>
                      <a:pPr algn="ctr"/>
                      <a:r>
                        <a:rPr lang="es-CL" dirty="0"/>
                        <a:t>USA</a:t>
                      </a:r>
                    </a:p>
                  </a:txBody>
                  <a:tcPr/>
                </a:tc>
                <a:tc>
                  <a:txBody>
                    <a:bodyPr/>
                    <a:lstStyle/>
                    <a:p>
                      <a:pPr algn="ctr"/>
                      <a:r>
                        <a:rPr lang="es-CL" dirty="0"/>
                        <a:t>2%</a:t>
                      </a:r>
                    </a:p>
                  </a:txBody>
                  <a:tcPr/>
                </a:tc>
                <a:tc>
                  <a:txBody>
                    <a:bodyPr/>
                    <a:lstStyle/>
                    <a:p>
                      <a:pPr algn="ctr"/>
                      <a:r>
                        <a:rPr lang="es-CL" dirty="0"/>
                        <a:t>3%</a:t>
                      </a:r>
                    </a:p>
                  </a:txBody>
                  <a:tcPr/>
                </a:tc>
                <a:tc>
                  <a:txBody>
                    <a:bodyPr/>
                    <a:lstStyle/>
                    <a:p>
                      <a:pPr algn="ctr"/>
                      <a:r>
                        <a:rPr lang="es-CL" dirty="0"/>
                        <a:t>3%</a:t>
                      </a:r>
                    </a:p>
                  </a:txBody>
                  <a:tcPr/>
                </a:tc>
                <a:extLst>
                  <a:ext uri="{0D108BD9-81ED-4DB2-BD59-A6C34878D82A}">
                    <a16:rowId xmlns:a16="http://schemas.microsoft.com/office/drawing/2014/main" val="3520379906"/>
                  </a:ext>
                </a:extLst>
              </a:tr>
              <a:tr h="377885">
                <a:tc>
                  <a:txBody>
                    <a:bodyPr/>
                    <a:lstStyle/>
                    <a:p>
                      <a:pPr algn="ctr"/>
                      <a:r>
                        <a:rPr lang="es-CL" dirty="0"/>
                        <a:t>Chile</a:t>
                      </a:r>
                    </a:p>
                  </a:txBody>
                  <a:tcPr/>
                </a:tc>
                <a:tc>
                  <a:txBody>
                    <a:bodyPr/>
                    <a:lstStyle/>
                    <a:p>
                      <a:pPr algn="ctr"/>
                      <a:r>
                        <a:rPr lang="es-CL" dirty="0"/>
                        <a:t>2%</a:t>
                      </a:r>
                    </a:p>
                  </a:txBody>
                  <a:tcPr/>
                </a:tc>
                <a:tc>
                  <a:txBody>
                    <a:bodyPr/>
                    <a:lstStyle/>
                    <a:p>
                      <a:pPr algn="ctr"/>
                      <a:r>
                        <a:rPr lang="es-CL" dirty="0"/>
                        <a:t>2%</a:t>
                      </a:r>
                    </a:p>
                  </a:txBody>
                  <a:tcPr/>
                </a:tc>
                <a:tc>
                  <a:txBody>
                    <a:bodyPr/>
                    <a:lstStyle/>
                    <a:p>
                      <a:pPr algn="ctr"/>
                      <a:r>
                        <a:rPr lang="es-CL" dirty="0"/>
                        <a:t>2%</a:t>
                      </a:r>
                    </a:p>
                  </a:txBody>
                  <a:tcPr/>
                </a:tc>
                <a:extLst>
                  <a:ext uri="{0D108BD9-81ED-4DB2-BD59-A6C34878D82A}">
                    <a16:rowId xmlns:a16="http://schemas.microsoft.com/office/drawing/2014/main" val="2406437395"/>
                  </a:ext>
                </a:extLst>
              </a:tr>
              <a:tr h="377885">
                <a:tc>
                  <a:txBody>
                    <a:bodyPr/>
                    <a:lstStyle/>
                    <a:p>
                      <a:pPr algn="ctr"/>
                      <a:r>
                        <a:rPr lang="es-CL" dirty="0"/>
                        <a:t>Otros</a:t>
                      </a:r>
                    </a:p>
                  </a:txBody>
                  <a:tcPr/>
                </a:tc>
                <a:tc>
                  <a:txBody>
                    <a:bodyPr/>
                    <a:lstStyle/>
                    <a:p>
                      <a:pPr algn="ctr"/>
                      <a:r>
                        <a:rPr lang="es-CL" dirty="0"/>
                        <a:t>15%</a:t>
                      </a:r>
                    </a:p>
                  </a:txBody>
                  <a:tcPr/>
                </a:tc>
                <a:tc>
                  <a:txBody>
                    <a:bodyPr/>
                    <a:lstStyle/>
                    <a:p>
                      <a:pPr algn="ctr"/>
                      <a:r>
                        <a:rPr lang="es-CL" dirty="0"/>
                        <a:t>18%</a:t>
                      </a:r>
                    </a:p>
                  </a:txBody>
                  <a:tcPr/>
                </a:tc>
                <a:tc>
                  <a:txBody>
                    <a:bodyPr/>
                    <a:lstStyle/>
                    <a:p>
                      <a:pPr algn="ctr"/>
                      <a:r>
                        <a:rPr lang="es-CL" dirty="0"/>
                        <a:t>14%</a:t>
                      </a:r>
                    </a:p>
                  </a:txBody>
                  <a:tcPr/>
                </a:tc>
                <a:extLst>
                  <a:ext uri="{0D108BD9-81ED-4DB2-BD59-A6C34878D82A}">
                    <a16:rowId xmlns:a16="http://schemas.microsoft.com/office/drawing/2014/main" val="625511492"/>
                  </a:ext>
                </a:extLst>
              </a:tr>
              <a:tr h="652240">
                <a:tc>
                  <a:txBody>
                    <a:bodyPr/>
                    <a:lstStyle/>
                    <a:p>
                      <a:pPr algn="ctr"/>
                      <a:r>
                        <a:rPr lang="es-CL" dirty="0"/>
                        <a:t>Total </a:t>
                      </a:r>
                    </a:p>
                    <a:p>
                      <a:pPr algn="ctr"/>
                      <a:r>
                        <a:rPr lang="es-CL" sz="1400" kern="1200" dirty="0">
                          <a:solidFill>
                            <a:schemeClr val="dk1"/>
                          </a:solidFill>
                          <a:latin typeface="+mn-lt"/>
                          <a:ea typeface="+mn-ea"/>
                          <a:cs typeface="+mn-cs"/>
                        </a:rPr>
                        <a:t>(en miles)</a:t>
                      </a:r>
                    </a:p>
                  </a:txBody>
                  <a:tcPr/>
                </a:tc>
                <a:tc>
                  <a:txBody>
                    <a:bodyPr/>
                    <a:lstStyle/>
                    <a:p>
                      <a:pPr algn="ctr"/>
                      <a:r>
                        <a:rPr lang="es-CL" dirty="0"/>
                        <a:t>2.830</a:t>
                      </a:r>
                    </a:p>
                  </a:txBody>
                  <a:tcPr/>
                </a:tc>
                <a:tc>
                  <a:txBody>
                    <a:bodyPr/>
                    <a:lstStyle/>
                    <a:p>
                      <a:pPr algn="ctr"/>
                      <a:r>
                        <a:rPr lang="es-CL" dirty="0"/>
                        <a:t>1.952</a:t>
                      </a:r>
                    </a:p>
                  </a:txBody>
                  <a:tcPr/>
                </a:tc>
                <a:tc>
                  <a:txBody>
                    <a:bodyPr/>
                    <a:lstStyle/>
                    <a:p>
                      <a:pPr algn="ctr"/>
                      <a:r>
                        <a:rPr lang="es-CL" dirty="0"/>
                        <a:t>1.160</a:t>
                      </a:r>
                    </a:p>
                  </a:txBody>
                  <a:tcPr/>
                </a:tc>
                <a:extLst>
                  <a:ext uri="{0D108BD9-81ED-4DB2-BD59-A6C34878D82A}">
                    <a16:rowId xmlns:a16="http://schemas.microsoft.com/office/drawing/2014/main" val="422360963"/>
                  </a:ext>
                </a:extLst>
              </a:tr>
            </a:tbl>
          </a:graphicData>
        </a:graphic>
      </p:graphicFrame>
      <p:graphicFrame>
        <p:nvGraphicFramePr>
          <p:cNvPr id="8" name="Table 7">
            <a:extLst>
              <a:ext uri="{FF2B5EF4-FFF2-40B4-BE49-F238E27FC236}">
                <a16:creationId xmlns:a16="http://schemas.microsoft.com/office/drawing/2014/main" id="{19D71B4A-9515-C53A-9633-6B68322D5101}"/>
              </a:ext>
            </a:extLst>
          </p:cNvPr>
          <p:cNvGraphicFramePr>
            <a:graphicFrameLocks noGrp="1"/>
          </p:cNvGraphicFramePr>
          <p:nvPr>
            <p:extLst>
              <p:ext uri="{D42A27DB-BD31-4B8C-83A1-F6EECF244321}">
                <p14:modId xmlns:p14="http://schemas.microsoft.com/office/powerpoint/2010/main" val="3963420045"/>
              </p:ext>
            </p:extLst>
          </p:nvPr>
        </p:nvGraphicFramePr>
        <p:xfrm>
          <a:off x="5845630" y="1979744"/>
          <a:ext cx="4453288" cy="2898511"/>
        </p:xfrm>
        <a:graphic>
          <a:graphicData uri="http://schemas.openxmlformats.org/drawingml/2006/table">
            <a:tbl>
              <a:tblPr firstRow="1" bandRow="1">
                <a:tableStyleId>{5C22544A-7EE6-4342-B048-85BDC9FD1C3A}</a:tableStyleId>
              </a:tblPr>
              <a:tblGrid>
                <a:gridCol w="1113322">
                  <a:extLst>
                    <a:ext uri="{9D8B030D-6E8A-4147-A177-3AD203B41FA5}">
                      <a16:colId xmlns:a16="http://schemas.microsoft.com/office/drawing/2014/main" val="22101424"/>
                    </a:ext>
                  </a:extLst>
                </a:gridCol>
                <a:gridCol w="1113322">
                  <a:extLst>
                    <a:ext uri="{9D8B030D-6E8A-4147-A177-3AD203B41FA5}">
                      <a16:colId xmlns:a16="http://schemas.microsoft.com/office/drawing/2014/main" val="3802041236"/>
                    </a:ext>
                  </a:extLst>
                </a:gridCol>
                <a:gridCol w="1113322">
                  <a:extLst>
                    <a:ext uri="{9D8B030D-6E8A-4147-A177-3AD203B41FA5}">
                      <a16:colId xmlns:a16="http://schemas.microsoft.com/office/drawing/2014/main" val="3776069909"/>
                    </a:ext>
                  </a:extLst>
                </a:gridCol>
                <a:gridCol w="1113322">
                  <a:extLst>
                    <a:ext uri="{9D8B030D-6E8A-4147-A177-3AD203B41FA5}">
                      <a16:colId xmlns:a16="http://schemas.microsoft.com/office/drawing/2014/main" val="2521343845"/>
                    </a:ext>
                  </a:extLst>
                </a:gridCol>
              </a:tblGrid>
              <a:tr h="381502">
                <a:tc>
                  <a:txBody>
                    <a:bodyPr/>
                    <a:lstStyle/>
                    <a:p>
                      <a:pPr algn="ctr"/>
                      <a:r>
                        <a:rPr lang="es-CL" dirty="0"/>
                        <a:t>País</a:t>
                      </a:r>
                    </a:p>
                  </a:txBody>
                  <a:tcPr/>
                </a:tc>
                <a:tc>
                  <a:txBody>
                    <a:bodyPr/>
                    <a:lstStyle/>
                    <a:p>
                      <a:pPr algn="ctr"/>
                      <a:r>
                        <a:rPr lang="es-CL" dirty="0"/>
                        <a:t>2019</a:t>
                      </a:r>
                    </a:p>
                  </a:txBody>
                  <a:tcPr/>
                </a:tc>
                <a:tc>
                  <a:txBody>
                    <a:bodyPr/>
                    <a:lstStyle/>
                    <a:p>
                      <a:pPr algn="ctr"/>
                      <a:r>
                        <a:rPr lang="es-CL" dirty="0"/>
                        <a:t>2022</a:t>
                      </a:r>
                    </a:p>
                  </a:txBody>
                  <a:tcPr/>
                </a:tc>
                <a:tc>
                  <a:txBody>
                    <a:bodyPr/>
                    <a:lstStyle/>
                    <a:p>
                      <a:pPr algn="ctr"/>
                      <a:r>
                        <a:rPr lang="es-CL" dirty="0"/>
                        <a:t>2023</a:t>
                      </a:r>
                    </a:p>
                  </a:txBody>
                  <a:tcPr/>
                </a:tc>
                <a:extLst>
                  <a:ext uri="{0D108BD9-81ED-4DB2-BD59-A6C34878D82A}">
                    <a16:rowId xmlns:a16="http://schemas.microsoft.com/office/drawing/2014/main" val="3008448917"/>
                  </a:ext>
                </a:extLst>
              </a:tr>
              <a:tr h="386801">
                <a:tc>
                  <a:txBody>
                    <a:bodyPr/>
                    <a:lstStyle/>
                    <a:p>
                      <a:pPr algn="ctr"/>
                      <a:r>
                        <a:rPr lang="es-CL" dirty="0"/>
                        <a:t>Argentina</a:t>
                      </a:r>
                    </a:p>
                  </a:txBody>
                  <a:tcPr/>
                </a:tc>
                <a:tc>
                  <a:txBody>
                    <a:bodyPr/>
                    <a:lstStyle/>
                    <a:p>
                      <a:pPr algn="ctr"/>
                      <a:r>
                        <a:rPr lang="es-CL" dirty="0"/>
                        <a:t>6%</a:t>
                      </a:r>
                    </a:p>
                  </a:txBody>
                  <a:tcPr/>
                </a:tc>
                <a:tc>
                  <a:txBody>
                    <a:bodyPr/>
                    <a:lstStyle/>
                    <a:p>
                      <a:pPr algn="ctr"/>
                      <a:r>
                        <a:rPr lang="es-CL" dirty="0"/>
                        <a:t>5%</a:t>
                      </a:r>
                    </a:p>
                  </a:txBody>
                  <a:tcPr/>
                </a:tc>
                <a:tc>
                  <a:txBody>
                    <a:bodyPr/>
                    <a:lstStyle/>
                    <a:p>
                      <a:pPr algn="ctr"/>
                      <a:r>
                        <a:rPr lang="es-CL" dirty="0"/>
                        <a:t>6%</a:t>
                      </a:r>
                    </a:p>
                  </a:txBody>
                  <a:tcPr/>
                </a:tc>
                <a:extLst>
                  <a:ext uri="{0D108BD9-81ED-4DB2-BD59-A6C34878D82A}">
                    <a16:rowId xmlns:a16="http://schemas.microsoft.com/office/drawing/2014/main" val="1822587640"/>
                  </a:ext>
                </a:extLst>
              </a:tr>
              <a:tr h="386801">
                <a:tc>
                  <a:txBody>
                    <a:bodyPr/>
                    <a:lstStyle/>
                    <a:p>
                      <a:pPr algn="ctr"/>
                      <a:r>
                        <a:rPr lang="es-CL" b="1" dirty="0"/>
                        <a:t>Brasil</a:t>
                      </a:r>
                    </a:p>
                  </a:txBody>
                  <a:tcPr/>
                </a:tc>
                <a:tc>
                  <a:txBody>
                    <a:bodyPr/>
                    <a:lstStyle/>
                    <a:p>
                      <a:pPr algn="ctr"/>
                      <a:r>
                        <a:rPr lang="es-CL" b="1" dirty="0"/>
                        <a:t>38%</a:t>
                      </a:r>
                    </a:p>
                  </a:txBody>
                  <a:tcPr/>
                </a:tc>
                <a:tc>
                  <a:txBody>
                    <a:bodyPr/>
                    <a:lstStyle/>
                    <a:p>
                      <a:pPr algn="ctr"/>
                      <a:r>
                        <a:rPr lang="es-CL" b="1" dirty="0"/>
                        <a:t>48%</a:t>
                      </a:r>
                    </a:p>
                  </a:txBody>
                  <a:tcPr/>
                </a:tc>
                <a:tc>
                  <a:txBody>
                    <a:bodyPr/>
                    <a:lstStyle/>
                    <a:p>
                      <a:pPr algn="ctr"/>
                      <a:r>
                        <a:rPr lang="es-CL" b="1" dirty="0"/>
                        <a:t>41%</a:t>
                      </a:r>
                    </a:p>
                  </a:txBody>
                  <a:tcPr/>
                </a:tc>
                <a:extLst>
                  <a:ext uri="{0D108BD9-81ED-4DB2-BD59-A6C34878D82A}">
                    <a16:rowId xmlns:a16="http://schemas.microsoft.com/office/drawing/2014/main" val="2388657675"/>
                  </a:ext>
                </a:extLst>
              </a:tr>
              <a:tr h="386801">
                <a:tc>
                  <a:txBody>
                    <a:bodyPr/>
                    <a:lstStyle/>
                    <a:p>
                      <a:pPr algn="ctr"/>
                      <a:r>
                        <a:rPr lang="es-CL" dirty="0"/>
                        <a:t>USA</a:t>
                      </a:r>
                    </a:p>
                  </a:txBody>
                  <a:tcPr/>
                </a:tc>
                <a:tc>
                  <a:txBody>
                    <a:bodyPr/>
                    <a:lstStyle/>
                    <a:p>
                      <a:pPr algn="ctr"/>
                      <a:r>
                        <a:rPr lang="es-CL" dirty="0"/>
                        <a:t>19%</a:t>
                      </a:r>
                    </a:p>
                  </a:txBody>
                  <a:tcPr/>
                </a:tc>
                <a:tc>
                  <a:txBody>
                    <a:bodyPr/>
                    <a:lstStyle/>
                    <a:p>
                      <a:pPr algn="ctr"/>
                      <a:r>
                        <a:rPr lang="es-CL" dirty="0"/>
                        <a:t>12%</a:t>
                      </a:r>
                    </a:p>
                  </a:txBody>
                  <a:tcPr/>
                </a:tc>
                <a:tc>
                  <a:txBody>
                    <a:bodyPr/>
                    <a:lstStyle/>
                    <a:p>
                      <a:pPr algn="ctr"/>
                      <a:r>
                        <a:rPr lang="es-CL" dirty="0"/>
                        <a:t>13%</a:t>
                      </a:r>
                    </a:p>
                  </a:txBody>
                  <a:tcPr/>
                </a:tc>
                <a:extLst>
                  <a:ext uri="{0D108BD9-81ED-4DB2-BD59-A6C34878D82A}">
                    <a16:rowId xmlns:a16="http://schemas.microsoft.com/office/drawing/2014/main" val="3520379906"/>
                  </a:ext>
                </a:extLst>
              </a:tr>
              <a:tr h="386801">
                <a:tc>
                  <a:txBody>
                    <a:bodyPr/>
                    <a:lstStyle/>
                    <a:p>
                      <a:pPr algn="ctr"/>
                      <a:r>
                        <a:rPr lang="es-CL" dirty="0"/>
                        <a:t>Chile</a:t>
                      </a:r>
                    </a:p>
                  </a:txBody>
                  <a:tcPr/>
                </a:tc>
                <a:tc>
                  <a:txBody>
                    <a:bodyPr/>
                    <a:lstStyle/>
                    <a:p>
                      <a:pPr algn="ctr"/>
                      <a:r>
                        <a:rPr lang="es-CL" dirty="0"/>
                        <a:t>3%</a:t>
                      </a:r>
                    </a:p>
                  </a:txBody>
                  <a:tcPr/>
                </a:tc>
                <a:tc>
                  <a:txBody>
                    <a:bodyPr/>
                    <a:lstStyle/>
                    <a:p>
                      <a:pPr algn="ctr"/>
                      <a:r>
                        <a:rPr lang="es-CL" dirty="0"/>
                        <a:t>3%</a:t>
                      </a:r>
                    </a:p>
                  </a:txBody>
                  <a:tcPr/>
                </a:tc>
                <a:tc>
                  <a:txBody>
                    <a:bodyPr/>
                    <a:lstStyle/>
                    <a:p>
                      <a:pPr algn="ctr"/>
                      <a:r>
                        <a:rPr lang="es-CL" dirty="0"/>
                        <a:t>3%</a:t>
                      </a:r>
                    </a:p>
                  </a:txBody>
                  <a:tcPr/>
                </a:tc>
                <a:extLst>
                  <a:ext uri="{0D108BD9-81ED-4DB2-BD59-A6C34878D82A}">
                    <a16:rowId xmlns:a16="http://schemas.microsoft.com/office/drawing/2014/main" val="2406437395"/>
                  </a:ext>
                </a:extLst>
              </a:tr>
              <a:tr h="298762">
                <a:tc>
                  <a:txBody>
                    <a:bodyPr/>
                    <a:lstStyle/>
                    <a:p>
                      <a:pPr algn="ctr"/>
                      <a:r>
                        <a:rPr lang="es-CL" dirty="0"/>
                        <a:t>Otros</a:t>
                      </a:r>
                    </a:p>
                  </a:txBody>
                  <a:tcPr/>
                </a:tc>
                <a:tc>
                  <a:txBody>
                    <a:bodyPr/>
                    <a:lstStyle/>
                    <a:p>
                      <a:pPr algn="ctr"/>
                      <a:r>
                        <a:rPr lang="es-CL" dirty="0"/>
                        <a:t>34%</a:t>
                      </a:r>
                    </a:p>
                  </a:txBody>
                  <a:tcPr/>
                </a:tc>
                <a:tc>
                  <a:txBody>
                    <a:bodyPr/>
                    <a:lstStyle/>
                    <a:p>
                      <a:pPr algn="ctr"/>
                      <a:r>
                        <a:rPr lang="es-CL" dirty="0"/>
                        <a:t>32%</a:t>
                      </a:r>
                    </a:p>
                  </a:txBody>
                  <a:tcPr/>
                </a:tc>
                <a:tc>
                  <a:txBody>
                    <a:bodyPr/>
                    <a:lstStyle/>
                    <a:p>
                      <a:pPr algn="ctr"/>
                      <a:r>
                        <a:rPr lang="es-CL" dirty="0"/>
                        <a:t>37%</a:t>
                      </a:r>
                    </a:p>
                  </a:txBody>
                  <a:tcPr/>
                </a:tc>
                <a:extLst>
                  <a:ext uri="{0D108BD9-81ED-4DB2-BD59-A6C34878D82A}">
                    <a16:rowId xmlns:a16="http://schemas.microsoft.com/office/drawing/2014/main" val="625511492"/>
                  </a:ext>
                </a:extLst>
              </a:tr>
              <a:tr h="604045">
                <a:tc>
                  <a:txBody>
                    <a:bodyPr/>
                    <a:lstStyle/>
                    <a:p>
                      <a:pPr algn="ctr"/>
                      <a:r>
                        <a:rPr lang="es-CL" dirty="0"/>
                        <a:t>Total </a:t>
                      </a:r>
                    </a:p>
                    <a:p>
                      <a:pPr algn="ctr"/>
                      <a:r>
                        <a:rPr lang="es-CL" sz="1400" dirty="0"/>
                        <a:t>(</a:t>
                      </a:r>
                      <a:r>
                        <a:rPr lang="es-CL" sz="1400" i="1" dirty="0"/>
                        <a:t>en millones</a:t>
                      </a:r>
                      <a:r>
                        <a:rPr lang="es-CL" sz="1400" i="0" dirty="0"/>
                        <a:t>)</a:t>
                      </a:r>
                      <a:endParaRPr lang="es-CL" sz="1400" i="1" dirty="0"/>
                    </a:p>
                  </a:txBody>
                  <a:tcPr/>
                </a:tc>
                <a:tc>
                  <a:txBody>
                    <a:bodyPr/>
                    <a:lstStyle/>
                    <a:p>
                      <a:pPr algn="ctr"/>
                      <a:r>
                        <a:rPr lang="es-CL" dirty="0"/>
                        <a:t>292</a:t>
                      </a:r>
                    </a:p>
                  </a:txBody>
                  <a:tcPr/>
                </a:tc>
                <a:tc>
                  <a:txBody>
                    <a:bodyPr/>
                    <a:lstStyle/>
                    <a:p>
                      <a:pPr algn="ctr"/>
                      <a:r>
                        <a:rPr lang="es-CL" dirty="0"/>
                        <a:t>207</a:t>
                      </a:r>
                    </a:p>
                  </a:txBody>
                  <a:tcPr/>
                </a:tc>
                <a:tc>
                  <a:txBody>
                    <a:bodyPr/>
                    <a:lstStyle/>
                    <a:p>
                      <a:pPr algn="ctr"/>
                      <a:r>
                        <a:rPr lang="es-CL" dirty="0"/>
                        <a:t>165</a:t>
                      </a:r>
                    </a:p>
                  </a:txBody>
                  <a:tcPr/>
                </a:tc>
                <a:extLst>
                  <a:ext uri="{0D108BD9-81ED-4DB2-BD59-A6C34878D82A}">
                    <a16:rowId xmlns:a16="http://schemas.microsoft.com/office/drawing/2014/main" val="422360963"/>
                  </a:ext>
                </a:extLst>
              </a:tr>
            </a:tbl>
          </a:graphicData>
        </a:graphic>
      </p:graphicFrame>
      <p:sp>
        <p:nvSpPr>
          <p:cNvPr id="9" name="Title 6">
            <a:extLst>
              <a:ext uri="{FF2B5EF4-FFF2-40B4-BE49-F238E27FC236}">
                <a16:creationId xmlns:a16="http://schemas.microsoft.com/office/drawing/2014/main" id="{9C3EA762-FB10-DCEE-77E2-AAF5876F62A0}"/>
              </a:ext>
            </a:extLst>
          </p:cNvPr>
          <p:cNvSpPr txBox="1">
            <a:spLocks/>
          </p:cNvSpPr>
          <p:nvPr/>
        </p:nvSpPr>
        <p:spPr>
          <a:xfrm>
            <a:off x="755120" y="1458228"/>
            <a:ext cx="4974776"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algn="ctr">
              <a:lnSpc>
                <a:spcPct val="110000"/>
              </a:lnSpc>
              <a:spcBef>
                <a:spcPts val="0"/>
              </a:spcBef>
              <a:spcAft>
                <a:spcPts val="1200"/>
              </a:spcAft>
              <a:defRPr/>
            </a:pPr>
            <a:r>
              <a:rPr lang="en-US" altLang="es-ES_tradnl" sz="2400" b="1" cap="all" dirty="0" err="1">
                <a:solidFill>
                  <a:srgbClr val="4472C4"/>
                </a:solidFill>
                <a:latin typeface="Calibri" panose="020F0502020204030204"/>
                <a:ea typeface="+mn-ea"/>
                <a:cs typeface="+mn-cs"/>
              </a:rPr>
              <a:t>Demanda</a:t>
            </a:r>
            <a:r>
              <a:rPr lang="en-US" altLang="es-ES_tradnl" sz="2400" b="1" cap="all" dirty="0">
                <a:solidFill>
                  <a:srgbClr val="4472C4"/>
                </a:solidFill>
                <a:latin typeface="Calibri" panose="020F0502020204030204"/>
                <a:ea typeface="+mn-ea"/>
                <a:cs typeface="+mn-cs"/>
              </a:rPr>
              <a:t> real</a:t>
            </a:r>
          </a:p>
        </p:txBody>
      </p:sp>
      <p:sp>
        <p:nvSpPr>
          <p:cNvPr id="13" name="Title 6">
            <a:extLst>
              <a:ext uri="{FF2B5EF4-FFF2-40B4-BE49-F238E27FC236}">
                <a16:creationId xmlns:a16="http://schemas.microsoft.com/office/drawing/2014/main" id="{73779399-DD26-FCB5-9CB4-6DC0417BDEB4}"/>
              </a:ext>
            </a:extLst>
          </p:cNvPr>
          <p:cNvSpPr txBox="1">
            <a:spLocks/>
          </p:cNvSpPr>
          <p:nvPr/>
        </p:nvSpPr>
        <p:spPr>
          <a:xfrm>
            <a:off x="5584886" y="1458228"/>
            <a:ext cx="4974776"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R="0" lvl="0" indent="0" algn="ctr" fontAlgn="auto">
              <a:lnSpc>
                <a:spcPct val="110000"/>
              </a:lnSpc>
              <a:spcBef>
                <a:spcPts val="0"/>
              </a:spcBef>
              <a:spcAft>
                <a:spcPts val="1200"/>
              </a:spcAft>
              <a:buClrTx/>
              <a:buSzTx/>
              <a:tabLst/>
              <a:defRPr/>
            </a:pPr>
            <a:r>
              <a:rPr lang="en-US" altLang="es-ES_tradnl" sz="2400" b="1" cap="all" dirty="0" err="1">
                <a:solidFill>
                  <a:srgbClr val="4472C4"/>
                </a:solidFill>
                <a:latin typeface="Calibri" panose="020F0502020204030204"/>
                <a:ea typeface="+mn-ea"/>
                <a:cs typeface="+mn-cs"/>
              </a:rPr>
              <a:t>Demanda</a:t>
            </a:r>
            <a:r>
              <a:rPr lang="en-US" altLang="es-ES_tradnl" sz="2400" b="1" cap="all" dirty="0">
                <a:solidFill>
                  <a:srgbClr val="4472C4"/>
                </a:solidFill>
                <a:latin typeface="Calibri" panose="020F0502020204030204"/>
                <a:ea typeface="+mn-ea"/>
                <a:cs typeface="+mn-cs"/>
              </a:rPr>
              <a:t> </a:t>
            </a:r>
            <a:r>
              <a:rPr lang="en-US" altLang="es-ES_tradnl" sz="2400" b="1" cap="all" dirty="0" err="1">
                <a:solidFill>
                  <a:srgbClr val="4472C4"/>
                </a:solidFill>
                <a:latin typeface="Calibri" panose="020F0502020204030204"/>
                <a:ea typeface="+mn-ea"/>
                <a:cs typeface="+mn-cs"/>
              </a:rPr>
              <a:t>potencial</a:t>
            </a:r>
            <a:r>
              <a:rPr lang="en-US" altLang="es-ES_tradnl" sz="2400" b="1" cap="all" dirty="0">
                <a:solidFill>
                  <a:srgbClr val="4472C4"/>
                </a:solidFill>
                <a:latin typeface="Calibri" panose="020F0502020204030204"/>
                <a:ea typeface="+mn-ea"/>
                <a:cs typeface="+mn-cs"/>
              </a:rPr>
              <a:t> </a:t>
            </a:r>
            <a:r>
              <a:rPr lang="en-US" altLang="es-ES_tradnl" sz="2400" b="1" cap="all" dirty="0" err="1">
                <a:solidFill>
                  <a:srgbClr val="4472C4"/>
                </a:solidFill>
                <a:latin typeface="Calibri" panose="020F0502020204030204"/>
                <a:ea typeface="+mn-ea"/>
                <a:cs typeface="+mn-cs"/>
              </a:rPr>
              <a:t>aérea</a:t>
            </a:r>
            <a:endParaRPr lang="en-US" altLang="es-ES_tradnl" sz="2400" b="1" cap="all" dirty="0">
              <a:solidFill>
                <a:srgbClr val="4472C4"/>
              </a:solidFill>
              <a:latin typeface="Calibri" panose="020F0502020204030204"/>
              <a:ea typeface="+mn-ea"/>
              <a:cs typeface="+mn-cs"/>
            </a:endParaRPr>
          </a:p>
        </p:txBody>
      </p:sp>
      <p:graphicFrame>
        <p:nvGraphicFramePr>
          <p:cNvPr id="14" name="Table 13">
            <a:extLst>
              <a:ext uri="{FF2B5EF4-FFF2-40B4-BE49-F238E27FC236}">
                <a16:creationId xmlns:a16="http://schemas.microsoft.com/office/drawing/2014/main" id="{BB458AFF-9515-0359-514A-9BE25758740D}"/>
              </a:ext>
            </a:extLst>
          </p:cNvPr>
          <p:cNvGraphicFramePr>
            <a:graphicFrameLocks noGrp="1"/>
          </p:cNvGraphicFramePr>
          <p:nvPr>
            <p:extLst>
              <p:ext uri="{D42A27DB-BD31-4B8C-83A1-F6EECF244321}">
                <p14:modId xmlns:p14="http://schemas.microsoft.com/office/powerpoint/2010/main" val="565454234"/>
              </p:ext>
            </p:extLst>
          </p:nvPr>
        </p:nvGraphicFramePr>
        <p:xfrm>
          <a:off x="10559662" y="1979743"/>
          <a:ext cx="1113322" cy="2898511"/>
        </p:xfrm>
        <a:graphic>
          <a:graphicData uri="http://schemas.openxmlformats.org/drawingml/2006/table">
            <a:tbl>
              <a:tblPr firstRow="1" bandRow="1">
                <a:tableStyleId>{5C22544A-7EE6-4342-B048-85BDC9FD1C3A}</a:tableStyleId>
              </a:tblPr>
              <a:tblGrid>
                <a:gridCol w="1113322">
                  <a:extLst>
                    <a:ext uri="{9D8B030D-6E8A-4147-A177-3AD203B41FA5}">
                      <a16:colId xmlns:a16="http://schemas.microsoft.com/office/drawing/2014/main" val="528441069"/>
                    </a:ext>
                  </a:extLst>
                </a:gridCol>
              </a:tblGrid>
              <a:tr h="381502">
                <a:tc>
                  <a:txBody>
                    <a:bodyPr/>
                    <a:lstStyle/>
                    <a:p>
                      <a:pPr algn="ctr"/>
                      <a:r>
                        <a:rPr lang="es-CL" dirty="0"/>
                        <a:t>2024</a:t>
                      </a:r>
                    </a:p>
                  </a:txBody>
                  <a:tcPr/>
                </a:tc>
                <a:extLst>
                  <a:ext uri="{0D108BD9-81ED-4DB2-BD59-A6C34878D82A}">
                    <a16:rowId xmlns:a16="http://schemas.microsoft.com/office/drawing/2014/main" val="2623706015"/>
                  </a:ext>
                </a:extLst>
              </a:tr>
              <a:tr h="386801">
                <a:tc>
                  <a:txBody>
                    <a:bodyPr/>
                    <a:lstStyle/>
                    <a:p>
                      <a:pPr algn="ctr"/>
                      <a:r>
                        <a:rPr lang="es-CL" dirty="0"/>
                        <a:t>5%</a:t>
                      </a:r>
                    </a:p>
                  </a:txBody>
                  <a:tcPr/>
                </a:tc>
                <a:extLst>
                  <a:ext uri="{0D108BD9-81ED-4DB2-BD59-A6C34878D82A}">
                    <a16:rowId xmlns:a16="http://schemas.microsoft.com/office/drawing/2014/main" val="580325452"/>
                  </a:ext>
                </a:extLst>
              </a:tr>
              <a:tr h="386801">
                <a:tc>
                  <a:txBody>
                    <a:bodyPr/>
                    <a:lstStyle/>
                    <a:p>
                      <a:pPr algn="ctr"/>
                      <a:r>
                        <a:rPr lang="es-CL" b="1" dirty="0"/>
                        <a:t>42%</a:t>
                      </a:r>
                    </a:p>
                  </a:txBody>
                  <a:tcPr/>
                </a:tc>
                <a:extLst>
                  <a:ext uri="{0D108BD9-81ED-4DB2-BD59-A6C34878D82A}">
                    <a16:rowId xmlns:a16="http://schemas.microsoft.com/office/drawing/2014/main" val="13553153"/>
                  </a:ext>
                </a:extLst>
              </a:tr>
              <a:tr h="386801">
                <a:tc>
                  <a:txBody>
                    <a:bodyPr/>
                    <a:lstStyle/>
                    <a:p>
                      <a:pPr algn="ctr"/>
                      <a:r>
                        <a:rPr lang="es-CL" dirty="0"/>
                        <a:t>10%</a:t>
                      </a:r>
                    </a:p>
                  </a:txBody>
                  <a:tcPr/>
                </a:tc>
                <a:extLst>
                  <a:ext uri="{0D108BD9-81ED-4DB2-BD59-A6C34878D82A}">
                    <a16:rowId xmlns:a16="http://schemas.microsoft.com/office/drawing/2014/main" val="1107889187"/>
                  </a:ext>
                </a:extLst>
              </a:tr>
              <a:tr h="386801">
                <a:tc>
                  <a:txBody>
                    <a:bodyPr/>
                    <a:lstStyle/>
                    <a:p>
                      <a:pPr algn="ctr"/>
                      <a:r>
                        <a:rPr lang="es-CL" dirty="0"/>
                        <a:t>2%</a:t>
                      </a:r>
                    </a:p>
                  </a:txBody>
                  <a:tcPr/>
                </a:tc>
                <a:extLst>
                  <a:ext uri="{0D108BD9-81ED-4DB2-BD59-A6C34878D82A}">
                    <a16:rowId xmlns:a16="http://schemas.microsoft.com/office/drawing/2014/main" val="2517027465"/>
                  </a:ext>
                </a:extLst>
              </a:tr>
              <a:tr h="298762">
                <a:tc>
                  <a:txBody>
                    <a:bodyPr/>
                    <a:lstStyle/>
                    <a:p>
                      <a:pPr algn="ctr"/>
                      <a:r>
                        <a:rPr lang="es-CL" dirty="0"/>
                        <a:t>41%</a:t>
                      </a:r>
                    </a:p>
                  </a:txBody>
                  <a:tcPr/>
                </a:tc>
                <a:extLst>
                  <a:ext uri="{0D108BD9-81ED-4DB2-BD59-A6C34878D82A}">
                    <a16:rowId xmlns:a16="http://schemas.microsoft.com/office/drawing/2014/main" val="3104689302"/>
                  </a:ext>
                </a:extLst>
              </a:tr>
              <a:tr h="604045">
                <a:tc>
                  <a:txBody>
                    <a:bodyPr/>
                    <a:lstStyle/>
                    <a:p>
                      <a:pPr algn="ctr"/>
                      <a:r>
                        <a:rPr lang="es-CL" dirty="0"/>
                        <a:t>15</a:t>
                      </a:r>
                    </a:p>
                  </a:txBody>
                  <a:tcPr/>
                </a:tc>
                <a:extLst>
                  <a:ext uri="{0D108BD9-81ED-4DB2-BD59-A6C34878D82A}">
                    <a16:rowId xmlns:a16="http://schemas.microsoft.com/office/drawing/2014/main" val="1358915715"/>
                  </a:ext>
                </a:extLst>
              </a:tr>
            </a:tbl>
          </a:graphicData>
        </a:graphic>
      </p:graphicFrame>
    </p:spTree>
    <p:extLst>
      <p:ext uri="{BB962C8B-B14F-4D97-AF65-F5344CB8AC3E}">
        <p14:creationId xmlns:p14="http://schemas.microsoft.com/office/powerpoint/2010/main" val="36567618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1E47156E-6F9E-C3D3-117B-218B4508A0E4}"/>
              </a:ext>
            </a:extLst>
          </p:cNvPr>
          <p:cNvSpPr txBox="1">
            <a:spLocks/>
          </p:cNvSpPr>
          <p:nvPr/>
        </p:nvSpPr>
        <p:spPr>
          <a:xfrm>
            <a:off x="1687738" y="394478"/>
            <a:ext cx="9103331"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s-ES_tradnl" b="1" dirty="0" err="1">
                <a:solidFill>
                  <a:srgbClr val="005EB8"/>
                </a:solidFill>
                <a:latin typeface="+mn-lt"/>
                <a:ea typeface="ＭＳ Ｐゴシック" charset="-128"/>
                <a:cs typeface="+mn-cs"/>
              </a:rPr>
              <a:t>Penetración</a:t>
            </a:r>
            <a:r>
              <a:rPr lang="en-US" altLang="es-ES_tradnl" b="1" dirty="0">
                <a:solidFill>
                  <a:srgbClr val="005EB8"/>
                </a:solidFill>
                <a:latin typeface="+mn-lt"/>
                <a:ea typeface="ＭＳ Ｐゴシック" charset="-128"/>
                <a:cs typeface="+mn-cs"/>
              </a:rPr>
              <a:t> en mercados </a:t>
            </a:r>
            <a:r>
              <a:rPr lang="en-US" altLang="es-ES_tradnl" b="1" dirty="0" err="1">
                <a:solidFill>
                  <a:srgbClr val="005EB8"/>
                </a:solidFill>
                <a:latin typeface="+mn-lt"/>
                <a:ea typeface="ＭＳ Ｐゴシック" charset="-128"/>
                <a:cs typeface="+mn-cs"/>
              </a:rPr>
              <a:t>estratégicos</a:t>
            </a:r>
            <a:r>
              <a:rPr lang="en-US" altLang="es-ES_tradnl" b="1" dirty="0">
                <a:solidFill>
                  <a:srgbClr val="005EB8"/>
                </a:solidFill>
                <a:latin typeface="+mn-lt"/>
                <a:ea typeface="ＭＳ Ｐゴシック" charset="-128"/>
                <a:cs typeface="+mn-cs"/>
              </a:rPr>
              <a:t> </a:t>
            </a:r>
            <a:r>
              <a:rPr lang="en-US" altLang="es-ES_tradnl" b="1" dirty="0" err="1">
                <a:solidFill>
                  <a:srgbClr val="005EB8"/>
                </a:solidFill>
                <a:latin typeface="+mn-lt"/>
                <a:ea typeface="ＭＳ Ｐゴシック" charset="-128"/>
                <a:cs typeface="+mn-cs"/>
              </a:rPr>
              <a:t>durante</a:t>
            </a:r>
            <a:r>
              <a:rPr lang="en-US" altLang="es-ES_tradnl" b="1" dirty="0">
                <a:solidFill>
                  <a:srgbClr val="005EB8"/>
                </a:solidFill>
                <a:latin typeface="+mn-lt"/>
                <a:ea typeface="ＭＳ Ｐゴシック" charset="-128"/>
                <a:cs typeface="+mn-cs"/>
              </a:rPr>
              <a:t> 2023</a:t>
            </a:r>
          </a:p>
        </p:txBody>
      </p:sp>
      <p:sp>
        <p:nvSpPr>
          <p:cNvPr id="18" name="New shape">
            <a:extLst>
              <a:ext uri="{FF2B5EF4-FFF2-40B4-BE49-F238E27FC236}">
                <a16:creationId xmlns:a16="http://schemas.microsoft.com/office/drawing/2014/main" id="{C4314AC8-249E-B7FB-F139-B324A9D5F078}"/>
              </a:ext>
            </a:extLst>
          </p:cNvPr>
          <p:cNvSpPr/>
          <p:nvPr/>
        </p:nvSpPr>
        <p:spPr>
          <a:xfrm>
            <a:off x="5999129" y="5513728"/>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graphicFrame>
        <p:nvGraphicFramePr>
          <p:cNvPr id="14" name="Table 13">
            <a:extLst>
              <a:ext uri="{FF2B5EF4-FFF2-40B4-BE49-F238E27FC236}">
                <a16:creationId xmlns:a16="http://schemas.microsoft.com/office/drawing/2014/main" id="{44128702-B32D-C9D5-7F1D-8AA6AA203079}"/>
              </a:ext>
            </a:extLst>
          </p:cNvPr>
          <p:cNvGraphicFramePr>
            <a:graphicFrameLocks noGrp="1"/>
          </p:cNvGraphicFramePr>
          <p:nvPr>
            <p:extLst>
              <p:ext uri="{D42A27DB-BD31-4B8C-83A1-F6EECF244321}">
                <p14:modId xmlns:p14="http://schemas.microsoft.com/office/powerpoint/2010/main" val="49805586"/>
              </p:ext>
            </p:extLst>
          </p:nvPr>
        </p:nvGraphicFramePr>
        <p:xfrm>
          <a:off x="2231563" y="1344272"/>
          <a:ext cx="7728873" cy="4169456"/>
        </p:xfrm>
        <a:graphic>
          <a:graphicData uri="http://schemas.openxmlformats.org/drawingml/2006/table">
            <a:tbl>
              <a:tblPr firstRow="1" bandRow="1">
                <a:tableStyleId>{B301B821-A1FF-4177-AEE7-76D212191A09}</a:tableStyleId>
              </a:tblPr>
              <a:tblGrid>
                <a:gridCol w="2635028">
                  <a:extLst>
                    <a:ext uri="{9D8B030D-6E8A-4147-A177-3AD203B41FA5}">
                      <a16:colId xmlns:a16="http://schemas.microsoft.com/office/drawing/2014/main" val="501881420"/>
                    </a:ext>
                  </a:extLst>
                </a:gridCol>
                <a:gridCol w="2635028">
                  <a:extLst>
                    <a:ext uri="{9D8B030D-6E8A-4147-A177-3AD203B41FA5}">
                      <a16:colId xmlns:a16="http://schemas.microsoft.com/office/drawing/2014/main" val="3665119921"/>
                    </a:ext>
                  </a:extLst>
                </a:gridCol>
                <a:gridCol w="2458817">
                  <a:extLst>
                    <a:ext uri="{9D8B030D-6E8A-4147-A177-3AD203B41FA5}">
                      <a16:colId xmlns:a16="http://schemas.microsoft.com/office/drawing/2014/main" val="2573673986"/>
                    </a:ext>
                  </a:extLst>
                </a:gridCol>
              </a:tblGrid>
              <a:tr h="922094">
                <a:tc>
                  <a:txBody>
                    <a:bodyPr/>
                    <a:lstStyle/>
                    <a:p>
                      <a:pPr algn="ctr"/>
                      <a:r>
                        <a:rPr lang="de-DE" sz="1600" b="0" dirty="0"/>
                        <a:t>País de origen</a:t>
                      </a:r>
                    </a:p>
                  </a:txBody>
                  <a:tcPr anchor="ctr"/>
                </a:tc>
                <a:tc>
                  <a:txBody>
                    <a:bodyPr/>
                    <a:lstStyle/>
                    <a:p>
                      <a:pPr algn="ctr"/>
                      <a:r>
                        <a:rPr lang="de-DE" sz="1600" b="0" dirty="0"/>
                        <a:t> Intención de viaje a Sudaméric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0" dirty="0"/>
                        <a:t>Market Share vs. 2019 (</a:t>
                      </a:r>
                      <a:r>
                        <a:rPr lang="de-DE" sz="1600" b="1" u="none" strike="noStrike" dirty="0">
                          <a:solidFill>
                            <a:schemeClr val="accent6">
                              <a:lumMod val="50000"/>
                            </a:schemeClr>
                          </a:solidFill>
                          <a:effectLst/>
                        </a:rPr>
                        <a:t>↑</a:t>
                      </a:r>
                      <a:r>
                        <a:rPr lang="de-DE" sz="1600" b="1" u="none" strike="noStrike" dirty="0">
                          <a:solidFill>
                            <a:srgbClr val="C00000"/>
                          </a:solidFill>
                          <a:effectLst/>
                        </a:rPr>
                        <a:t>↓)</a:t>
                      </a:r>
                      <a:endParaRPr lang="de-DE" sz="1600" b="0" dirty="0"/>
                    </a:p>
                  </a:txBody>
                  <a:tcPr anchor="ctr"/>
                </a:tc>
                <a:extLst>
                  <a:ext uri="{0D108BD9-81ED-4DB2-BD59-A6C34878D82A}">
                    <a16:rowId xmlns:a16="http://schemas.microsoft.com/office/drawing/2014/main" val="3908347654"/>
                  </a:ext>
                </a:extLst>
              </a:tr>
              <a:tr h="545876">
                <a:tc>
                  <a:txBody>
                    <a:bodyPr/>
                    <a:lstStyle/>
                    <a:p>
                      <a:pPr algn="ctr"/>
                      <a:r>
                        <a:rPr lang="de-DE" sz="1600" dirty="0"/>
                        <a:t>Brasil</a:t>
                      </a:r>
                    </a:p>
                  </a:txBody>
                  <a:tcPr anchor="ctr"/>
                </a:tc>
                <a:tc>
                  <a:txBody>
                    <a:bodyPr/>
                    <a:lstStyle/>
                    <a:p>
                      <a:pPr algn="ctr"/>
                      <a:r>
                        <a:rPr lang="de-DE" sz="1600" dirty="0"/>
                        <a:t>1.090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6,2%   </a:t>
                      </a:r>
                      <a:r>
                        <a:rPr lang="de-DE" sz="1600" b="1" u="none" strike="noStrike" dirty="0">
                          <a:solidFill>
                            <a:srgbClr val="C0000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2613222453"/>
                  </a:ext>
                </a:extLst>
              </a:tr>
              <a:tr h="545876">
                <a:tc>
                  <a:txBody>
                    <a:bodyPr/>
                    <a:lstStyle/>
                    <a:p>
                      <a:pPr algn="ctr"/>
                      <a:r>
                        <a:rPr lang="de-DE" sz="1600" dirty="0"/>
                        <a:t>USA</a:t>
                      </a:r>
                    </a:p>
                  </a:txBody>
                  <a:tcPr anchor="ctr"/>
                </a:tc>
                <a:tc>
                  <a:txBody>
                    <a:bodyPr/>
                    <a:lstStyle/>
                    <a:p>
                      <a:pPr algn="ctr"/>
                      <a:r>
                        <a:rPr lang="de-DE" sz="1600" dirty="0"/>
                        <a:t>1.830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1,2%   </a:t>
                      </a:r>
                      <a:r>
                        <a:rPr lang="de-DE" sz="1600" b="1" u="none" strike="noStrike" dirty="0">
                          <a:solidFill>
                            <a:srgbClr val="00777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1999734700"/>
                  </a:ext>
                </a:extLst>
              </a:tr>
              <a:tr h="517982">
                <a:tc>
                  <a:txBody>
                    <a:bodyPr/>
                    <a:lstStyle/>
                    <a:p>
                      <a:pPr algn="ctr"/>
                      <a:r>
                        <a:rPr lang="de-DE" sz="1600" dirty="0"/>
                        <a:t>España</a:t>
                      </a:r>
                    </a:p>
                  </a:txBody>
                  <a:tcPr anchor="ctr"/>
                </a:tc>
                <a:tc>
                  <a:txBody>
                    <a:bodyPr/>
                    <a:lstStyle/>
                    <a:p>
                      <a:pPr algn="ctr"/>
                      <a:r>
                        <a:rPr lang="de-DE" sz="1600" dirty="0"/>
                        <a:t>617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2,3%  </a:t>
                      </a:r>
                      <a:r>
                        <a:rPr lang="de-DE" sz="1600" b="1" u="none" strike="noStrike" dirty="0">
                          <a:solidFill>
                            <a:srgbClr val="C0000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2857459743"/>
                  </a:ext>
                </a:extLst>
              </a:tr>
              <a:tr h="5458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a:t>Argenti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a:t>404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2,4%  </a:t>
                      </a:r>
                      <a:r>
                        <a:rPr lang="de-DE" sz="1600" b="1" u="none" strike="noStrike" dirty="0">
                          <a:solidFill>
                            <a:srgbClr val="00777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2733733616"/>
                  </a:ext>
                </a:extLst>
              </a:tr>
              <a:tr h="5458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a:t>Colombi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a:t>328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2,2%  </a:t>
                      </a:r>
                      <a:r>
                        <a:rPr lang="de-DE" sz="1600" b="1" u="none" strike="noStrike" dirty="0">
                          <a:solidFill>
                            <a:srgbClr val="00777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259916088"/>
                  </a:ext>
                </a:extLst>
              </a:tr>
              <a:tr h="545876">
                <a:tc>
                  <a:txBody>
                    <a:bodyPr/>
                    <a:lstStyle/>
                    <a:p>
                      <a:pPr algn="ctr"/>
                      <a:r>
                        <a:rPr lang="de-DE" sz="1600" dirty="0"/>
                        <a:t>Chile</a:t>
                      </a:r>
                    </a:p>
                  </a:txBody>
                  <a:tcPr anchor="ctr"/>
                </a:tc>
                <a:tc>
                  <a:txBody>
                    <a:bodyPr/>
                    <a:lstStyle/>
                    <a:p>
                      <a:pPr algn="ctr"/>
                      <a:r>
                        <a:rPr lang="de-DE" sz="1600" dirty="0"/>
                        <a:t>211 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t>2,2%  </a:t>
                      </a:r>
                      <a:r>
                        <a:rPr lang="de-DE" sz="1600" b="1" u="none" strike="noStrike" dirty="0">
                          <a:solidFill>
                            <a:srgbClr val="007770"/>
                          </a:solidFill>
                          <a:effectLst/>
                        </a:rPr>
                        <a:t>↑</a:t>
                      </a:r>
                      <a:endParaRPr lang="de-DE" sz="1600" b="1" u="none" strike="noStrike" kern="1200" dirty="0">
                        <a:solidFill>
                          <a:srgbClr val="005EB8"/>
                        </a:solidFill>
                        <a:effectLst/>
                        <a:latin typeface="+mn-lt"/>
                        <a:ea typeface="+mn-ea"/>
                        <a:cs typeface="+mn-cs"/>
                      </a:endParaRPr>
                    </a:p>
                  </a:txBody>
                  <a:tcPr anchor="ctr"/>
                </a:tc>
                <a:extLst>
                  <a:ext uri="{0D108BD9-81ED-4DB2-BD59-A6C34878D82A}">
                    <a16:rowId xmlns:a16="http://schemas.microsoft.com/office/drawing/2014/main" val="617730085"/>
                  </a:ext>
                </a:extLst>
              </a:tr>
            </a:tbl>
          </a:graphicData>
        </a:graphic>
      </p:graphicFrame>
    </p:spTree>
    <p:extLst>
      <p:ext uri="{BB962C8B-B14F-4D97-AF65-F5344CB8AC3E}">
        <p14:creationId xmlns:p14="http://schemas.microsoft.com/office/powerpoint/2010/main" val="2765072612"/>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4">
            <a:extLst>
              <a:ext uri="{FF2B5EF4-FFF2-40B4-BE49-F238E27FC236}">
                <a16:creationId xmlns:a16="http://schemas.microsoft.com/office/drawing/2014/main" id="{22AD05D8-4EFA-3D4C-B5FB-82FFBAFD3087}"/>
              </a:ext>
            </a:extLst>
          </p:cNvPr>
          <p:cNvSpPr txBox="1">
            <a:spLocks/>
          </p:cNvSpPr>
          <p:nvPr/>
        </p:nvSpPr>
        <p:spPr>
          <a:xfrm>
            <a:off x="125362" y="5173003"/>
            <a:ext cx="11941277" cy="566891"/>
          </a:xfrm>
          <a:prstGeom prst="rect">
            <a:avLst/>
          </a:prstGeom>
        </p:spPr>
        <p:txBody>
          <a:bodyPr>
            <a:noAutofit/>
          </a:bodyPr>
          <a:lstStyle>
            <a:lvl1pPr marL="228600" indent="-228600" algn="l" defTabSz="914400" rtl="0" eaLnBrk="1" latinLnBrk="0" hangingPunct="1">
              <a:lnSpc>
                <a:spcPct val="90000"/>
              </a:lnSpc>
              <a:spcBef>
                <a:spcPts val="1000"/>
              </a:spcBef>
              <a:buSzPct val="70000"/>
              <a:buFont typeface="Symbol" pitchFamily="2" charset="2"/>
              <a:buChar char="-"/>
              <a:defRPr lang="en-US" sz="2800" b="0" i="0" kern="1200" dirty="0">
                <a:solidFill>
                  <a:srgbClr val="787875"/>
                </a:solidFill>
                <a:latin typeface="Gibson Ligh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a:buChar char="•"/>
              <a:defRPr lang="en-US" sz="2400" b="0" i="0" kern="1200" dirty="0">
                <a:solidFill>
                  <a:srgbClr val="787875"/>
                </a:solidFill>
                <a:latin typeface="Gibson Ligh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a:buChar char="•"/>
              <a:defRPr lang="en-US" sz="2100" b="0" i="0" kern="1200" dirty="0">
                <a:solidFill>
                  <a:srgbClr val="787875"/>
                </a:solidFill>
                <a:latin typeface="Gibson Ligh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a:buChar char="•"/>
              <a:defRPr lang="en-US" sz="1800" b="0" i="0" kern="1200" dirty="0">
                <a:solidFill>
                  <a:srgbClr val="787875"/>
                </a:solidFill>
                <a:latin typeface="Gibson Ligh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a:buChar char="•"/>
              <a:defRPr lang="en-US" sz="1400" b="0" i="0" kern="1200" dirty="0">
                <a:solidFill>
                  <a:srgbClr val="787875"/>
                </a:solidFill>
                <a:latin typeface="Gibson 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Pct val="70000"/>
              <a:buFont typeface="Symbol" pitchFamily="2" charset="2"/>
              <a:buNone/>
              <a:tabLst/>
              <a:defRPr/>
            </a:pPr>
            <a:r>
              <a:rPr kumimoji="0" lang="es-ES_tradnl" sz="2600" b="0" i="0" u="none" strike="noStrike" kern="1200" cap="none" spc="0" normalizeH="0" baseline="0" noProof="0" dirty="0">
                <a:ln>
                  <a:noFill/>
                </a:ln>
                <a:solidFill>
                  <a:srgbClr val="005EB8"/>
                </a:solidFill>
                <a:effectLst/>
                <a:uLnTx/>
                <a:uFillTx/>
                <a:latin typeface="+mj-lt"/>
                <a:ea typeface="+mn-ea"/>
                <a:cs typeface="+mn-cs"/>
              </a:rPr>
              <a:t>Intenciones de viaje necesito en promedio lograr </a:t>
            </a:r>
            <a:r>
              <a:rPr kumimoji="0" lang="es-ES_tradnl" sz="2600" b="0" i="0" u="none" strike="noStrike" kern="1200" cap="none" spc="0" normalizeH="0" baseline="0" noProof="0" dirty="0">
                <a:ln>
                  <a:noFill/>
                </a:ln>
                <a:solidFill>
                  <a:srgbClr val="5B5C5E"/>
                </a:solidFill>
                <a:effectLst/>
                <a:uLnTx/>
                <a:uFillTx/>
                <a:latin typeface="+mj-lt"/>
                <a:ea typeface="+mn-ea"/>
                <a:cs typeface="+mn-cs"/>
              </a:rPr>
              <a:t>para que una persona viaje a</a:t>
            </a:r>
            <a:r>
              <a:rPr lang="es-ES_tradnl" sz="2600" dirty="0">
                <a:solidFill>
                  <a:srgbClr val="5B5C5E"/>
                </a:solidFill>
                <a:latin typeface="+mj-lt"/>
              </a:rPr>
              <a:t> Uruguay vía aérea durante 2023</a:t>
            </a:r>
            <a:endParaRPr kumimoji="0" lang="es-ES_tradnl" sz="2600" b="0" i="0" u="none" strike="noStrike" kern="1200" cap="none" spc="0" normalizeH="0" baseline="0" noProof="0" dirty="0">
              <a:ln>
                <a:noFill/>
              </a:ln>
              <a:solidFill>
                <a:srgbClr val="5B5C5E"/>
              </a:solidFill>
              <a:effectLst/>
              <a:uLnTx/>
              <a:uFillTx/>
              <a:latin typeface="+mj-lt"/>
              <a:ea typeface="+mn-ea"/>
              <a:cs typeface="+mn-cs"/>
            </a:endParaRPr>
          </a:p>
        </p:txBody>
      </p:sp>
      <p:grpSp>
        <p:nvGrpSpPr>
          <p:cNvPr id="2" name="Group 1">
            <a:extLst>
              <a:ext uri="{FF2B5EF4-FFF2-40B4-BE49-F238E27FC236}">
                <a16:creationId xmlns:a16="http://schemas.microsoft.com/office/drawing/2014/main" id="{C0909550-7C95-4D47-AC36-07D87C1D9607}"/>
              </a:ext>
            </a:extLst>
          </p:cNvPr>
          <p:cNvGrpSpPr/>
          <p:nvPr/>
        </p:nvGrpSpPr>
        <p:grpSpPr>
          <a:xfrm>
            <a:off x="2430045" y="1118106"/>
            <a:ext cx="3456597" cy="3456597"/>
            <a:chOff x="4367702" y="1376741"/>
            <a:chExt cx="3456597" cy="3456597"/>
          </a:xfrm>
        </p:grpSpPr>
        <p:sp>
          <p:nvSpPr>
            <p:cNvPr id="18" name="Oval 17">
              <a:extLst>
                <a:ext uri="{FF2B5EF4-FFF2-40B4-BE49-F238E27FC236}">
                  <a16:creationId xmlns:a16="http://schemas.microsoft.com/office/drawing/2014/main" id="{67C538E4-9642-4B4A-8584-E8DB4A83FFA7}"/>
                </a:ext>
              </a:extLst>
            </p:cNvPr>
            <p:cNvSpPr/>
            <p:nvPr/>
          </p:nvSpPr>
          <p:spPr>
            <a:xfrm rot="5400000">
              <a:off x="4367702" y="1376741"/>
              <a:ext cx="3456597" cy="3456597"/>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5E69B46-4B16-5D49-BB9A-81A8F4A73C40}"/>
                </a:ext>
              </a:extLst>
            </p:cNvPr>
            <p:cNvSpPr txBox="1"/>
            <p:nvPr/>
          </p:nvSpPr>
          <p:spPr>
            <a:xfrm>
              <a:off x="5040086" y="2289431"/>
              <a:ext cx="2318656"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000" spc="-300" dirty="0">
                  <a:solidFill>
                    <a:srgbClr val="FFFFFF"/>
                  </a:solidFill>
                  <a:latin typeface="+mj-lt"/>
                </a:rPr>
                <a:t>1</a:t>
              </a:r>
              <a:r>
                <a:rPr kumimoji="0" lang="es-ES_tradnl" sz="10000" b="0" i="0" u="none" strike="noStrike" kern="1200" cap="none" spc="-300" normalizeH="0" baseline="0" noProof="0" dirty="0">
                  <a:ln>
                    <a:noFill/>
                  </a:ln>
                  <a:solidFill>
                    <a:srgbClr val="FFFFFF"/>
                  </a:solidFill>
                  <a:effectLst/>
                  <a:uLnTx/>
                  <a:uFillTx/>
                  <a:latin typeface="+mj-lt"/>
                  <a:ea typeface="+mn-ea"/>
                  <a:cs typeface="+mn-cs"/>
                </a:rPr>
                <a:t>88</a:t>
              </a:r>
            </a:p>
          </p:txBody>
        </p:sp>
      </p:grpSp>
      <p:pic>
        <p:nvPicPr>
          <p:cNvPr id="4" name="Picture 3">
            <a:extLst>
              <a:ext uri="{FF2B5EF4-FFF2-40B4-BE49-F238E27FC236}">
                <a16:creationId xmlns:a16="http://schemas.microsoft.com/office/drawing/2014/main" id="{5796A3B4-1D60-40A4-6A35-2C1803C04801}"/>
              </a:ext>
            </a:extLst>
          </p:cNvPr>
          <p:cNvPicPr>
            <a:picLocks noChangeAspect="1"/>
          </p:cNvPicPr>
          <p:nvPr/>
        </p:nvPicPr>
        <p:blipFill>
          <a:blip r:embed="rId3"/>
          <a:stretch>
            <a:fillRect/>
          </a:stretch>
        </p:blipFill>
        <p:spPr>
          <a:xfrm>
            <a:off x="9390114" y="6057788"/>
            <a:ext cx="2676525" cy="552450"/>
          </a:xfrm>
          <a:prstGeom prst="rect">
            <a:avLst/>
          </a:prstGeom>
        </p:spPr>
      </p:pic>
      <p:sp>
        <p:nvSpPr>
          <p:cNvPr id="5" name="TextBox 4">
            <a:extLst>
              <a:ext uri="{FF2B5EF4-FFF2-40B4-BE49-F238E27FC236}">
                <a16:creationId xmlns:a16="http://schemas.microsoft.com/office/drawing/2014/main" id="{71263AB3-094D-0A1E-E525-3DBACB75B692}"/>
              </a:ext>
            </a:extLst>
          </p:cNvPr>
          <p:cNvSpPr txBox="1"/>
          <p:nvPr/>
        </p:nvSpPr>
        <p:spPr>
          <a:xfrm>
            <a:off x="7182355" y="2092352"/>
            <a:ext cx="3546021" cy="1569660"/>
          </a:xfrm>
          <a:prstGeom prst="rect">
            <a:avLst/>
          </a:prstGeom>
          <a:noFill/>
        </p:spPr>
        <p:txBody>
          <a:bodyPr wrap="square">
            <a:spAutoFit/>
          </a:bodyPr>
          <a:lstStyle/>
          <a:p>
            <a:r>
              <a:rPr lang="de-DE" sz="9600" b="1" i="0" u="none" strike="noStrike" dirty="0">
                <a:solidFill>
                  <a:srgbClr val="FF0000"/>
                </a:solidFill>
                <a:effectLst/>
                <a:latin typeface="+mj-lt"/>
              </a:rPr>
              <a:t>↑ 298</a:t>
            </a:r>
            <a:endParaRPr lang="es-CL" sz="9600" dirty="0">
              <a:solidFill>
                <a:srgbClr val="FF0000"/>
              </a:solidFill>
              <a:latin typeface="+mj-lt"/>
            </a:endParaRPr>
          </a:p>
        </p:txBody>
      </p:sp>
    </p:spTree>
    <p:extLst>
      <p:ext uri="{BB962C8B-B14F-4D97-AF65-F5344CB8AC3E}">
        <p14:creationId xmlns:p14="http://schemas.microsoft.com/office/powerpoint/2010/main" val="421713115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FCE433-13F6-4CE6-8CA2-6C76916455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8FCE433-13F6-4CE6-8CA2-6C76916455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995C896D-59E7-40CA-B65A-9226B1E78ED4}"/>
              </a:ext>
            </a:extLst>
          </p:cNvPr>
          <p:cNvGrpSpPr/>
          <p:nvPr/>
        </p:nvGrpSpPr>
        <p:grpSpPr>
          <a:xfrm>
            <a:off x="1193073" y="1009107"/>
            <a:ext cx="10295292" cy="4883352"/>
            <a:chOff x="920831" y="694488"/>
            <a:chExt cx="7800194" cy="5456430"/>
          </a:xfrm>
        </p:grpSpPr>
        <p:sp>
          <p:nvSpPr>
            <p:cNvPr id="16" name="Rectangle 15">
              <a:extLst>
                <a:ext uri="{FF2B5EF4-FFF2-40B4-BE49-F238E27FC236}">
                  <a16:creationId xmlns:a16="http://schemas.microsoft.com/office/drawing/2014/main" id="{6E18E0C8-96BE-4EFE-A89F-B1F3716C4BEB}"/>
                </a:ext>
              </a:extLst>
            </p:cNvPr>
            <p:cNvSpPr/>
            <p:nvPr/>
          </p:nvSpPr>
          <p:spPr>
            <a:xfrm>
              <a:off x="6500907" y="694488"/>
              <a:ext cx="2220118" cy="1610837"/>
            </a:xfrm>
            <a:prstGeom prst="rect">
              <a:avLst/>
            </a:prstGeom>
            <a:solidFill>
              <a:srgbClr val="E7FAF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B893106-441F-44B1-A69A-CA119EFACAAE}"/>
                </a:ext>
              </a:extLst>
            </p:cNvPr>
            <p:cNvSpPr/>
            <p:nvPr/>
          </p:nvSpPr>
          <p:spPr>
            <a:xfrm>
              <a:off x="920831" y="2305325"/>
              <a:ext cx="5570012" cy="3845593"/>
            </a:xfrm>
            <a:prstGeom prst="rect">
              <a:avLst/>
            </a:prstGeom>
            <a:solidFill>
              <a:srgbClr val="FAFAFA"/>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D97A16A-8F85-41E5-BD52-702A0E0944B3}"/>
                </a:ext>
              </a:extLst>
            </p:cNvPr>
            <p:cNvSpPr/>
            <p:nvPr/>
          </p:nvSpPr>
          <p:spPr>
            <a:xfrm>
              <a:off x="6500905" y="2294638"/>
              <a:ext cx="2220120" cy="3856280"/>
            </a:xfrm>
            <a:prstGeom prst="rect">
              <a:avLst/>
            </a:prstGeom>
            <a:solidFill>
              <a:srgbClr val="F3F3F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2CBC1D7-A0C8-419E-A829-CBCD278F84E4}"/>
                </a:ext>
              </a:extLst>
            </p:cNvPr>
            <p:cNvSpPr/>
            <p:nvPr/>
          </p:nvSpPr>
          <p:spPr>
            <a:xfrm>
              <a:off x="930892" y="700343"/>
              <a:ext cx="5570013" cy="1594294"/>
            </a:xfrm>
            <a:prstGeom prst="rect">
              <a:avLst/>
            </a:prstGeom>
            <a:solidFill>
              <a:srgbClr val="F7ECF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graphicFrame>
        <p:nvGraphicFramePr>
          <p:cNvPr id="44" name="Chart 43">
            <a:extLst>
              <a:ext uri="{FF2B5EF4-FFF2-40B4-BE49-F238E27FC236}">
                <a16:creationId xmlns:a16="http://schemas.microsoft.com/office/drawing/2014/main" id="{8E399BF9-0B1B-4F21-9D60-FBF9B46E008C}"/>
              </a:ext>
            </a:extLst>
          </p:cNvPr>
          <p:cNvGraphicFramePr>
            <a:graphicFrameLocks/>
          </p:cNvGraphicFramePr>
          <p:nvPr>
            <p:extLst>
              <p:ext uri="{D42A27DB-BD31-4B8C-83A1-F6EECF244321}">
                <p14:modId xmlns:p14="http://schemas.microsoft.com/office/powerpoint/2010/main" val="2613009267"/>
              </p:ext>
            </p:extLst>
          </p:nvPr>
        </p:nvGraphicFramePr>
        <p:xfrm>
          <a:off x="629390" y="715688"/>
          <a:ext cx="11254497" cy="5439521"/>
        </p:xfrm>
        <a:graphic>
          <a:graphicData uri="http://schemas.openxmlformats.org/drawingml/2006/chart">
            <c:chart xmlns:c="http://schemas.openxmlformats.org/drawingml/2006/chart" xmlns:r="http://schemas.openxmlformats.org/officeDocument/2006/relationships" r:id="rId6"/>
          </a:graphicData>
        </a:graphic>
      </p:graphicFrame>
      <p:grpSp>
        <p:nvGrpSpPr>
          <p:cNvPr id="8" name="Group 7">
            <a:extLst>
              <a:ext uri="{FF2B5EF4-FFF2-40B4-BE49-F238E27FC236}">
                <a16:creationId xmlns:a16="http://schemas.microsoft.com/office/drawing/2014/main" id="{25B0E5BB-AA1F-480C-9B5A-AF21B6BD46B8}"/>
              </a:ext>
            </a:extLst>
          </p:cNvPr>
          <p:cNvGrpSpPr/>
          <p:nvPr/>
        </p:nvGrpSpPr>
        <p:grpSpPr>
          <a:xfrm>
            <a:off x="552264" y="1644402"/>
            <a:ext cx="8005817" cy="4822616"/>
            <a:chOff x="486706" y="2119975"/>
            <a:chExt cx="7517438" cy="4451387"/>
          </a:xfrm>
        </p:grpSpPr>
        <p:sp>
          <p:nvSpPr>
            <p:cNvPr id="3" name="TextBox 2">
              <a:extLst>
                <a:ext uri="{FF2B5EF4-FFF2-40B4-BE49-F238E27FC236}">
                  <a16:creationId xmlns:a16="http://schemas.microsoft.com/office/drawing/2014/main" id="{30058B0F-0D68-45CE-ACC3-F838995ED9E3}"/>
                </a:ext>
              </a:extLst>
            </p:cNvPr>
            <p:cNvSpPr txBox="1"/>
            <p:nvPr/>
          </p:nvSpPr>
          <p:spPr>
            <a:xfrm rot="16200000">
              <a:off x="-1093258" y="3699939"/>
              <a:ext cx="3405579" cy="245651"/>
            </a:xfrm>
            <a:prstGeom prst="rect">
              <a:avLst/>
            </a:prstGeom>
            <a:noFill/>
          </p:spPr>
          <p:txBody>
            <a:bodyPr wrap="square" rtlCol="0">
              <a:spAutoFit/>
            </a:bodyPr>
            <a:lstStyle/>
            <a:p>
              <a:r>
                <a:rPr lang="es-CL" sz="1100" b="1" dirty="0">
                  <a:solidFill>
                    <a:schemeClr val="accent1"/>
                  </a:solidFill>
                  <a:latin typeface="+mj-lt"/>
                </a:rPr>
                <a:t>Búsquedas (agosto 2023) vs. mismo mes 2019</a:t>
              </a:r>
              <a:endParaRPr lang="en-AE" sz="1100" dirty="0">
                <a:solidFill>
                  <a:schemeClr val="accent1"/>
                </a:solidFill>
                <a:latin typeface="+mj-lt"/>
              </a:endParaRPr>
            </a:p>
          </p:txBody>
        </p:sp>
        <p:sp>
          <p:nvSpPr>
            <p:cNvPr id="7" name="TextBox 6">
              <a:extLst>
                <a:ext uri="{FF2B5EF4-FFF2-40B4-BE49-F238E27FC236}">
                  <a16:creationId xmlns:a16="http://schemas.microsoft.com/office/drawing/2014/main" id="{7CEEF271-3990-49B8-95AA-7D4D08D32998}"/>
                </a:ext>
              </a:extLst>
            </p:cNvPr>
            <p:cNvSpPr txBox="1"/>
            <p:nvPr/>
          </p:nvSpPr>
          <p:spPr>
            <a:xfrm>
              <a:off x="4558194" y="6329890"/>
              <a:ext cx="3445950" cy="241472"/>
            </a:xfrm>
            <a:prstGeom prst="rect">
              <a:avLst/>
            </a:prstGeom>
            <a:noFill/>
          </p:spPr>
          <p:txBody>
            <a:bodyPr wrap="square" rtlCol="0">
              <a:spAutoFit/>
            </a:bodyPr>
            <a:lstStyle/>
            <a:p>
              <a:r>
                <a:rPr lang="es-CL" sz="1100" b="1" dirty="0">
                  <a:solidFill>
                    <a:schemeClr val="accent1"/>
                  </a:solidFill>
                  <a:latin typeface="+mj-lt"/>
                </a:rPr>
                <a:t>Capacidad 2023 vs 2019 (septiembre - diciembre)</a:t>
              </a:r>
              <a:endParaRPr lang="en-AE" sz="1100" dirty="0">
                <a:solidFill>
                  <a:schemeClr val="accent1"/>
                </a:solidFill>
                <a:latin typeface="+mj-lt"/>
              </a:endParaRPr>
            </a:p>
          </p:txBody>
        </p:sp>
      </p:grpSp>
      <p:sp>
        <p:nvSpPr>
          <p:cNvPr id="22" name="TextBox 21">
            <a:extLst>
              <a:ext uri="{FF2B5EF4-FFF2-40B4-BE49-F238E27FC236}">
                <a16:creationId xmlns:a16="http://schemas.microsoft.com/office/drawing/2014/main" id="{7119F322-F338-210C-F27E-96F64C81BF7F}"/>
              </a:ext>
            </a:extLst>
          </p:cNvPr>
          <p:cNvSpPr txBox="1"/>
          <p:nvPr/>
        </p:nvSpPr>
        <p:spPr>
          <a:xfrm>
            <a:off x="4045964" y="5118550"/>
            <a:ext cx="1717253" cy="430887"/>
          </a:xfrm>
          <a:prstGeom prst="rect">
            <a:avLst/>
          </a:prstGeom>
          <a:solidFill>
            <a:srgbClr val="00B0F0"/>
          </a:solidFill>
        </p:spPr>
        <p:txBody>
          <a:bodyPr wrap="square">
            <a:spAutoFit/>
          </a:bodyPr>
          <a:lstStyle/>
          <a:p>
            <a:r>
              <a:rPr lang="es-CL" sz="1100" dirty="0">
                <a:solidFill>
                  <a:schemeClr val="bg1"/>
                </a:solidFill>
              </a:rPr>
              <a:t>✕ Capacidad baja o nula</a:t>
            </a:r>
          </a:p>
          <a:p>
            <a:r>
              <a:rPr lang="es-CL" sz="1100" dirty="0">
                <a:solidFill>
                  <a:schemeClr val="bg1"/>
                </a:solidFill>
              </a:rPr>
              <a:t>✕  Baja demanda</a:t>
            </a:r>
            <a:endParaRPr lang="en-US" sz="1100" dirty="0">
              <a:solidFill>
                <a:schemeClr val="bg1"/>
              </a:solidFill>
            </a:endParaRPr>
          </a:p>
        </p:txBody>
      </p:sp>
      <p:sp>
        <p:nvSpPr>
          <p:cNvPr id="23" name="TextBox 22">
            <a:extLst>
              <a:ext uri="{FF2B5EF4-FFF2-40B4-BE49-F238E27FC236}">
                <a16:creationId xmlns:a16="http://schemas.microsoft.com/office/drawing/2014/main" id="{612F9887-7F20-C404-6018-8CA980FC7573}"/>
              </a:ext>
            </a:extLst>
          </p:cNvPr>
          <p:cNvSpPr txBox="1"/>
          <p:nvPr/>
        </p:nvSpPr>
        <p:spPr>
          <a:xfrm>
            <a:off x="4045964" y="1300463"/>
            <a:ext cx="1684593" cy="430887"/>
          </a:xfrm>
          <a:prstGeom prst="rect">
            <a:avLst/>
          </a:prstGeom>
          <a:solidFill>
            <a:srgbClr val="00B0F0"/>
          </a:solidFill>
        </p:spPr>
        <p:txBody>
          <a:bodyPr wrap="square">
            <a:spAutoFit/>
          </a:bodyPr>
          <a:lstStyle/>
          <a:p>
            <a:r>
              <a:rPr lang="es-CL" sz="1100" dirty="0">
                <a:solidFill>
                  <a:schemeClr val="bg1"/>
                </a:solidFill>
              </a:rPr>
              <a:t>✕ Capacidad baja o nula</a:t>
            </a:r>
          </a:p>
          <a:p>
            <a:r>
              <a:rPr lang="es-CL" sz="1100" dirty="0">
                <a:solidFill>
                  <a:schemeClr val="bg1"/>
                </a:solidFill>
              </a:rPr>
              <a:t>✔  Alta demanda</a:t>
            </a:r>
            <a:endParaRPr lang="en-US" sz="1100" dirty="0">
              <a:solidFill>
                <a:schemeClr val="bg1"/>
              </a:solidFill>
            </a:endParaRPr>
          </a:p>
        </p:txBody>
      </p:sp>
      <p:sp>
        <p:nvSpPr>
          <p:cNvPr id="25" name="TextBox 24">
            <a:extLst>
              <a:ext uri="{FF2B5EF4-FFF2-40B4-BE49-F238E27FC236}">
                <a16:creationId xmlns:a16="http://schemas.microsoft.com/office/drawing/2014/main" id="{FF8D2FC1-597E-EC98-3207-E5A3FA56E70C}"/>
              </a:ext>
            </a:extLst>
          </p:cNvPr>
          <p:cNvSpPr txBox="1"/>
          <p:nvPr/>
        </p:nvSpPr>
        <p:spPr>
          <a:xfrm>
            <a:off x="9833179" y="1278907"/>
            <a:ext cx="1237593" cy="430887"/>
          </a:xfrm>
          <a:prstGeom prst="rect">
            <a:avLst/>
          </a:prstGeom>
          <a:solidFill>
            <a:srgbClr val="00B0F0"/>
          </a:solidFill>
        </p:spPr>
        <p:txBody>
          <a:bodyPr wrap="square">
            <a:spAutoFit/>
          </a:bodyPr>
          <a:lstStyle/>
          <a:p>
            <a:r>
              <a:rPr lang="es-CL" sz="1100" dirty="0">
                <a:solidFill>
                  <a:schemeClr val="bg1"/>
                </a:solidFill>
              </a:rPr>
              <a:t>✔ Alta capacidad</a:t>
            </a:r>
          </a:p>
          <a:p>
            <a:r>
              <a:rPr lang="es-CL" sz="1100" dirty="0">
                <a:solidFill>
                  <a:schemeClr val="bg1"/>
                </a:solidFill>
              </a:rPr>
              <a:t>✔ Alta demanda</a:t>
            </a:r>
          </a:p>
        </p:txBody>
      </p:sp>
      <p:sp>
        <p:nvSpPr>
          <p:cNvPr id="26" name="TextBox 25">
            <a:extLst>
              <a:ext uri="{FF2B5EF4-FFF2-40B4-BE49-F238E27FC236}">
                <a16:creationId xmlns:a16="http://schemas.microsoft.com/office/drawing/2014/main" id="{21A8109D-5221-DA16-F339-67D2328C9DA6}"/>
              </a:ext>
            </a:extLst>
          </p:cNvPr>
          <p:cNvSpPr txBox="1"/>
          <p:nvPr/>
        </p:nvSpPr>
        <p:spPr>
          <a:xfrm>
            <a:off x="9833179" y="5118551"/>
            <a:ext cx="1237593" cy="430886"/>
          </a:xfrm>
          <a:prstGeom prst="rect">
            <a:avLst/>
          </a:prstGeom>
          <a:solidFill>
            <a:srgbClr val="00B0F0"/>
          </a:solidFill>
        </p:spPr>
        <p:txBody>
          <a:bodyPr wrap="square">
            <a:spAutoFit/>
          </a:bodyPr>
          <a:lstStyle/>
          <a:p>
            <a:r>
              <a:rPr lang="es-CL" sz="1100" dirty="0">
                <a:solidFill>
                  <a:schemeClr val="bg1"/>
                </a:solidFill>
              </a:rPr>
              <a:t>✔ Alta capacidad</a:t>
            </a:r>
          </a:p>
          <a:p>
            <a:r>
              <a:rPr lang="es-CL" sz="1100" dirty="0">
                <a:solidFill>
                  <a:schemeClr val="bg1"/>
                </a:solidFill>
              </a:rPr>
              <a:t>✕ Baja demanda</a:t>
            </a:r>
            <a:endParaRPr lang="en-US" sz="1100" dirty="0">
              <a:solidFill>
                <a:schemeClr val="bg1"/>
              </a:solidFill>
            </a:endParaRPr>
          </a:p>
        </p:txBody>
      </p:sp>
      <p:cxnSp>
        <p:nvCxnSpPr>
          <p:cNvPr id="43" name="Straight Connector 42">
            <a:extLst>
              <a:ext uri="{FF2B5EF4-FFF2-40B4-BE49-F238E27FC236}">
                <a16:creationId xmlns:a16="http://schemas.microsoft.com/office/drawing/2014/main" id="{813BA5A4-23BB-4F70-ADE9-D62CBA7F52EC}"/>
              </a:ext>
            </a:extLst>
          </p:cNvPr>
          <p:cNvCxnSpPr>
            <a:cxnSpLocks/>
          </p:cNvCxnSpPr>
          <p:nvPr/>
        </p:nvCxnSpPr>
        <p:spPr>
          <a:xfrm>
            <a:off x="1206352" y="2450761"/>
            <a:ext cx="10295293"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38362F-A8EE-4D54-BE93-87826ED021B2}"/>
              </a:ext>
            </a:extLst>
          </p:cNvPr>
          <p:cNvCxnSpPr/>
          <p:nvPr/>
        </p:nvCxnSpPr>
        <p:spPr>
          <a:xfrm>
            <a:off x="8505564" y="1065801"/>
            <a:ext cx="0" cy="484679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1F682F8-2213-7BA5-330D-4307A778B7CA}"/>
              </a:ext>
            </a:extLst>
          </p:cNvPr>
          <p:cNvSpPr txBox="1"/>
          <p:nvPr/>
        </p:nvSpPr>
        <p:spPr>
          <a:xfrm>
            <a:off x="273732" y="139928"/>
            <a:ext cx="10883881" cy="584775"/>
          </a:xfrm>
          <a:prstGeom prst="rect">
            <a:avLst/>
          </a:prstGeom>
          <a:noFill/>
        </p:spPr>
        <p:txBody>
          <a:bodyPr wrap="square" rtlCol="0">
            <a:spAutoFit/>
          </a:bodyPr>
          <a:lstStyle/>
          <a:p>
            <a:r>
              <a:rPr lang="en-GB" sz="3200" b="1" dirty="0">
                <a:solidFill>
                  <a:srgbClr val="005EB8"/>
                </a:solidFill>
                <a:latin typeface="Calibri" panose="020F0502020204030204" pitchFamily="34" charset="0"/>
                <a:cs typeface="Calibri" panose="020F0502020204030204" pitchFamily="34" charset="0"/>
              </a:rPr>
              <a:t>Matrix de </a:t>
            </a:r>
            <a:r>
              <a:rPr lang="en-GB" sz="3200" b="1" dirty="0" err="1">
                <a:solidFill>
                  <a:srgbClr val="005EB8"/>
                </a:solidFill>
                <a:latin typeface="Calibri" panose="020F0502020204030204" pitchFamily="34" charset="0"/>
                <a:cs typeface="Calibri" panose="020F0502020204030204" pitchFamily="34" charset="0"/>
              </a:rPr>
              <a:t>Capacidad</a:t>
            </a:r>
            <a:r>
              <a:rPr lang="en-GB" sz="3200" b="1" dirty="0">
                <a:solidFill>
                  <a:srgbClr val="005EB8"/>
                </a:solidFill>
                <a:latin typeface="Calibri" panose="020F0502020204030204" pitchFamily="34" charset="0"/>
                <a:cs typeface="Calibri" panose="020F0502020204030204" pitchFamily="34" charset="0"/>
              </a:rPr>
              <a:t> y </a:t>
            </a:r>
            <a:r>
              <a:rPr lang="en-GB" sz="3200" b="1" dirty="0" err="1">
                <a:solidFill>
                  <a:srgbClr val="005EB8"/>
                </a:solidFill>
                <a:latin typeface="Calibri" panose="020F0502020204030204" pitchFamily="34" charset="0"/>
                <a:cs typeface="Calibri" panose="020F0502020204030204" pitchFamily="34" charset="0"/>
              </a:rPr>
              <a:t>Demanda</a:t>
            </a:r>
            <a:endParaRPr lang="en-GB" sz="3200" b="1" dirty="0">
              <a:solidFill>
                <a:srgbClr val="005EB8"/>
              </a:solidFill>
              <a:latin typeface="Calibri" panose="020F0502020204030204" pitchFamily="34" charset="0"/>
              <a:cs typeface="Calibri" panose="020F0502020204030204" pitchFamily="34" charset="0"/>
            </a:endParaRPr>
          </a:p>
        </p:txBody>
      </p:sp>
      <p:sp>
        <p:nvSpPr>
          <p:cNvPr id="2" name="New shape">
            <a:extLst>
              <a:ext uri="{FF2B5EF4-FFF2-40B4-BE49-F238E27FC236}">
                <a16:creationId xmlns:a16="http://schemas.microsoft.com/office/drawing/2014/main" id="{4070F698-CE66-2A85-4A45-659119DF950C}"/>
              </a:ext>
            </a:extLst>
          </p:cNvPr>
          <p:cNvSpPr/>
          <p:nvPr/>
        </p:nvSpPr>
        <p:spPr>
          <a:xfrm>
            <a:off x="0" y="6600965"/>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13416491"/>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17"/>
          </p:nvPr>
        </p:nvSpPr>
        <p:spPr>
          <a:xfrm>
            <a:off x="11776959" y="6527306"/>
            <a:ext cx="248264" cy="107722"/>
          </a:xfrm>
        </p:spPr>
        <p:txBody>
          <a:bodyPr/>
          <a:lstStyle/>
          <a:p>
            <a:fld id="{96514FBA-938C-844E-B7B1-757BD5BE9111}" type="slidenum">
              <a:rPr lang="es-ES" altLang="es-ES_tradnl" sz="700" smtClean="0"/>
              <a:pPr/>
              <a:t>2</a:t>
            </a:fld>
            <a:endParaRPr lang="es-ES" altLang="es-ES_tradnl" sz="700" dirty="0"/>
          </a:p>
        </p:txBody>
      </p:sp>
      <p:pic>
        <p:nvPicPr>
          <p:cNvPr id="1028" name="Picture 4" descr="imagen de perfil">
            <a:extLst>
              <a:ext uri="{FF2B5EF4-FFF2-40B4-BE49-F238E27FC236}">
                <a16:creationId xmlns:a16="http://schemas.microsoft.com/office/drawing/2014/main" id="{C296C5ED-CD52-D15D-7448-EE6B3D306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159" y="1019277"/>
            <a:ext cx="1676258" cy="16762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 name="Arc 3">
            <a:extLst>
              <a:ext uri="{FF2B5EF4-FFF2-40B4-BE49-F238E27FC236}">
                <a16:creationId xmlns:a16="http://schemas.microsoft.com/office/drawing/2014/main" id="{00E1E503-D104-B9FC-73FD-389BF072F292}"/>
              </a:ext>
            </a:extLst>
          </p:cNvPr>
          <p:cNvSpPr/>
          <p:nvPr/>
        </p:nvSpPr>
        <p:spPr>
          <a:xfrm rot="18857120">
            <a:off x="579941" y="733153"/>
            <a:ext cx="1818940" cy="1865565"/>
          </a:xfrm>
          <a:prstGeom prst="arc">
            <a:avLst>
              <a:gd name="adj1" fmla="val 16200000"/>
              <a:gd name="adj2" fmla="val 21578833"/>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Arc 4">
            <a:extLst>
              <a:ext uri="{FF2B5EF4-FFF2-40B4-BE49-F238E27FC236}">
                <a16:creationId xmlns:a16="http://schemas.microsoft.com/office/drawing/2014/main" id="{DE21A781-3FC0-454D-F273-0BC93F789197}"/>
              </a:ext>
            </a:extLst>
          </p:cNvPr>
          <p:cNvSpPr/>
          <p:nvPr/>
        </p:nvSpPr>
        <p:spPr>
          <a:xfrm rot="19265061">
            <a:off x="656283" y="1328329"/>
            <a:ext cx="2058581" cy="1597998"/>
          </a:xfrm>
          <a:prstGeom prst="arc">
            <a:avLst>
              <a:gd name="adj1" fmla="val 5352586"/>
              <a:gd name="adj2" fmla="val 10658451"/>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itle 6">
            <a:extLst>
              <a:ext uri="{FF2B5EF4-FFF2-40B4-BE49-F238E27FC236}">
                <a16:creationId xmlns:a16="http://schemas.microsoft.com/office/drawing/2014/main" id="{367A665C-2BC4-2663-6158-5B17C6B3CD84}"/>
              </a:ext>
            </a:extLst>
          </p:cNvPr>
          <p:cNvSpPr txBox="1">
            <a:spLocks/>
          </p:cNvSpPr>
          <p:nvPr/>
        </p:nvSpPr>
        <p:spPr>
          <a:xfrm>
            <a:off x="3317935" y="1050433"/>
            <a:ext cx="8558991"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r>
              <a:rPr lang="en-US" altLang="es-ES_tradnl" b="1" dirty="0" err="1">
                <a:solidFill>
                  <a:srgbClr val="005EB8"/>
                </a:solidFill>
                <a:latin typeface="Calibri" panose="020F0502020204030204" pitchFamily="34" charset="0"/>
                <a:ea typeface="+mn-ea"/>
                <a:cs typeface="Calibri" panose="020F0502020204030204" pitchFamily="34" charset="0"/>
              </a:rPr>
              <a:t>Invertir</a:t>
            </a:r>
            <a:r>
              <a:rPr lang="en-US" altLang="es-ES_tradnl" b="1" dirty="0">
                <a:solidFill>
                  <a:srgbClr val="005EB8"/>
                </a:solidFill>
                <a:latin typeface="Calibri" panose="020F0502020204030204" pitchFamily="34" charset="0"/>
                <a:ea typeface="+mn-ea"/>
                <a:cs typeface="Calibri" panose="020F0502020204030204" pitchFamily="34" charset="0"/>
              </a:rPr>
              <a:t> en las personas, el </a:t>
            </a:r>
            <a:r>
              <a:rPr lang="en-US" altLang="es-ES_tradnl" b="1" dirty="0" err="1">
                <a:solidFill>
                  <a:srgbClr val="005EB8"/>
                </a:solidFill>
                <a:latin typeface="Calibri" panose="020F0502020204030204" pitchFamily="34" charset="0"/>
                <a:ea typeface="+mn-ea"/>
                <a:cs typeface="Calibri" panose="020F0502020204030204" pitchFamily="34" charset="0"/>
              </a:rPr>
              <a:t>planeta</a:t>
            </a:r>
            <a:r>
              <a:rPr lang="en-US" altLang="es-ES_tradnl" b="1" dirty="0">
                <a:solidFill>
                  <a:srgbClr val="005EB8"/>
                </a:solidFill>
                <a:latin typeface="Calibri" panose="020F0502020204030204" pitchFamily="34" charset="0"/>
                <a:ea typeface="+mn-ea"/>
                <a:cs typeface="Calibri" panose="020F0502020204030204" pitchFamily="34" charset="0"/>
              </a:rPr>
              <a:t> y </a:t>
            </a:r>
            <a:r>
              <a:rPr lang="en-US" altLang="es-ES_tradnl" b="1" dirty="0" err="1">
                <a:solidFill>
                  <a:srgbClr val="005EB8"/>
                </a:solidFill>
                <a:latin typeface="Calibri" panose="020F0502020204030204" pitchFamily="34" charset="0"/>
                <a:ea typeface="+mn-ea"/>
                <a:cs typeface="Calibri" panose="020F0502020204030204" pitchFamily="34" charset="0"/>
              </a:rPr>
              <a:t>prosperidad</a:t>
            </a:r>
            <a:endParaRPr lang="en-US" altLang="es-ES_tradnl" b="1" dirty="0">
              <a:solidFill>
                <a:srgbClr val="005EB8"/>
              </a:solidFill>
              <a:latin typeface="Calibri" panose="020F0502020204030204" pitchFamily="34" charset="0"/>
              <a:ea typeface="+mn-ea"/>
              <a:cs typeface="Calibri" panose="020F0502020204030204" pitchFamily="34" charset="0"/>
            </a:endParaRPr>
          </a:p>
        </p:txBody>
      </p:sp>
      <p:sp>
        <p:nvSpPr>
          <p:cNvPr id="11" name="Right Brace 10">
            <a:extLst>
              <a:ext uri="{FF2B5EF4-FFF2-40B4-BE49-F238E27FC236}">
                <a16:creationId xmlns:a16="http://schemas.microsoft.com/office/drawing/2014/main" id="{107F15ED-D6C6-56BA-BBA3-B5A34BBD2FB0}"/>
              </a:ext>
            </a:extLst>
          </p:cNvPr>
          <p:cNvSpPr/>
          <p:nvPr/>
        </p:nvSpPr>
        <p:spPr>
          <a:xfrm rot="5400000">
            <a:off x="7406363" y="-2578005"/>
            <a:ext cx="382133" cy="8692418"/>
          </a:xfrm>
          <a:prstGeom prst="rightBrace">
            <a:avLst>
              <a:gd name="adj1" fmla="val 8333"/>
              <a:gd name="adj2" fmla="val 49491"/>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dirty="0"/>
          </a:p>
        </p:txBody>
      </p:sp>
      <p:sp>
        <p:nvSpPr>
          <p:cNvPr id="18" name="Title 6">
            <a:extLst>
              <a:ext uri="{FF2B5EF4-FFF2-40B4-BE49-F238E27FC236}">
                <a16:creationId xmlns:a16="http://schemas.microsoft.com/office/drawing/2014/main" id="{CEFB4677-25EB-EC0B-9540-8374BC66E151}"/>
              </a:ext>
            </a:extLst>
          </p:cNvPr>
          <p:cNvSpPr txBox="1">
            <a:spLocks/>
          </p:cNvSpPr>
          <p:nvPr/>
        </p:nvSpPr>
        <p:spPr>
          <a:xfrm>
            <a:off x="3317934" y="2072471"/>
            <a:ext cx="8558991"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algn="ctr"/>
            <a:r>
              <a:rPr lang="es-CL" altLang="es-ES_tradnl" sz="1600" b="1" i="1" dirty="0">
                <a:solidFill>
                  <a:srgbClr val="005EB8"/>
                </a:solidFill>
                <a:latin typeface="Calibri" panose="020F0502020204030204" pitchFamily="34" charset="0"/>
                <a:ea typeface="+mn-ea"/>
                <a:cs typeface="Calibri" panose="020F0502020204030204" pitchFamily="34" charset="0"/>
              </a:rPr>
              <a:t>“Es el momento de soluciones nuevas e innovadoras y no solo de las inversiones tradicionales que promueven y apuntalan el crecimiento económico y la productividad.”</a:t>
            </a:r>
            <a:endParaRPr lang="en-US" altLang="es-ES_tradnl" sz="1600" b="1" i="1" dirty="0">
              <a:solidFill>
                <a:srgbClr val="005EB8"/>
              </a:solidFill>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D24EB908-16F9-E7D7-2BF6-A0B140AF355E}"/>
              </a:ext>
            </a:extLst>
          </p:cNvPr>
          <p:cNvPicPr>
            <a:picLocks noChangeAspect="1"/>
          </p:cNvPicPr>
          <p:nvPr/>
        </p:nvPicPr>
        <p:blipFill rotWithShape="1">
          <a:blip r:embed="rId4"/>
          <a:srcRect b="4780"/>
          <a:stretch/>
        </p:blipFill>
        <p:spPr>
          <a:xfrm>
            <a:off x="3933337" y="4207535"/>
            <a:ext cx="3245019" cy="1073328"/>
          </a:xfrm>
          <a:prstGeom prst="rect">
            <a:avLst/>
          </a:prstGeom>
        </p:spPr>
      </p:pic>
      <p:pic>
        <p:nvPicPr>
          <p:cNvPr id="2052" name="Picture 4">
            <a:extLst>
              <a:ext uri="{FF2B5EF4-FFF2-40B4-BE49-F238E27FC236}">
                <a16:creationId xmlns:a16="http://schemas.microsoft.com/office/drawing/2014/main" id="{A95DDAAE-9B0A-C549-5343-155FFA782F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78356" y="3543268"/>
            <a:ext cx="3929113" cy="2778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38915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green field&#10;&#10;Description automatically generated">
            <a:extLst>
              <a:ext uri="{FF2B5EF4-FFF2-40B4-BE49-F238E27FC236}">
                <a16:creationId xmlns:a16="http://schemas.microsoft.com/office/drawing/2014/main" id="{97CFDF9D-047B-2044-83E0-CEE2E73AC205}"/>
              </a:ext>
            </a:extLst>
          </p:cNvPr>
          <p:cNvPicPr>
            <a:picLocks noChangeAspect="1"/>
          </p:cNvPicPr>
          <p:nvPr/>
        </p:nvPicPr>
        <p:blipFill rotWithShape="1">
          <a:blip r:embed="rId3"/>
          <a:srcRect t="54486" b="8950"/>
          <a:stretch/>
        </p:blipFill>
        <p:spPr>
          <a:xfrm>
            <a:off x="0" y="0"/>
            <a:ext cx="12192000" cy="6858000"/>
          </a:xfrm>
          <a:prstGeom prst="rect">
            <a:avLst/>
          </a:prstGeom>
        </p:spPr>
      </p:pic>
      <p:grpSp>
        <p:nvGrpSpPr>
          <p:cNvPr id="26" name="Group 25">
            <a:extLst>
              <a:ext uri="{FF2B5EF4-FFF2-40B4-BE49-F238E27FC236}">
                <a16:creationId xmlns:a16="http://schemas.microsoft.com/office/drawing/2014/main" id="{E03301E5-F300-7042-A4A2-3A2E19CA7DB9}"/>
              </a:ext>
            </a:extLst>
          </p:cNvPr>
          <p:cNvGrpSpPr/>
          <p:nvPr/>
        </p:nvGrpSpPr>
        <p:grpSpPr>
          <a:xfrm>
            <a:off x="622698" y="381483"/>
            <a:ext cx="1427770" cy="1427771"/>
            <a:chOff x="1131114" y="2150482"/>
            <a:chExt cx="1900361" cy="1900361"/>
          </a:xfrm>
        </p:grpSpPr>
        <p:sp>
          <p:nvSpPr>
            <p:cNvPr id="27" name="Oval 26">
              <a:extLst>
                <a:ext uri="{FF2B5EF4-FFF2-40B4-BE49-F238E27FC236}">
                  <a16:creationId xmlns:a16="http://schemas.microsoft.com/office/drawing/2014/main" id="{E2E4C57E-FA03-6944-A260-5D8B46AF7547}"/>
                </a:ext>
              </a:extLst>
            </p:cNvPr>
            <p:cNvSpPr/>
            <p:nvPr/>
          </p:nvSpPr>
          <p:spPr>
            <a:xfrm>
              <a:off x="1131114" y="2150482"/>
              <a:ext cx="1900361" cy="1900361"/>
            </a:xfrm>
            <a:prstGeom prst="ellipse">
              <a:avLst/>
            </a:prstGeom>
            <a:solidFill>
              <a:srgbClr val="037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8" name="Picture 27" descr="A picture containing drawing, light&#10;&#10;Description automatically generated">
              <a:extLst>
                <a:ext uri="{FF2B5EF4-FFF2-40B4-BE49-F238E27FC236}">
                  <a16:creationId xmlns:a16="http://schemas.microsoft.com/office/drawing/2014/main" id="{B64812A7-EC63-2F41-B6D8-981EA75DB7DD}"/>
                </a:ext>
              </a:extLst>
            </p:cNvPr>
            <p:cNvPicPr>
              <a:picLocks noChangeAspect="1"/>
            </p:cNvPicPr>
            <p:nvPr/>
          </p:nvPicPr>
          <p:blipFill>
            <a:blip r:embed="rId4"/>
            <a:stretch>
              <a:fillRect/>
            </a:stretch>
          </p:blipFill>
          <p:spPr>
            <a:xfrm>
              <a:off x="1486382" y="2550870"/>
              <a:ext cx="1121337" cy="1121337"/>
            </a:xfrm>
            <a:prstGeom prst="rect">
              <a:avLst/>
            </a:prstGeom>
          </p:spPr>
        </p:pic>
      </p:grpSp>
      <p:sp>
        <p:nvSpPr>
          <p:cNvPr id="2" name="Footer Placeholder 1">
            <a:extLst>
              <a:ext uri="{FF2B5EF4-FFF2-40B4-BE49-F238E27FC236}">
                <a16:creationId xmlns:a16="http://schemas.microsoft.com/office/drawing/2014/main" id="{E9F0C342-6D15-0F45-909D-886AF36F277C}"/>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5EB8"/>
                </a:solidFill>
                <a:effectLst/>
                <a:uLnTx/>
                <a:uFillTx/>
                <a:latin typeface="Gibson Light" panose="02000000000000000000" pitchFamily="2" charset="77"/>
                <a:ea typeface="+mn-ea"/>
                <a:cs typeface="+mn-cs"/>
              </a:rPr>
              <a:t>Footer  I  Credits  I  Links</a:t>
            </a:r>
          </a:p>
        </p:txBody>
      </p:sp>
      <p:sp>
        <p:nvSpPr>
          <p:cNvPr id="31" name="Title 3">
            <a:extLst>
              <a:ext uri="{FF2B5EF4-FFF2-40B4-BE49-F238E27FC236}">
                <a16:creationId xmlns:a16="http://schemas.microsoft.com/office/drawing/2014/main" id="{DC16B9FA-CC1B-E94E-A2B9-FA5C513926C0}"/>
              </a:ext>
            </a:extLst>
          </p:cNvPr>
          <p:cNvSpPr txBox="1">
            <a:spLocks/>
          </p:cNvSpPr>
          <p:nvPr/>
        </p:nvSpPr>
        <p:spPr>
          <a:xfrm>
            <a:off x="2199278" y="836120"/>
            <a:ext cx="9267498"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200" b="1" i="0" u="none" strike="noStrike" kern="1200" cap="none" spc="0" normalizeH="0" baseline="0" noProof="0" dirty="0">
                <a:ln>
                  <a:noFill/>
                </a:ln>
                <a:solidFill>
                  <a:srgbClr val="005EB8"/>
                </a:solidFill>
                <a:effectLst/>
                <a:uLnTx/>
                <a:uFillTx/>
                <a:latin typeface="Calibri Light" panose="020F0302020204030204"/>
                <a:ea typeface="+mj-ea"/>
                <a:cs typeface="+mj-cs"/>
              </a:rPr>
              <a:t>Definir</a:t>
            </a:r>
          </a:p>
        </p:txBody>
      </p:sp>
      <p:cxnSp>
        <p:nvCxnSpPr>
          <p:cNvPr id="4" name="Straight Connector 3">
            <a:extLst>
              <a:ext uri="{FF2B5EF4-FFF2-40B4-BE49-F238E27FC236}">
                <a16:creationId xmlns:a16="http://schemas.microsoft.com/office/drawing/2014/main" id="{E46B9588-E47D-A04D-8F9C-C5900C5228E7}"/>
              </a:ext>
            </a:extLst>
          </p:cNvPr>
          <p:cNvCxnSpPr>
            <a:cxnSpLocks/>
          </p:cNvCxnSpPr>
          <p:nvPr/>
        </p:nvCxnSpPr>
        <p:spPr>
          <a:xfrm>
            <a:off x="2258195" y="1374497"/>
            <a:ext cx="9267498"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1D375B-69A2-4348-A7F3-F22017EBEE1C}"/>
              </a:ext>
            </a:extLst>
          </p:cNvPr>
          <p:cNvPicPr>
            <a:picLocks noChangeAspect="1"/>
          </p:cNvPicPr>
          <p:nvPr/>
        </p:nvPicPr>
        <p:blipFill>
          <a:blip r:embed="rId5"/>
          <a:stretch>
            <a:fillRect/>
          </a:stretch>
        </p:blipFill>
        <p:spPr>
          <a:xfrm rot="1769812">
            <a:off x="1475378" y="2945203"/>
            <a:ext cx="1447800" cy="482600"/>
          </a:xfrm>
          <a:prstGeom prst="rect">
            <a:avLst/>
          </a:prstGeom>
        </p:spPr>
      </p:pic>
      <p:pic>
        <p:nvPicPr>
          <p:cNvPr id="14" name="Picture 13" descr="A picture containing light&#10;&#10;Description automatically generated">
            <a:extLst>
              <a:ext uri="{FF2B5EF4-FFF2-40B4-BE49-F238E27FC236}">
                <a16:creationId xmlns:a16="http://schemas.microsoft.com/office/drawing/2014/main" id="{BC37CCD4-86B3-C344-B507-B19C21E39442}"/>
              </a:ext>
            </a:extLst>
          </p:cNvPr>
          <p:cNvPicPr>
            <a:picLocks noChangeAspect="1"/>
          </p:cNvPicPr>
          <p:nvPr/>
        </p:nvPicPr>
        <p:blipFill>
          <a:blip r:embed="rId6"/>
          <a:stretch>
            <a:fillRect/>
          </a:stretch>
        </p:blipFill>
        <p:spPr>
          <a:xfrm>
            <a:off x="9164544" y="2295723"/>
            <a:ext cx="1636829" cy="1636829"/>
          </a:xfrm>
          <a:prstGeom prst="rect">
            <a:avLst/>
          </a:prstGeom>
        </p:spPr>
      </p:pic>
      <p:pic>
        <p:nvPicPr>
          <p:cNvPr id="17" name="Picture 16" descr="A picture containing light, drawing&#10;&#10;Description automatically generated">
            <a:extLst>
              <a:ext uri="{FF2B5EF4-FFF2-40B4-BE49-F238E27FC236}">
                <a16:creationId xmlns:a16="http://schemas.microsoft.com/office/drawing/2014/main" id="{ABEFC538-D94D-B846-9C8D-A06C9CE5C661}"/>
              </a:ext>
            </a:extLst>
          </p:cNvPr>
          <p:cNvPicPr>
            <a:picLocks noChangeAspect="1"/>
          </p:cNvPicPr>
          <p:nvPr/>
        </p:nvPicPr>
        <p:blipFill>
          <a:blip r:embed="rId7"/>
          <a:stretch>
            <a:fillRect/>
          </a:stretch>
        </p:blipFill>
        <p:spPr>
          <a:xfrm>
            <a:off x="6419612" y="2142096"/>
            <a:ext cx="1944082" cy="1944082"/>
          </a:xfrm>
          <a:prstGeom prst="rect">
            <a:avLst/>
          </a:prstGeom>
        </p:spPr>
      </p:pic>
      <p:pic>
        <p:nvPicPr>
          <p:cNvPr id="19" name="Picture 18" descr="A close up of a sign&#10;&#10;Description automatically generated">
            <a:extLst>
              <a:ext uri="{FF2B5EF4-FFF2-40B4-BE49-F238E27FC236}">
                <a16:creationId xmlns:a16="http://schemas.microsoft.com/office/drawing/2014/main" id="{E8223DB4-524A-364E-BA82-D922C40301F4}"/>
              </a:ext>
            </a:extLst>
          </p:cNvPr>
          <p:cNvPicPr>
            <a:picLocks noChangeAspect="1"/>
          </p:cNvPicPr>
          <p:nvPr/>
        </p:nvPicPr>
        <p:blipFill>
          <a:blip r:embed="rId8"/>
          <a:stretch>
            <a:fillRect/>
          </a:stretch>
        </p:blipFill>
        <p:spPr>
          <a:xfrm>
            <a:off x="3865858" y="2256927"/>
            <a:ext cx="1714420" cy="1714420"/>
          </a:xfrm>
          <a:prstGeom prst="rect">
            <a:avLst/>
          </a:prstGeom>
        </p:spPr>
      </p:pic>
      <p:pic>
        <p:nvPicPr>
          <p:cNvPr id="20" name="Picture 19" descr="A picture containing person, holding, hand, white&#10;&#10;Description automatically generated">
            <a:extLst>
              <a:ext uri="{FF2B5EF4-FFF2-40B4-BE49-F238E27FC236}">
                <a16:creationId xmlns:a16="http://schemas.microsoft.com/office/drawing/2014/main" id="{CE78005C-D9FE-4045-AAF5-C4617F1BF01C}"/>
              </a:ext>
            </a:extLst>
          </p:cNvPr>
          <p:cNvPicPr>
            <a:picLocks noChangeAspect="1"/>
          </p:cNvPicPr>
          <p:nvPr/>
        </p:nvPicPr>
        <p:blipFill>
          <a:blip r:embed="rId9"/>
          <a:stretch>
            <a:fillRect/>
          </a:stretch>
        </p:blipFill>
        <p:spPr>
          <a:xfrm>
            <a:off x="563100" y="343879"/>
            <a:ext cx="1520140" cy="1520140"/>
          </a:xfrm>
          <a:prstGeom prst="rect">
            <a:avLst/>
          </a:prstGeom>
        </p:spPr>
      </p:pic>
      <p:sp>
        <p:nvSpPr>
          <p:cNvPr id="34" name="Title 3">
            <a:extLst>
              <a:ext uri="{FF2B5EF4-FFF2-40B4-BE49-F238E27FC236}">
                <a16:creationId xmlns:a16="http://schemas.microsoft.com/office/drawing/2014/main" id="{116A38DE-7749-43CF-BC70-4645C3A9C755}"/>
              </a:ext>
            </a:extLst>
          </p:cNvPr>
          <p:cNvSpPr txBox="1">
            <a:spLocks/>
          </p:cNvSpPr>
          <p:nvPr/>
        </p:nvSpPr>
        <p:spPr>
          <a:xfrm>
            <a:off x="1289310" y="4040780"/>
            <a:ext cx="1937770"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Incrementar número de turistas</a:t>
            </a:r>
          </a:p>
        </p:txBody>
      </p:sp>
      <p:sp>
        <p:nvSpPr>
          <p:cNvPr id="37" name="Title 3">
            <a:extLst>
              <a:ext uri="{FF2B5EF4-FFF2-40B4-BE49-F238E27FC236}">
                <a16:creationId xmlns:a16="http://schemas.microsoft.com/office/drawing/2014/main" id="{69B1688C-7342-4A72-B39C-315D482E3D09}"/>
              </a:ext>
            </a:extLst>
          </p:cNvPr>
          <p:cNvSpPr txBox="1">
            <a:spLocks/>
          </p:cNvSpPr>
          <p:nvPr/>
        </p:nvSpPr>
        <p:spPr>
          <a:xfrm>
            <a:off x="3831462" y="4040780"/>
            <a:ext cx="1937770"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Ingresos vs número de visitantes</a:t>
            </a:r>
          </a:p>
        </p:txBody>
      </p:sp>
      <p:sp>
        <p:nvSpPr>
          <p:cNvPr id="38" name="Title 3">
            <a:extLst>
              <a:ext uri="{FF2B5EF4-FFF2-40B4-BE49-F238E27FC236}">
                <a16:creationId xmlns:a16="http://schemas.microsoft.com/office/drawing/2014/main" id="{D7D56CA4-D692-41F1-B03A-031727AA1154}"/>
              </a:ext>
            </a:extLst>
          </p:cNvPr>
          <p:cNvSpPr txBox="1">
            <a:spLocks/>
          </p:cNvSpPr>
          <p:nvPr/>
        </p:nvSpPr>
        <p:spPr>
          <a:xfrm>
            <a:off x="6416410" y="4040780"/>
            <a:ext cx="1937770"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Gestión del turismo de alta densidad</a:t>
            </a:r>
          </a:p>
        </p:txBody>
      </p:sp>
      <p:sp>
        <p:nvSpPr>
          <p:cNvPr id="39" name="Title 3">
            <a:extLst>
              <a:ext uri="{FF2B5EF4-FFF2-40B4-BE49-F238E27FC236}">
                <a16:creationId xmlns:a16="http://schemas.microsoft.com/office/drawing/2014/main" id="{9CCC9E80-A4A2-4BEA-8B71-3737DB579158}"/>
              </a:ext>
            </a:extLst>
          </p:cNvPr>
          <p:cNvSpPr txBox="1">
            <a:spLocks/>
          </p:cNvSpPr>
          <p:nvPr/>
        </p:nvSpPr>
        <p:spPr>
          <a:xfrm>
            <a:off x="9014073" y="3996499"/>
            <a:ext cx="1937770"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4472C4"/>
                </a:solidFill>
                <a:effectLst/>
                <a:uLnTx/>
                <a:uFillTx/>
                <a:latin typeface="Calibri Light" panose="020F0302020204030204"/>
                <a:ea typeface="+mj-ea"/>
                <a:cs typeface="+mj-cs"/>
              </a:rPr>
              <a:t>Mejorar la sostenibilidad</a:t>
            </a:r>
          </a:p>
        </p:txBody>
      </p:sp>
    </p:spTree>
    <p:extLst>
      <p:ext uri="{BB962C8B-B14F-4D97-AF65-F5344CB8AC3E}">
        <p14:creationId xmlns:p14="http://schemas.microsoft.com/office/powerpoint/2010/main" val="141556342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50FD55-8676-4F1D-8F67-78C3C06549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F50FD55-8676-4F1D-8F67-78C3C06549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A7FB3028-FD1C-418C-B4AA-8EC2E53916A3}"/>
              </a:ext>
            </a:extLst>
          </p:cNvPr>
          <p:cNvSpPr txBox="1"/>
          <p:nvPr/>
        </p:nvSpPr>
        <p:spPr>
          <a:xfrm>
            <a:off x="1351171" y="358145"/>
            <a:ext cx="1088388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err="1">
                <a:ln>
                  <a:noFill/>
                </a:ln>
                <a:solidFill>
                  <a:srgbClr val="005EB8"/>
                </a:solidFill>
                <a:effectLst/>
                <a:uLnTx/>
                <a:uFillTx/>
                <a:latin typeface="Calibri" panose="020F0502020204030204"/>
                <a:ea typeface="+mn-ea"/>
                <a:cs typeface="+mn-cs"/>
              </a:rPr>
              <a:t>Intenciones</a:t>
            </a:r>
            <a:r>
              <a:rPr kumimoji="0" lang="en-GB" sz="2400" b="1" i="0" u="none" strike="noStrike" kern="1200" cap="none" spc="0" normalizeH="0" baseline="0" noProof="0" dirty="0">
                <a:ln>
                  <a:noFill/>
                </a:ln>
                <a:solidFill>
                  <a:srgbClr val="005EB8"/>
                </a:solidFill>
                <a:effectLst/>
                <a:uLnTx/>
                <a:uFillTx/>
                <a:latin typeface="Calibri" panose="020F0502020204030204"/>
                <a:ea typeface="+mn-ea"/>
                <a:cs typeface="+mn-cs"/>
              </a:rPr>
              <a:t> de </a:t>
            </a:r>
            <a:r>
              <a:rPr kumimoji="0" lang="en-GB" sz="2400" b="1" i="0" u="none" strike="noStrike" kern="1200" cap="none" spc="0" normalizeH="0" baseline="0" noProof="0" dirty="0" err="1">
                <a:ln>
                  <a:noFill/>
                </a:ln>
                <a:solidFill>
                  <a:srgbClr val="005EB8"/>
                </a:solidFill>
                <a:effectLst/>
                <a:uLnTx/>
                <a:uFillTx/>
                <a:latin typeface="Calibri" panose="020F0502020204030204"/>
                <a:ea typeface="+mn-ea"/>
                <a:cs typeface="+mn-cs"/>
              </a:rPr>
              <a:t>viaje</a:t>
            </a:r>
            <a:r>
              <a:rPr kumimoji="0" lang="en-GB" sz="2400" b="1" i="0" u="none" strike="noStrike" kern="1200" cap="none" spc="0" normalizeH="0" baseline="0" noProof="0" dirty="0">
                <a:ln>
                  <a:noFill/>
                </a:ln>
                <a:solidFill>
                  <a:srgbClr val="005EB8"/>
                </a:solidFill>
                <a:effectLst/>
                <a:uLnTx/>
                <a:uFillTx/>
                <a:latin typeface="Calibri" panose="020F0502020204030204"/>
                <a:ea typeface="+mn-ea"/>
                <a:cs typeface="+mn-cs"/>
              </a:rPr>
              <a:t> a Uruguay </a:t>
            </a:r>
            <a:r>
              <a:rPr kumimoji="0" lang="en-GB" sz="2400" b="1" i="0" u="none" strike="noStrike" kern="1200" cap="none" spc="0" normalizeH="0" baseline="0" noProof="0" dirty="0" err="1">
                <a:ln>
                  <a:noFill/>
                </a:ln>
                <a:solidFill>
                  <a:srgbClr val="005EB8"/>
                </a:solidFill>
                <a:effectLst/>
                <a:uLnTx/>
                <a:uFillTx/>
                <a:latin typeface="Calibri" panose="020F0502020204030204"/>
                <a:ea typeface="+mn-ea"/>
                <a:cs typeface="+mn-cs"/>
              </a:rPr>
              <a:t>durante</a:t>
            </a:r>
            <a:r>
              <a:rPr kumimoji="0" lang="en-GB" sz="2400" b="1" i="0" u="none" strike="noStrike" kern="1200" cap="none" spc="0" normalizeH="0" baseline="0" noProof="0" dirty="0">
                <a:ln>
                  <a:noFill/>
                </a:ln>
                <a:solidFill>
                  <a:srgbClr val="005EB8"/>
                </a:solidFill>
                <a:effectLst/>
                <a:uLnTx/>
                <a:uFillTx/>
                <a:latin typeface="Calibri" panose="020F0502020204030204"/>
                <a:ea typeface="+mn-ea"/>
                <a:cs typeface="+mn-cs"/>
              </a:rPr>
              <a:t> 2023</a:t>
            </a:r>
          </a:p>
        </p:txBody>
      </p:sp>
      <p:sp>
        <p:nvSpPr>
          <p:cNvPr id="10" name="TextBox 1">
            <a:extLst>
              <a:ext uri="{FF2B5EF4-FFF2-40B4-BE49-F238E27FC236}">
                <a16:creationId xmlns:a16="http://schemas.microsoft.com/office/drawing/2014/main" id="{7957B378-EF74-6230-C6D0-4153EBA45527}"/>
              </a:ext>
            </a:extLst>
          </p:cNvPr>
          <p:cNvSpPr txBox="1"/>
          <p:nvPr/>
        </p:nvSpPr>
        <p:spPr>
          <a:xfrm>
            <a:off x="5752773" y="4314164"/>
            <a:ext cx="621137" cy="25441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1100" b="1" i="0" u="none" strike="noStrike" kern="1200" cap="none" spc="0" normalizeH="0" baseline="0" noProof="0" dirty="0">
                <a:ln>
                  <a:noFill/>
                </a:ln>
                <a:solidFill>
                  <a:srgbClr val="FFFFFF"/>
                </a:solidFill>
                <a:effectLst/>
                <a:uLnTx/>
                <a:uFillTx/>
                <a:latin typeface="Calibri Light" panose="020F0302020204030204"/>
                <a:ea typeface="+mn-ea"/>
                <a:cs typeface="+mn-cs"/>
              </a:rPr>
              <a:t>21%</a:t>
            </a:r>
          </a:p>
        </p:txBody>
      </p:sp>
      <p:sp>
        <p:nvSpPr>
          <p:cNvPr id="23" name="Espace réservé du contenu 11">
            <a:extLst>
              <a:ext uri="{FF2B5EF4-FFF2-40B4-BE49-F238E27FC236}">
                <a16:creationId xmlns:a16="http://schemas.microsoft.com/office/drawing/2014/main" id="{0C86F972-8CFE-FBE4-F2FE-4E3291F32DD5}"/>
              </a:ext>
            </a:extLst>
          </p:cNvPr>
          <p:cNvSpPr txBox="1">
            <a:spLocks/>
          </p:cNvSpPr>
          <p:nvPr/>
        </p:nvSpPr>
        <p:spPr>
          <a:xfrm>
            <a:off x="565595" y="2118431"/>
            <a:ext cx="11108751" cy="317459"/>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1400" b="1" i="0" u="none" strike="noStrike" kern="1200" cap="all" spc="0" normalizeH="0" baseline="0" noProof="0" dirty="0">
                <a:ln>
                  <a:noFill/>
                </a:ln>
                <a:solidFill>
                  <a:srgbClr val="4472C4"/>
                </a:solidFill>
                <a:effectLst/>
                <a:uLnTx/>
                <a:uFillTx/>
                <a:latin typeface="Calibri" panose="020F0502020204030204"/>
                <a:ea typeface="+mn-ea"/>
                <a:cs typeface="+mn-cs"/>
              </a:rPr>
              <a:t>MERCADOS CON MAYOR INTENCIÓN DE VIAJE A CIUDADES DE Uruguay </a:t>
            </a:r>
            <a:r>
              <a:rPr lang="en-US" sz="1400" b="1" cap="all" dirty="0">
                <a:solidFill>
                  <a:srgbClr val="4472C4"/>
                </a:solidFill>
                <a:latin typeface="Calibri" panose="020F0502020204030204"/>
              </a:rPr>
              <a:t>EN</a:t>
            </a:r>
            <a:r>
              <a:rPr kumimoji="0" lang="en-US" sz="1400" b="1" i="0" u="none" strike="noStrike" kern="1200" cap="all" spc="0" normalizeH="0" baseline="0" noProof="0" dirty="0">
                <a:ln>
                  <a:noFill/>
                </a:ln>
                <a:solidFill>
                  <a:srgbClr val="4472C4"/>
                </a:solidFill>
                <a:effectLst/>
                <a:uLnTx/>
                <a:uFillTx/>
                <a:latin typeface="Calibri" panose="020F0502020204030204"/>
                <a:ea typeface="+mn-ea"/>
                <a:cs typeface="+mn-cs"/>
              </a:rPr>
              <a:t> 2023,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por</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volumen</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absoluto</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y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cuota</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de la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demanda</a:t>
            </a:r>
            <a:endPar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71A2799-E516-CDC7-13D9-F1DBFC58A04C}"/>
              </a:ext>
            </a:extLst>
          </p:cNvPr>
          <p:cNvSpPr/>
          <p:nvPr/>
        </p:nvSpPr>
        <p:spPr>
          <a:xfrm>
            <a:off x="7587718" y="2432636"/>
            <a:ext cx="2120844" cy="308779"/>
          </a:xfrm>
          <a:prstGeom prst="rect">
            <a:avLst/>
          </a:prstGeom>
          <a:solidFill>
            <a:srgbClr val="9BCA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5EB8"/>
                </a:solidFill>
                <a:effectLst/>
                <a:uLnTx/>
                <a:uFillTx/>
                <a:latin typeface="Calibri" panose="020F0502020204030204"/>
                <a:ea typeface="+mn-ea"/>
                <a:cs typeface="+mn-cs"/>
              </a:rPr>
              <a:t>Salto</a:t>
            </a:r>
          </a:p>
        </p:txBody>
      </p:sp>
      <p:graphicFrame>
        <p:nvGraphicFramePr>
          <p:cNvPr id="26" name="Table 26">
            <a:extLst>
              <a:ext uri="{FF2B5EF4-FFF2-40B4-BE49-F238E27FC236}">
                <a16:creationId xmlns:a16="http://schemas.microsoft.com/office/drawing/2014/main" id="{CAC5FF8B-FEAA-4B21-F3C0-DEEE9516D574}"/>
              </a:ext>
            </a:extLst>
          </p:cNvPr>
          <p:cNvGraphicFramePr>
            <a:graphicFrameLocks noGrp="1"/>
          </p:cNvGraphicFramePr>
          <p:nvPr>
            <p:extLst>
              <p:ext uri="{D42A27DB-BD31-4B8C-83A1-F6EECF244321}">
                <p14:modId xmlns:p14="http://schemas.microsoft.com/office/powerpoint/2010/main" val="1066965691"/>
              </p:ext>
            </p:extLst>
          </p:nvPr>
        </p:nvGraphicFramePr>
        <p:xfrm>
          <a:off x="7557410" y="2830552"/>
          <a:ext cx="2151152" cy="1805026"/>
        </p:xfrm>
        <a:graphic>
          <a:graphicData uri="http://schemas.openxmlformats.org/drawingml/2006/table">
            <a:tbl>
              <a:tblPr firstRow="1" bandRow="1">
                <a:tableStyleId>{F5AB1C69-6EDB-4FF4-983F-18BD219EF322}</a:tableStyleId>
              </a:tblPr>
              <a:tblGrid>
                <a:gridCol w="1075576">
                  <a:extLst>
                    <a:ext uri="{9D8B030D-6E8A-4147-A177-3AD203B41FA5}">
                      <a16:colId xmlns:a16="http://schemas.microsoft.com/office/drawing/2014/main" val="1150457880"/>
                    </a:ext>
                  </a:extLst>
                </a:gridCol>
                <a:gridCol w="1075576">
                  <a:extLst>
                    <a:ext uri="{9D8B030D-6E8A-4147-A177-3AD203B41FA5}">
                      <a16:colId xmlns:a16="http://schemas.microsoft.com/office/drawing/2014/main" val="13490480"/>
                    </a:ext>
                  </a:extLst>
                </a:gridCol>
              </a:tblGrid>
              <a:tr h="315321">
                <a:tc>
                  <a:txBody>
                    <a:bodyPr/>
                    <a:lstStyle/>
                    <a:p>
                      <a:pPr algn="ctr"/>
                      <a:r>
                        <a:rPr lang="de-DE" sz="1400" b="0" dirty="0">
                          <a:solidFill>
                            <a:schemeClr val="tx1"/>
                          </a:solidFill>
                        </a:rPr>
                        <a:t>Mercado </a:t>
                      </a:r>
                    </a:p>
                  </a:txBody>
                  <a:tcPr/>
                </a:tc>
                <a:tc>
                  <a:txBody>
                    <a:bodyPr/>
                    <a:lstStyle/>
                    <a:p>
                      <a:pPr algn="ctr"/>
                      <a:r>
                        <a:rPr lang="de-DE" sz="1400" b="0" dirty="0">
                          <a:solidFill>
                            <a:schemeClr val="tx1"/>
                          </a:solidFill>
                        </a:rPr>
                        <a:t>Cuota</a:t>
                      </a:r>
                    </a:p>
                  </a:txBody>
                  <a:tcPr/>
                </a:tc>
                <a:extLst>
                  <a:ext uri="{0D108BD9-81ED-4DB2-BD59-A6C34878D82A}">
                    <a16:rowId xmlns:a16="http://schemas.microsoft.com/office/drawing/2014/main" val="4100797962"/>
                  </a:ext>
                </a:extLst>
              </a:tr>
              <a:tr h="297941">
                <a:tc>
                  <a:txBody>
                    <a:body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8%</a:t>
                      </a:r>
                    </a:p>
                  </a:txBody>
                  <a:tcPr marL="9525" marR="9525" marT="9525" marB="0" anchor="ctr"/>
                </a:tc>
                <a:extLst>
                  <a:ext uri="{0D108BD9-81ED-4DB2-BD59-A6C34878D82A}">
                    <a16:rowId xmlns:a16="http://schemas.microsoft.com/office/drawing/2014/main" val="1767479300"/>
                  </a:ext>
                </a:extLst>
              </a:tr>
              <a:tr h="297941">
                <a:tc>
                  <a:txBody>
                    <a:body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2,6%</a:t>
                      </a:r>
                    </a:p>
                  </a:txBody>
                  <a:tcPr marL="9525" marR="9525" marT="9525" marB="0" anchor="ctr"/>
                </a:tc>
                <a:extLst>
                  <a:ext uri="{0D108BD9-81ED-4DB2-BD59-A6C34878D82A}">
                    <a16:rowId xmlns:a16="http://schemas.microsoft.com/office/drawing/2014/main" val="2267179692"/>
                  </a:ext>
                </a:extLst>
              </a:tr>
              <a:tr h="297941">
                <a:tc>
                  <a:txBody>
                    <a:body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2,1%</a:t>
                      </a:r>
                    </a:p>
                  </a:txBody>
                  <a:tcPr marL="9525" marR="9525" marT="9525" marB="0" anchor="ctr"/>
                </a:tc>
                <a:extLst>
                  <a:ext uri="{0D108BD9-81ED-4DB2-BD59-A6C34878D82A}">
                    <a16:rowId xmlns:a16="http://schemas.microsoft.com/office/drawing/2014/main" val="3191712358"/>
                  </a:ext>
                </a:extLst>
              </a:tr>
              <a:tr h="297941">
                <a:tc>
                  <a:txBody>
                    <a:bodyPr/>
                    <a:lstStyle/>
                    <a:p>
                      <a:pPr algn="ctr" fontAlgn="b"/>
                      <a:r>
                        <a:rPr lang="de-DE" sz="1400" b="0" i="0" u="none" strike="noStrike" dirty="0">
                          <a:solidFill>
                            <a:srgbClr val="000000"/>
                          </a:solidFill>
                          <a:effectLst/>
                          <a:latin typeface="Calibri" panose="020F0502020204030204" pitchFamily="34" charset="0"/>
                        </a:rPr>
                        <a:t>Colombi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2%</a:t>
                      </a:r>
                    </a:p>
                  </a:txBody>
                  <a:tcPr marL="9525" marR="9525" marT="9525" marB="0" anchor="ctr"/>
                </a:tc>
                <a:extLst>
                  <a:ext uri="{0D108BD9-81ED-4DB2-BD59-A6C34878D82A}">
                    <a16:rowId xmlns:a16="http://schemas.microsoft.com/office/drawing/2014/main" val="1625302989"/>
                  </a:ext>
                </a:extLst>
              </a:tr>
              <a:tr h="297941">
                <a:tc>
                  <a:txBody>
                    <a:bodyPr/>
                    <a:lstStyle/>
                    <a:p>
                      <a:pPr algn="ctr" fontAlgn="b"/>
                      <a:r>
                        <a:rPr lang="de-DE" sz="1400" b="0" i="0" u="none" strike="noStrike" dirty="0">
                          <a:solidFill>
                            <a:srgbClr val="000000"/>
                          </a:solidFill>
                          <a:effectLst/>
                          <a:latin typeface="Calibri" panose="020F0502020204030204" pitchFamily="34" charset="0"/>
                        </a:rPr>
                        <a:t>Chile</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9%</a:t>
                      </a:r>
                    </a:p>
                  </a:txBody>
                  <a:tcPr marL="9525" marR="9525" marT="9525" marB="0" anchor="ctr"/>
                </a:tc>
                <a:extLst>
                  <a:ext uri="{0D108BD9-81ED-4DB2-BD59-A6C34878D82A}">
                    <a16:rowId xmlns:a16="http://schemas.microsoft.com/office/drawing/2014/main" val="314395852"/>
                  </a:ext>
                </a:extLst>
              </a:tr>
            </a:tbl>
          </a:graphicData>
        </a:graphic>
      </p:graphicFrame>
      <p:sp>
        <p:nvSpPr>
          <p:cNvPr id="27" name="Rectangle 26">
            <a:extLst>
              <a:ext uri="{FF2B5EF4-FFF2-40B4-BE49-F238E27FC236}">
                <a16:creationId xmlns:a16="http://schemas.microsoft.com/office/drawing/2014/main" id="{56CBE167-91D0-BC03-8A5D-74F70738751E}"/>
              </a:ext>
            </a:extLst>
          </p:cNvPr>
          <p:cNvSpPr/>
          <p:nvPr/>
        </p:nvSpPr>
        <p:spPr>
          <a:xfrm>
            <a:off x="940780" y="2402992"/>
            <a:ext cx="2120844" cy="338424"/>
          </a:xfrm>
          <a:prstGeom prst="rect">
            <a:avLst/>
          </a:prstGeom>
          <a:solidFill>
            <a:srgbClr val="9BCA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dirty="0">
                <a:solidFill>
                  <a:srgbClr val="005EB8"/>
                </a:solidFill>
                <a:latin typeface="Calibri" panose="020F0502020204030204"/>
              </a:rPr>
              <a:t>Montevideo</a:t>
            </a:r>
            <a:endParaRPr kumimoji="0" lang="de-DE" sz="1400" b="1"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graphicFrame>
        <p:nvGraphicFramePr>
          <p:cNvPr id="29" name="Table 26">
            <a:extLst>
              <a:ext uri="{FF2B5EF4-FFF2-40B4-BE49-F238E27FC236}">
                <a16:creationId xmlns:a16="http://schemas.microsoft.com/office/drawing/2014/main" id="{D3DF60A7-96AF-0155-5823-6AEF01263F3E}"/>
              </a:ext>
            </a:extLst>
          </p:cNvPr>
          <p:cNvGraphicFramePr>
            <a:graphicFrameLocks noGrp="1"/>
          </p:cNvGraphicFramePr>
          <p:nvPr>
            <p:extLst>
              <p:ext uri="{D42A27DB-BD31-4B8C-83A1-F6EECF244321}">
                <p14:modId xmlns:p14="http://schemas.microsoft.com/office/powerpoint/2010/main" val="1469940401"/>
              </p:ext>
            </p:extLst>
          </p:nvPr>
        </p:nvGraphicFramePr>
        <p:xfrm>
          <a:off x="958843" y="2853042"/>
          <a:ext cx="2119348" cy="1744800"/>
        </p:xfrm>
        <a:graphic>
          <a:graphicData uri="http://schemas.openxmlformats.org/drawingml/2006/table">
            <a:tbl>
              <a:tblPr firstRow="1" bandRow="1">
                <a:tableStyleId>{F5AB1C69-6EDB-4FF4-983F-18BD219EF322}</a:tableStyleId>
              </a:tblPr>
              <a:tblGrid>
                <a:gridCol w="1059674">
                  <a:extLst>
                    <a:ext uri="{9D8B030D-6E8A-4147-A177-3AD203B41FA5}">
                      <a16:colId xmlns:a16="http://schemas.microsoft.com/office/drawing/2014/main" val="1150457880"/>
                    </a:ext>
                  </a:extLst>
                </a:gridCol>
                <a:gridCol w="1059674">
                  <a:extLst>
                    <a:ext uri="{9D8B030D-6E8A-4147-A177-3AD203B41FA5}">
                      <a16:colId xmlns:a16="http://schemas.microsoft.com/office/drawing/2014/main" val="2555060522"/>
                    </a:ext>
                  </a:extLst>
                </a:gridCol>
              </a:tblGrid>
              <a:tr h="288000">
                <a:tc>
                  <a:txBody>
                    <a:bodyPr/>
                    <a:lstStyle/>
                    <a:p>
                      <a:pPr algn="ctr"/>
                      <a:r>
                        <a:rPr lang="de-DE" sz="1400" b="0" dirty="0">
                          <a:solidFill>
                            <a:schemeClr val="tx1"/>
                          </a:solidFill>
                        </a:rPr>
                        <a:t>Mercado </a:t>
                      </a:r>
                    </a:p>
                  </a:txBody>
                  <a:tcPr/>
                </a:tc>
                <a:tc>
                  <a:txBody>
                    <a:bodyPr/>
                    <a:lstStyle/>
                    <a:p>
                      <a:pPr algn="ctr"/>
                      <a:r>
                        <a:rPr lang="de-DE" sz="1400" b="0" dirty="0">
                          <a:solidFill>
                            <a:schemeClr val="tx1"/>
                          </a:solidFill>
                        </a:rPr>
                        <a:t>Cuota</a:t>
                      </a:r>
                    </a:p>
                  </a:txBody>
                  <a:tcPr/>
                </a:tc>
                <a:extLst>
                  <a:ext uri="{0D108BD9-81ED-4DB2-BD59-A6C34878D82A}">
                    <a16:rowId xmlns:a16="http://schemas.microsoft.com/office/drawing/2014/main" val="4100797962"/>
                  </a:ext>
                </a:extLst>
              </a:tr>
              <a:tr h="288000">
                <a:tc>
                  <a:txBody>
                    <a:body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8,5%</a:t>
                      </a:r>
                    </a:p>
                  </a:txBody>
                  <a:tcPr marL="9525" marR="9525" marT="9525" marB="0" anchor="ctr"/>
                </a:tc>
                <a:extLst>
                  <a:ext uri="{0D108BD9-81ED-4DB2-BD59-A6C34878D82A}">
                    <a16:rowId xmlns:a16="http://schemas.microsoft.com/office/drawing/2014/main" val="1767479300"/>
                  </a:ext>
                </a:extLst>
              </a:tr>
              <a:tr h="288000">
                <a:tc>
                  <a:txBody>
                    <a:body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3,7%</a:t>
                      </a:r>
                    </a:p>
                  </a:txBody>
                  <a:tcPr marL="9525" marR="9525" marT="9525" marB="0" anchor="ctr"/>
                </a:tc>
                <a:extLst>
                  <a:ext uri="{0D108BD9-81ED-4DB2-BD59-A6C34878D82A}">
                    <a16:rowId xmlns:a16="http://schemas.microsoft.com/office/drawing/2014/main" val="2267179692"/>
                  </a:ext>
                </a:extLst>
              </a:tr>
              <a:tr h="288000">
                <a:tc>
                  <a:txBody>
                    <a:body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9,6%</a:t>
                      </a:r>
                    </a:p>
                  </a:txBody>
                  <a:tcPr marL="9525" marR="9525" marT="9525" marB="0" anchor="ctr"/>
                </a:tc>
                <a:extLst>
                  <a:ext uri="{0D108BD9-81ED-4DB2-BD59-A6C34878D82A}">
                    <a16:rowId xmlns:a16="http://schemas.microsoft.com/office/drawing/2014/main" val="3191712358"/>
                  </a:ext>
                </a:extLst>
              </a:tr>
              <a:tr h="288000">
                <a:tc>
                  <a:txBody>
                    <a:body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5%</a:t>
                      </a:r>
                    </a:p>
                  </a:txBody>
                  <a:tcPr marL="9525" marR="9525" marT="9525" marB="0" anchor="ctr"/>
                </a:tc>
                <a:extLst>
                  <a:ext uri="{0D108BD9-81ED-4DB2-BD59-A6C34878D82A}">
                    <a16:rowId xmlns:a16="http://schemas.microsoft.com/office/drawing/2014/main" val="1625302989"/>
                  </a:ext>
                </a:extLst>
              </a:tr>
              <a:tr h="288000">
                <a:tc>
                  <a:txBody>
                    <a:bodyPr/>
                    <a:lstStyle/>
                    <a:p>
                      <a:pPr algn="ctr" fontAlgn="b"/>
                      <a:r>
                        <a:rPr lang="de-DE" sz="1400" b="0" i="0" u="none" strike="noStrike" dirty="0">
                          <a:solidFill>
                            <a:srgbClr val="000000"/>
                          </a:solidFill>
                          <a:effectLst/>
                          <a:latin typeface="Calibri" panose="020F0502020204030204" pitchFamily="34" charset="0"/>
                        </a:rPr>
                        <a:t>Colombi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4%</a:t>
                      </a:r>
                    </a:p>
                  </a:txBody>
                  <a:tcPr marL="9525" marR="9525" marT="9525" marB="0" anchor="ctr"/>
                </a:tc>
                <a:extLst>
                  <a:ext uri="{0D108BD9-81ED-4DB2-BD59-A6C34878D82A}">
                    <a16:rowId xmlns:a16="http://schemas.microsoft.com/office/drawing/2014/main" val="314395852"/>
                  </a:ext>
                </a:extLst>
              </a:tr>
            </a:tbl>
          </a:graphicData>
        </a:graphic>
      </p:graphicFrame>
      <p:sp>
        <p:nvSpPr>
          <p:cNvPr id="30" name="Rectangle 29">
            <a:extLst>
              <a:ext uri="{FF2B5EF4-FFF2-40B4-BE49-F238E27FC236}">
                <a16:creationId xmlns:a16="http://schemas.microsoft.com/office/drawing/2014/main" id="{AEEEFF9F-AA58-CF2F-0F8C-F5EC72ED04B7}"/>
              </a:ext>
            </a:extLst>
          </p:cNvPr>
          <p:cNvSpPr/>
          <p:nvPr/>
        </p:nvSpPr>
        <p:spPr>
          <a:xfrm>
            <a:off x="9802114" y="2452493"/>
            <a:ext cx="2120844" cy="308779"/>
          </a:xfrm>
          <a:prstGeom prst="rect">
            <a:avLst/>
          </a:prstGeom>
          <a:solidFill>
            <a:srgbClr val="9BCA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5EB8"/>
                </a:solidFill>
                <a:effectLst/>
                <a:uLnTx/>
                <a:uFillTx/>
                <a:latin typeface="Calibri" panose="020F0502020204030204"/>
                <a:ea typeface="+mn-ea"/>
                <a:cs typeface="+mn-cs"/>
              </a:rPr>
              <a:t>Otros</a:t>
            </a:r>
          </a:p>
        </p:txBody>
      </p:sp>
      <p:graphicFrame>
        <p:nvGraphicFramePr>
          <p:cNvPr id="31" name="Table 26">
            <a:extLst>
              <a:ext uri="{FF2B5EF4-FFF2-40B4-BE49-F238E27FC236}">
                <a16:creationId xmlns:a16="http://schemas.microsoft.com/office/drawing/2014/main" id="{AC6F83B5-0436-B129-7582-AC150271F4AE}"/>
              </a:ext>
            </a:extLst>
          </p:cNvPr>
          <p:cNvGraphicFramePr>
            <a:graphicFrameLocks noGrp="1"/>
          </p:cNvGraphicFramePr>
          <p:nvPr>
            <p:extLst>
              <p:ext uri="{D42A27DB-BD31-4B8C-83A1-F6EECF244321}">
                <p14:modId xmlns:p14="http://schemas.microsoft.com/office/powerpoint/2010/main" val="3697940824"/>
              </p:ext>
            </p:extLst>
          </p:nvPr>
        </p:nvGraphicFramePr>
        <p:xfrm>
          <a:off x="9814848" y="2849061"/>
          <a:ext cx="2108110" cy="1744800"/>
        </p:xfrm>
        <a:graphic>
          <a:graphicData uri="http://schemas.openxmlformats.org/drawingml/2006/table">
            <a:tbl>
              <a:tblPr firstRow="1" bandRow="1">
                <a:tableStyleId>{F5AB1C69-6EDB-4FF4-983F-18BD219EF322}</a:tableStyleId>
              </a:tblPr>
              <a:tblGrid>
                <a:gridCol w="1054055">
                  <a:extLst>
                    <a:ext uri="{9D8B030D-6E8A-4147-A177-3AD203B41FA5}">
                      <a16:colId xmlns:a16="http://schemas.microsoft.com/office/drawing/2014/main" val="1150457880"/>
                    </a:ext>
                  </a:extLst>
                </a:gridCol>
                <a:gridCol w="1054055">
                  <a:extLst>
                    <a:ext uri="{9D8B030D-6E8A-4147-A177-3AD203B41FA5}">
                      <a16:colId xmlns:a16="http://schemas.microsoft.com/office/drawing/2014/main" val="3913030484"/>
                    </a:ext>
                  </a:extLst>
                </a:gridCol>
              </a:tblGrid>
              <a:tr h="288000">
                <a:tc>
                  <a:txBody>
                    <a:bodyPr/>
                    <a:lstStyle/>
                    <a:p>
                      <a:pPr algn="ctr"/>
                      <a:r>
                        <a:rPr lang="de-DE" sz="1400" b="0" dirty="0">
                          <a:solidFill>
                            <a:schemeClr val="tx1"/>
                          </a:solidFill>
                        </a:rPr>
                        <a:t>Mercado </a:t>
                      </a:r>
                    </a:p>
                  </a:txBody>
                  <a:tcPr/>
                </a:tc>
                <a:tc>
                  <a:txBody>
                    <a:bodyPr/>
                    <a:lstStyle/>
                    <a:p>
                      <a:pPr algn="ctr"/>
                      <a:r>
                        <a:rPr lang="de-DE" sz="1400" b="0" dirty="0">
                          <a:solidFill>
                            <a:schemeClr val="tx1"/>
                          </a:solidFill>
                        </a:rPr>
                        <a:t>Cuota</a:t>
                      </a:r>
                    </a:p>
                  </a:txBody>
                  <a:tcPr/>
                </a:tc>
                <a:extLst>
                  <a:ext uri="{0D108BD9-81ED-4DB2-BD59-A6C34878D82A}">
                    <a16:rowId xmlns:a16="http://schemas.microsoft.com/office/drawing/2014/main" val="4100797962"/>
                  </a:ext>
                </a:extLst>
              </a:tr>
              <a:tr h="288000">
                <a:tc>
                  <a:txBody>
                    <a:bodyPr/>
                    <a:lstStyle/>
                    <a:p>
                      <a:pPr algn="ctr" fontAlgn="b"/>
                      <a:r>
                        <a:rPr lang="de-DE" sz="1400" b="0" i="0" u="none" strike="noStrike" dirty="0">
                          <a:solidFill>
                            <a:srgbClr val="000000"/>
                          </a:solidFill>
                          <a:effectLst/>
                          <a:latin typeface="Calibri" panose="020F0502020204030204" pitchFamily="34" charset="0"/>
                        </a:rPr>
                        <a:t>US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23,7%</a:t>
                      </a:r>
                    </a:p>
                  </a:txBody>
                  <a:tcPr marL="9525" marR="9525" marT="9525" marB="0" anchor="ctr"/>
                </a:tc>
                <a:extLst>
                  <a:ext uri="{0D108BD9-81ED-4DB2-BD59-A6C34878D82A}">
                    <a16:rowId xmlns:a16="http://schemas.microsoft.com/office/drawing/2014/main" val="1767479300"/>
                  </a:ext>
                </a:extLst>
              </a:tr>
              <a:tr h="288000">
                <a:tc>
                  <a:txBody>
                    <a:body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2,8%</a:t>
                      </a:r>
                    </a:p>
                  </a:txBody>
                  <a:tcPr marL="9525" marR="9525" marT="9525" marB="0" anchor="ctr"/>
                </a:tc>
                <a:extLst>
                  <a:ext uri="{0D108BD9-81ED-4DB2-BD59-A6C34878D82A}">
                    <a16:rowId xmlns:a16="http://schemas.microsoft.com/office/drawing/2014/main" val="2267179692"/>
                  </a:ext>
                </a:extLst>
              </a:tr>
              <a:tr h="288000">
                <a:tc>
                  <a:txBody>
                    <a:body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7,3%</a:t>
                      </a:r>
                    </a:p>
                  </a:txBody>
                  <a:tcPr marL="9525" marR="9525" marT="9525" marB="0" anchor="ctr"/>
                </a:tc>
                <a:extLst>
                  <a:ext uri="{0D108BD9-81ED-4DB2-BD59-A6C34878D82A}">
                    <a16:rowId xmlns:a16="http://schemas.microsoft.com/office/drawing/2014/main" val="3191712358"/>
                  </a:ext>
                </a:extLst>
              </a:tr>
              <a:tr h="288000">
                <a:tc>
                  <a:txBody>
                    <a:bodyPr/>
                    <a:lstStyle/>
                    <a:p>
                      <a:pPr algn="ctr" fontAlgn="b"/>
                      <a:r>
                        <a:rPr lang="de-DE" sz="1400" b="0" i="0" u="none" strike="noStrike" dirty="0">
                          <a:solidFill>
                            <a:srgbClr val="000000"/>
                          </a:solidFill>
                          <a:effectLst/>
                          <a:latin typeface="Calibri" panose="020F0502020204030204" pitchFamily="34" charset="0"/>
                        </a:rPr>
                        <a:t>Reino Unido</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4,3%</a:t>
                      </a:r>
                    </a:p>
                  </a:txBody>
                  <a:tcPr marL="9525" marR="9525" marT="9525" marB="0" anchor="ctr"/>
                </a:tc>
                <a:extLst>
                  <a:ext uri="{0D108BD9-81ED-4DB2-BD59-A6C34878D82A}">
                    <a16:rowId xmlns:a16="http://schemas.microsoft.com/office/drawing/2014/main" val="1625302989"/>
                  </a:ext>
                </a:extLst>
              </a:tr>
              <a:tr h="288000">
                <a:tc>
                  <a:txBody>
                    <a:bodyPr/>
                    <a:lstStyle/>
                    <a:p>
                      <a:pPr algn="ctr" fontAlgn="b"/>
                      <a:r>
                        <a:rPr lang="de-DE" sz="1400" b="0" i="0" u="none" strike="noStrike" dirty="0">
                          <a:solidFill>
                            <a:srgbClr val="000000"/>
                          </a:solidFill>
                          <a:effectLst/>
                          <a:latin typeface="Calibri" panose="020F0502020204030204" pitchFamily="34" charset="0"/>
                        </a:rPr>
                        <a:t>Franci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1%</a:t>
                      </a:r>
                    </a:p>
                  </a:txBody>
                  <a:tcPr marL="9525" marR="9525" marT="9525" marB="0" anchor="ctr"/>
                </a:tc>
                <a:extLst>
                  <a:ext uri="{0D108BD9-81ED-4DB2-BD59-A6C34878D82A}">
                    <a16:rowId xmlns:a16="http://schemas.microsoft.com/office/drawing/2014/main" val="314395852"/>
                  </a:ext>
                </a:extLst>
              </a:tr>
            </a:tbl>
          </a:graphicData>
        </a:graphic>
      </p:graphicFrame>
      <p:sp>
        <p:nvSpPr>
          <p:cNvPr id="289" name="Rectangle 288">
            <a:extLst>
              <a:ext uri="{FF2B5EF4-FFF2-40B4-BE49-F238E27FC236}">
                <a16:creationId xmlns:a16="http://schemas.microsoft.com/office/drawing/2014/main" id="{B8BDC56F-0C5D-F3EE-8CAC-42A330CEE37A}"/>
              </a:ext>
            </a:extLst>
          </p:cNvPr>
          <p:cNvSpPr/>
          <p:nvPr/>
        </p:nvSpPr>
        <p:spPr>
          <a:xfrm>
            <a:off x="5353005" y="2423418"/>
            <a:ext cx="2120844" cy="308779"/>
          </a:xfrm>
          <a:prstGeom prst="rect">
            <a:avLst/>
          </a:prstGeom>
          <a:solidFill>
            <a:srgbClr val="9BCA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5EB8"/>
                </a:solidFill>
                <a:effectLst/>
                <a:uLnTx/>
                <a:uFillTx/>
                <a:latin typeface="Calibri" panose="020F0502020204030204"/>
                <a:ea typeface="+mn-ea"/>
                <a:cs typeface="+mn-cs"/>
              </a:rPr>
              <a:t>Rivera</a:t>
            </a:r>
          </a:p>
        </p:txBody>
      </p:sp>
      <p:graphicFrame>
        <p:nvGraphicFramePr>
          <p:cNvPr id="290" name="Table 26">
            <a:extLst>
              <a:ext uri="{FF2B5EF4-FFF2-40B4-BE49-F238E27FC236}">
                <a16:creationId xmlns:a16="http://schemas.microsoft.com/office/drawing/2014/main" id="{B68D22D3-08C6-EB09-FF3A-65328EC7546B}"/>
              </a:ext>
            </a:extLst>
          </p:cNvPr>
          <p:cNvGraphicFramePr>
            <a:graphicFrameLocks noGrp="1"/>
          </p:cNvGraphicFramePr>
          <p:nvPr>
            <p:extLst>
              <p:ext uri="{D42A27DB-BD31-4B8C-83A1-F6EECF244321}">
                <p14:modId xmlns:p14="http://schemas.microsoft.com/office/powerpoint/2010/main" val="2880071625"/>
              </p:ext>
            </p:extLst>
          </p:nvPr>
        </p:nvGraphicFramePr>
        <p:xfrm>
          <a:off x="5353004" y="2830552"/>
          <a:ext cx="2114268" cy="1763308"/>
        </p:xfrm>
        <a:graphic>
          <a:graphicData uri="http://schemas.openxmlformats.org/drawingml/2006/table">
            <a:tbl>
              <a:tblPr firstRow="1" bandRow="1">
                <a:tableStyleId>{F5AB1C69-6EDB-4FF4-983F-18BD219EF322}</a:tableStyleId>
              </a:tblPr>
              <a:tblGrid>
                <a:gridCol w="1057134">
                  <a:extLst>
                    <a:ext uri="{9D8B030D-6E8A-4147-A177-3AD203B41FA5}">
                      <a16:colId xmlns:a16="http://schemas.microsoft.com/office/drawing/2014/main" val="1150457880"/>
                    </a:ext>
                  </a:extLst>
                </a:gridCol>
                <a:gridCol w="1057134">
                  <a:extLst>
                    <a:ext uri="{9D8B030D-6E8A-4147-A177-3AD203B41FA5}">
                      <a16:colId xmlns:a16="http://schemas.microsoft.com/office/drawing/2014/main" val="4218565678"/>
                    </a:ext>
                  </a:extLst>
                </a:gridCol>
              </a:tblGrid>
              <a:tr h="308033">
                <a:tc>
                  <a:txBody>
                    <a:bodyPr/>
                    <a:lstStyle/>
                    <a:p>
                      <a:pPr algn="ctr"/>
                      <a:r>
                        <a:rPr lang="de-DE" sz="1400" b="0" dirty="0">
                          <a:solidFill>
                            <a:schemeClr val="tx1"/>
                          </a:solidFill>
                        </a:rPr>
                        <a:t>Mercado </a:t>
                      </a:r>
                    </a:p>
                  </a:txBody>
                  <a:tcPr/>
                </a:tc>
                <a:tc>
                  <a:txBody>
                    <a:bodyPr/>
                    <a:lstStyle/>
                    <a:p>
                      <a:pPr algn="ctr"/>
                      <a:r>
                        <a:rPr lang="de-DE" sz="1400" b="0" dirty="0">
                          <a:solidFill>
                            <a:schemeClr val="tx1"/>
                          </a:solidFill>
                        </a:rPr>
                        <a:t>Cuota</a:t>
                      </a:r>
                    </a:p>
                  </a:txBody>
                  <a:tcPr/>
                </a:tc>
                <a:extLst>
                  <a:ext uri="{0D108BD9-81ED-4DB2-BD59-A6C34878D82A}">
                    <a16:rowId xmlns:a16="http://schemas.microsoft.com/office/drawing/2014/main" val="4100797962"/>
                  </a:ext>
                </a:extLst>
              </a:tr>
              <a:tr h="291055">
                <a:tc>
                  <a:txBody>
                    <a:body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49,1%</a:t>
                      </a:r>
                    </a:p>
                  </a:txBody>
                  <a:tcPr marL="9525" marR="9525" marT="9525" marB="0" anchor="ctr"/>
                </a:tc>
                <a:extLst>
                  <a:ext uri="{0D108BD9-81ED-4DB2-BD59-A6C34878D82A}">
                    <a16:rowId xmlns:a16="http://schemas.microsoft.com/office/drawing/2014/main" val="1767479300"/>
                  </a:ext>
                </a:extLst>
              </a:tr>
              <a:tr h="291055">
                <a:tc>
                  <a:txBody>
                    <a:bodyPr/>
                    <a:lstStyle/>
                    <a:p>
                      <a:pPr algn="ctr" fontAlgn="b"/>
                      <a:r>
                        <a:rPr lang="de-DE" sz="1400" b="0" i="0" u="none" strike="noStrike" dirty="0">
                          <a:solidFill>
                            <a:srgbClr val="000000"/>
                          </a:solidFill>
                          <a:effectLst/>
                          <a:latin typeface="Calibri" panose="020F0502020204030204" pitchFamily="34" charset="0"/>
                        </a:rPr>
                        <a:t>Suriname</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5,9%</a:t>
                      </a:r>
                    </a:p>
                  </a:txBody>
                  <a:tcPr marL="9525" marR="9525" marT="9525" marB="0" anchor="ctr"/>
                </a:tc>
                <a:extLst>
                  <a:ext uri="{0D108BD9-81ED-4DB2-BD59-A6C34878D82A}">
                    <a16:rowId xmlns:a16="http://schemas.microsoft.com/office/drawing/2014/main" val="2267179692"/>
                  </a:ext>
                </a:extLst>
              </a:tr>
              <a:tr h="291055">
                <a:tc>
                  <a:txBody>
                    <a:body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1%</a:t>
                      </a:r>
                    </a:p>
                  </a:txBody>
                  <a:tcPr marL="9525" marR="9525" marT="9525" marB="0" anchor="ctr"/>
                </a:tc>
                <a:extLst>
                  <a:ext uri="{0D108BD9-81ED-4DB2-BD59-A6C34878D82A}">
                    <a16:rowId xmlns:a16="http://schemas.microsoft.com/office/drawing/2014/main" val="3191712358"/>
                  </a:ext>
                </a:extLst>
              </a:tr>
              <a:tr h="291055">
                <a:tc>
                  <a:txBody>
                    <a:bodyPr/>
                    <a:lstStyle/>
                    <a:p>
                      <a:pPr algn="ctr" fontAlgn="b"/>
                      <a:r>
                        <a:rPr lang="de-DE" sz="1400" b="0" i="0" u="none" strike="noStrike" dirty="0">
                          <a:solidFill>
                            <a:srgbClr val="000000"/>
                          </a:solidFill>
                          <a:effectLst/>
                          <a:latin typeface="Calibri" panose="020F0502020204030204" pitchFamily="34" charset="0"/>
                        </a:rPr>
                        <a:t>Japón</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1625302989"/>
                  </a:ext>
                </a:extLst>
              </a:tr>
              <a:tr h="291055">
                <a:tc>
                  <a:txBody>
                    <a:bodyPr/>
                    <a:lstStyle/>
                    <a:p>
                      <a:pPr algn="ctr" fontAlgn="b"/>
                      <a:r>
                        <a:rPr lang="de-DE" sz="1400" b="0" i="0" u="none" strike="noStrike" dirty="0">
                          <a:solidFill>
                            <a:srgbClr val="000000"/>
                          </a:solidFill>
                          <a:effectLst/>
                          <a:latin typeface="Calibri" panose="020F0502020204030204" pitchFamily="34" charset="0"/>
                        </a:rPr>
                        <a:t>Colombi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0,8%</a:t>
                      </a:r>
                    </a:p>
                  </a:txBody>
                  <a:tcPr marL="9525" marR="9525" marT="9525" marB="0" anchor="ctr"/>
                </a:tc>
                <a:extLst>
                  <a:ext uri="{0D108BD9-81ED-4DB2-BD59-A6C34878D82A}">
                    <a16:rowId xmlns:a16="http://schemas.microsoft.com/office/drawing/2014/main" val="314395852"/>
                  </a:ext>
                </a:extLst>
              </a:tr>
            </a:tbl>
          </a:graphicData>
        </a:graphic>
      </p:graphicFrame>
      <p:sp>
        <p:nvSpPr>
          <p:cNvPr id="291" name="Rectangle 290">
            <a:extLst>
              <a:ext uri="{FF2B5EF4-FFF2-40B4-BE49-F238E27FC236}">
                <a16:creationId xmlns:a16="http://schemas.microsoft.com/office/drawing/2014/main" id="{CBF9BACE-D5BC-C3B1-7487-EDF40A73E0BC}"/>
              </a:ext>
            </a:extLst>
          </p:cNvPr>
          <p:cNvSpPr/>
          <p:nvPr/>
        </p:nvSpPr>
        <p:spPr>
          <a:xfrm>
            <a:off x="3155176" y="2419046"/>
            <a:ext cx="2120844" cy="308779"/>
          </a:xfrm>
          <a:prstGeom prst="rect">
            <a:avLst/>
          </a:prstGeom>
          <a:solidFill>
            <a:srgbClr val="9BCA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5EB8"/>
                </a:solidFill>
                <a:effectLst/>
                <a:uLnTx/>
                <a:uFillTx/>
                <a:latin typeface="Calibri" panose="020F0502020204030204"/>
                <a:ea typeface="+mn-ea"/>
                <a:cs typeface="+mn-cs"/>
              </a:rPr>
              <a:t>Punta del Este</a:t>
            </a:r>
          </a:p>
        </p:txBody>
      </p:sp>
      <p:graphicFrame>
        <p:nvGraphicFramePr>
          <p:cNvPr id="292" name="Table 26">
            <a:extLst>
              <a:ext uri="{FF2B5EF4-FFF2-40B4-BE49-F238E27FC236}">
                <a16:creationId xmlns:a16="http://schemas.microsoft.com/office/drawing/2014/main" id="{67C73ABA-4F92-B13D-47D9-762A88286905}"/>
              </a:ext>
            </a:extLst>
          </p:cNvPr>
          <p:cNvGraphicFramePr>
            <a:graphicFrameLocks noGrp="1"/>
          </p:cNvGraphicFramePr>
          <p:nvPr>
            <p:extLst>
              <p:ext uri="{D42A27DB-BD31-4B8C-83A1-F6EECF244321}">
                <p14:modId xmlns:p14="http://schemas.microsoft.com/office/powerpoint/2010/main" val="2007813821"/>
              </p:ext>
            </p:extLst>
          </p:nvPr>
        </p:nvGraphicFramePr>
        <p:xfrm>
          <a:off x="3155176" y="2826181"/>
          <a:ext cx="2114268" cy="1778917"/>
        </p:xfrm>
        <a:graphic>
          <a:graphicData uri="http://schemas.openxmlformats.org/drawingml/2006/table">
            <a:tbl>
              <a:tblPr firstRow="1" bandRow="1">
                <a:tableStyleId>{F5AB1C69-6EDB-4FF4-983F-18BD219EF322}</a:tableStyleId>
              </a:tblPr>
              <a:tblGrid>
                <a:gridCol w="1057134">
                  <a:extLst>
                    <a:ext uri="{9D8B030D-6E8A-4147-A177-3AD203B41FA5}">
                      <a16:colId xmlns:a16="http://schemas.microsoft.com/office/drawing/2014/main" val="1150457880"/>
                    </a:ext>
                  </a:extLst>
                </a:gridCol>
                <a:gridCol w="1057134">
                  <a:extLst>
                    <a:ext uri="{9D8B030D-6E8A-4147-A177-3AD203B41FA5}">
                      <a16:colId xmlns:a16="http://schemas.microsoft.com/office/drawing/2014/main" val="587312240"/>
                    </a:ext>
                  </a:extLst>
                </a:gridCol>
              </a:tblGrid>
              <a:tr h="288000">
                <a:tc>
                  <a:txBody>
                    <a:bodyPr/>
                    <a:lstStyle/>
                    <a:p>
                      <a:pPr algn="ctr"/>
                      <a:r>
                        <a:rPr lang="de-DE" sz="1400" b="0" dirty="0">
                          <a:solidFill>
                            <a:schemeClr val="tx1"/>
                          </a:solidFill>
                        </a:rPr>
                        <a:t>Mercado </a:t>
                      </a:r>
                    </a:p>
                  </a:txBody>
                  <a:tcPr/>
                </a:tc>
                <a:tc>
                  <a:txBody>
                    <a:bodyPr/>
                    <a:lstStyle/>
                    <a:p>
                      <a:pPr algn="ctr"/>
                      <a:r>
                        <a:rPr lang="de-DE" sz="1400" b="0" dirty="0">
                          <a:solidFill>
                            <a:schemeClr val="tx1"/>
                          </a:solidFill>
                        </a:rPr>
                        <a:t>Cuota</a:t>
                      </a:r>
                    </a:p>
                  </a:txBody>
                  <a:tcPr/>
                </a:tc>
                <a:extLst>
                  <a:ext uri="{0D108BD9-81ED-4DB2-BD59-A6C34878D82A}">
                    <a16:rowId xmlns:a16="http://schemas.microsoft.com/office/drawing/2014/main" val="4100797962"/>
                  </a:ext>
                </a:extLst>
              </a:tr>
              <a:tr h="322117">
                <a:tc>
                  <a:txBody>
                    <a:bodyPr/>
                    <a:lstStyle/>
                    <a:p>
                      <a:pPr algn="ctr" fontAlgn="b"/>
                      <a:r>
                        <a:rPr lang="de-DE" sz="1400" b="0" i="0" u="none" strike="noStrike" dirty="0">
                          <a:solidFill>
                            <a:srgbClr val="000000"/>
                          </a:solidFill>
                          <a:effectLst/>
                          <a:latin typeface="Calibri" panose="020F0502020204030204" pitchFamily="34" charset="0"/>
                        </a:rPr>
                        <a:t>Brasil</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67,5%</a:t>
                      </a:r>
                    </a:p>
                  </a:txBody>
                  <a:tcPr marL="9525" marR="9525" marT="9525" marB="0" anchor="ctr"/>
                </a:tc>
                <a:extLst>
                  <a:ext uri="{0D108BD9-81ED-4DB2-BD59-A6C34878D82A}">
                    <a16:rowId xmlns:a16="http://schemas.microsoft.com/office/drawing/2014/main" val="1767479300"/>
                  </a:ext>
                </a:extLst>
              </a:tr>
              <a:tr h="288000">
                <a:tc>
                  <a:txBody>
                    <a:bodyPr/>
                    <a:lstStyle/>
                    <a:p>
                      <a:pPr algn="ctr" fontAlgn="b"/>
                      <a:r>
                        <a:rPr lang="de-DE" sz="1400" b="0" i="0" u="none" strike="noStrike" dirty="0">
                          <a:solidFill>
                            <a:srgbClr val="000000"/>
                          </a:solidFill>
                          <a:effectLst/>
                          <a:latin typeface="Calibri" panose="020F0502020204030204" pitchFamily="34" charset="0"/>
                        </a:rPr>
                        <a:t>Argentin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4,7%</a:t>
                      </a:r>
                    </a:p>
                  </a:txBody>
                  <a:tcPr marL="9525" marR="9525" marT="9525" marB="0" anchor="ctr"/>
                </a:tc>
                <a:extLst>
                  <a:ext uri="{0D108BD9-81ED-4DB2-BD59-A6C34878D82A}">
                    <a16:rowId xmlns:a16="http://schemas.microsoft.com/office/drawing/2014/main" val="2267179692"/>
                  </a:ext>
                </a:extLst>
              </a:tr>
              <a:tr h="288000">
                <a:tc>
                  <a:txBody>
                    <a:bodyPr/>
                    <a:lstStyle/>
                    <a:p>
                      <a:pPr algn="ctr" fontAlgn="b"/>
                      <a:r>
                        <a:rPr lang="de-DE" sz="1400" b="0" i="0" u="none" strike="noStrike" dirty="0">
                          <a:solidFill>
                            <a:srgbClr val="000000"/>
                          </a:solidFill>
                          <a:effectLst/>
                          <a:latin typeface="Calibri" panose="020F0502020204030204" pitchFamily="34" charset="0"/>
                        </a:rPr>
                        <a:t>Chile</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3%</a:t>
                      </a:r>
                    </a:p>
                  </a:txBody>
                  <a:tcPr marL="9525" marR="9525" marT="9525" marB="0" anchor="ctr"/>
                </a:tc>
                <a:extLst>
                  <a:ext uri="{0D108BD9-81ED-4DB2-BD59-A6C34878D82A}">
                    <a16:rowId xmlns:a16="http://schemas.microsoft.com/office/drawing/2014/main" val="3191712358"/>
                  </a:ext>
                </a:extLst>
              </a:tr>
              <a:tr h="288000">
                <a:tc>
                  <a:txBody>
                    <a:bodyPr/>
                    <a:lstStyle/>
                    <a:p>
                      <a:pPr algn="ctr" fontAlgn="b"/>
                      <a:r>
                        <a:rPr lang="de-DE" sz="1400" b="0" i="0" u="none" strike="noStrike" dirty="0">
                          <a:solidFill>
                            <a:srgbClr val="000000"/>
                          </a:solidFill>
                          <a:effectLst/>
                          <a:latin typeface="Calibri" panose="020F0502020204030204" pitchFamily="34" charset="0"/>
                        </a:rPr>
                        <a:t>Paraguay</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2%</a:t>
                      </a:r>
                    </a:p>
                  </a:txBody>
                  <a:tcPr marL="9525" marR="9525" marT="9525" marB="0" anchor="ctr"/>
                </a:tc>
                <a:extLst>
                  <a:ext uri="{0D108BD9-81ED-4DB2-BD59-A6C34878D82A}">
                    <a16:rowId xmlns:a16="http://schemas.microsoft.com/office/drawing/2014/main" val="1625302989"/>
                  </a:ext>
                </a:extLst>
              </a:tr>
              <a:tr h="288000">
                <a:tc>
                  <a:txBody>
                    <a:bodyPr/>
                    <a:lstStyle/>
                    <a:p>
                      <a:pPr algn="ctr" fontAlgn="b"/>
                      <a:r>
                        <a:rPr lang="de-DE" sz="1400" b="0" i="0" u="none" strike="noStrike" dirty="0">
                          <a:solidFill>
                            <a:srgbClr val="000000"/>
                          </a:solidFill>
                          <a:effectLst/>
                          <a:latin typeface="Calibri" panose="020F0502020204030204" pitchFamily="34" charset="0"/>
                        </a:rPr>
                        <a:t>España</a:t>
                      </a:r>
                    </a:p>
                  </a:txBody>
                  <a:tcPr marL="9525" marR="9525" marT="9525" marB="0" anchor="ctr"/>
                </a:tc>
                <a:tc>
                  <a:txBody>
                    <a:bodyPr/>
                    <a:lstStyle/>
                    <a:p>
                      <a:pPr algn="ctr" fontAlgn="b"/>
                      <a:r>
                        <a:rPr lang="de-DE" sz="1400" b="0" i="0" u="none" strike="noStrike" dirty="0">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314395852"/>
                  </a:ext>
                </a:extLst>
              </a:tr>
            </a:tbl>
          </a:graphicData>
        </a:graphic>
      </p:graphicFrame>
      <p:sp>
        <p:nvSpPr>
          <p:cNvPr id="294" name="TextBox 293">
            <a:extLst>
              <a:ext uri="{FF2B5EF4-FFF2-40B4-BE49-F238E27FC236}">
                <a16:creationId xmlns:a16="http://schemas.microsoft.com/office/drawing/2014/main" id="{0996199E-2099-BBB9-4964-A10874B475C0}"/>
              </a:ext>
            </a:extLst>
          </p:cNvPr>
          <p:cNvSpPr txBox="1"/>
          <p:nvPr/>
        </p:nvSpPr>
        <p:spPr>
          <a:xfrm>
            <a:off x="642656" y="3111848"/>
            <a:ext cx="2308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5EB8"/>
                </a:solidFill>
                <a:effectLst/>
                <a:uLnTx/>
                <a:uFillTx/>
                <a:latin typeface="Calibri" panose="020F0502020204030204"/>
                <a:ea typeface="+mn-ea"/>
                <a:cs typeface="+mn-cs"/>
              </a:rPr>
              <a:t>1</a:t>
            </a:r>
          </a:p>
        </p:txBody>
      </p:sp>
      <p:sp>
        <p:nvSpPr>
          <p:cNvPr id="295" name="TextBox 294">
            <a:extLst>
              <a:ext uri="{FF2B5EF4-FFF2-40B4-BE49-F238E27FC236}">
                <a16:creationId xmlns:a16="http://schemas.microsoft.com/office/drawing/2014/main" id="{05A47379-D5A8-1BA4-E5F7-C4157196C99B}"/>
              </a:ext>
            </a:extLst>
          </p:cNvPr>
          <p:cNvSpPr txBox="1"/>
          <p:nvPr/>
        </p:nvSpPr>
        <p:spPr>
          <a:xfrm>
            <a:off x="638936" y="3378705"/>
            <a:ext cx="2308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5EB8"/>
                </a:solidFill>
                <a:effectLst/>
                <a:uLnTx/>
                <a:uFillTx/>
                <a:latin typeface="Calibri" panose="020F0502020204030204"/>
                <a:ea typeface="+mn-ea"/>
                <a:cs typeface="+mn-cs"/>
              </a:rPr>
              <a:t>2</a:t>
            </a:r>
          </a:p>
        </p:txBody>
      </p:sp>
      <p:sp>
        <p:nvSpPr>
          <p:cNvPr id="296" name="TextBox 295">
            <a:extLst>
              <a:ext uri="{FF2B5EF4-FFF2-40B4-BE49-F238E27FC236}">
                <a16:creationId xmlns:a16="http://schemas.microsoft.com/office/drawing/2014/main" id="{D93AC039-15AE-38B7-112D-463E28C6B8C7}"/>
              </a:ext>
            </a:extLst>
          </p:cNvPr>
          <p:cNvSpPr txBox="1"/>
          <p:nvPr/>
        </p:nvSpPr>
        <p:spPr>
          <a:xfrm>
            <a:off x="648689" y="3657306"/>
            <a:ext cx="2308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5EB8"/>
                </a:solidFill>
                <a:effectLst/>
                <a:uLnTx/>
                <a:uFillTx/>
                <a:latin typeface="Calibri" panose="020F0502020204030204"/>
                <a:ea typeface="+mn-ea"/>
                <a:cs typeface="+mn-cs"/>
              </a:rPr>
              <a:t>3</a:t>
            </a:r>
          </a:p>
        </p:txBody>
      </p:sp>
      <p:sp>
        <p:nvSpPr>
          <p:cNvPr id="297" name="TextBox 296">
            <a:extLst>
              <a:ext uri="{FF2B5EF4-FFF2-40B4-BE49-F238E27FC236}">
                <a16:creationId xmlns:a16="http://schemas.microsoft.com/office/drawing/2014/main" id="{55389DE1-B6B3-53D9-875B-C6F5F14F4FED}"/>
              </a:ext>
            </a:extLst>
          </p:cNvPr>
          <p:cNvSpPr txBox="1"/>
          <p:nvPr/>
        </p:nvSpPr>
        <p:spPr>
          <a:xfrm>
            <a:off x="651027" y="3966922"/>
            <a:ext cx="2308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5EB8"/>
                </a:solidFill>
                <a:effectLst/>
                <a:uLnTx/>
                <a:uFillTx/>
                <a:latin typeface="Calibri" panose="020F0502020204030204"/>
                <a:ea typeface="+mn-ea"/>
                <a:cs typeface="+mn-cs"/>
              </a:rPr>
              <a:t>4</a:t>
            </a:r>
          </a:p>
        </p:txBody>
      </p:sp>
      <p:sp>
        <p:nvSpPr>
          <p:cNvPr id="298" name="TextBox 297">
            <a:extLst>
              <a:ext uri="{FF2B5EF4-FFF2-40B4-BE49-F238E27FC236}">
                <a16:creationId xmlns:a16="http://schemas.microsoft.com/office/drawing/2014/main" id="{2C06A1A5-D982-EBC1-8E08-2C27D74C234D}"/>
              </a:ext>
            </a:extLst>
          </p:cNvPr>
          <p:cNvSpPr txBox="1"/>
          <p:nvPr/>
        </p:nvSpPr>
        <p:spPr>
          <a:xfrm>
            <a:off x="651027" y="4279391"/>
            <a:ext cx="2308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5EB8"/>
                </a:solidFill>
                <a:effectLst/>
                <a:uLnTx/>
                <a:uFillTx/>
                <a:latin typeface="Calibri" panose="020F0502020204030204"/>
                <a:ea typeface="+mn-ea"/>
                <a:cs typeface="+mn-cs"/>
              </a:rPr>
              <a:t>5</a:t>
            </a:r>
          </a:p>
        </p:txBody>
      </p:sp>
      <p:pic>
        <p:nvPicPr>
          <p:cNvPr id="303" name="Picture 302" descr="A blue and white trophy&#10;&#10;Description automatically generated">
            <a:extLst>
              <a:ext uri="{FF2B5EF4-FFF2-40B4-BE49-F238E27FC236}">
                <a16:creationId xmlns:a16="http://schemas.microsoft.com/office/drawing/2014/main" id="{F68C2515-1095-8BAD-E464-5B8F8266C2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3280" y="2861921"/>
            <a:ext cx="254415" cy="254415"/>
          </a:xfrm>
          <a:prstGeom prst="rect">
            <a:avLst/>
          </a:prstGeom>
        </p:spPr>
      </p:pic>
      <p:sp>
        <p:nvSpPr>
          <p:cNvPr id="9" name="Oval 8">
            <a:extLst>
              <a:ext uri="{FF2B5EF4-FFF2-40B4-BE49-F238E27FC236}">
                <a16:creationId xmlns:a16="http://schemas.microsoft.com/office/drawing/2014/main" id="{B0F1CF67-4060-9B28-6130-3FB5B8E29983}"/>
              </a:ext>
            </a:extLst>
          </p:cNvPr>
          <p:cNvSpPr/>
          <p:nvPr/>
        </p:nvSpPr>
        <p:spPr>
          <a:xfrm>
            <a:off x="2814558" y="2360995"/>
            <a:ext cx="293100" cy="2889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EBF56351-50B8-CE32-EFFA-C763276E5102}"/>
              </a:ext>
            </a:extLst>
          </p:cNvPr>
          <p:cNvSpPr/>
          <p:nvPr/>
        </p:nvSpPr>
        <p:spPr>
          <a:xfrm>
            <a:off x="5028758" y="2368331"/>
            <a:ext cx="293100" cy="2889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D2363908-EB60-53D5-769E-E4E08EF8AADB}"/>
              </a:ext>
            </a:extLst>
          </p:cNvPr>
          <p:cNvSpPr/>
          <p:nvPr/>
        </p:nvSpPr>
        <p:spPr>
          <a:xfrm>
            <a:off x="7254306" y="2375293"/>
            <a:ext cx="293100" cy="2889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832CEA92-2FE5-7BE9-8D51-2B58D5EC4432}"/>
              </a:ext>
            </a:extLst>
          </p:cNvPr>
          <p:cNvSpPr/>
          <p:nvPr/>
        </p:nvSpPr>
        <p:spPr>
          <a:xfrm>
            <a:off x="9448798" y="2352509"/>
            <a:ext cx="293100" cy="2889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04C952F2-956B-9B9F-F675-DD495BA2AFCD}"/>
              </a:ext>
            </a:extLst>
          </p:cNvPr>
          <p:cNvSpPr/>
          <p:nvPr/>
        </p:nvSpPr>
        <p:spPr>
          <a:xfrm>
            <a:off x="11692523" y="2368331"/>
            <a:ext cx="293100" cy="2889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00" name="TextBox 299">
            <a:extLst>
              <a:ext uri="{FF2B5EF4-FFF2-40B4-BE49-F238E27FC236}">
                <a16:creationId xmlns:a16="http://schemas.microsoft.com/office/drawing/2014/main" id="{E4610C4C-49BF-56CC-3F64-748036F7AD6C}"/>
              </a:ext>
            </a:extLst>
          </p:cNvPr>
          <p:cNvSpPr txBox="1"/>
          <p:nvPr/>
        </p:nvSpPr>
        <p:spPr>
          <a:xfrm>
            <a:off x="5023519" y="2375293"/>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301" name="TextBox 300">
            <a:extLst>
              <a:ext uri="{FF2B5EF4-FFF2-40B4-BE49-F238E27FC236}">
                <a16:creationId xmlns:a16="http://schemas.microsoft.com/office/drawing/2014/main" id="{2158453B-981B-D4B6-2E89-101B76CC6B8E}"/>
              </a:ext>
            </a:extLst>
          </p:cNvPr>
          <p:cNvSpPr txBox="1"/>
          <p:nvPr/>
        </p:nvSpPr>
        <p:spPr>
          <a:xfrm>
            <a:off x="7235530" y="2385951"/>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302" name="TextBox 301">
            <a:extLst>
              <a:ext uri="{FF2B5EF4-FFF2-40B4-BE49-F238E27FC236}">
                <a16:creationId xmlns:a16="http://schemas.microsoft.com/office/drawing/2014/main" id="{331956C5-2511-80A6-7757-E246F973ED5D}"/>
              </a:ext>
            </a:extLst>
          </p:cNvPr>
          <p:cNvSpPr txBox="1"/>
          <p:nvPr/>
        </p:nvSpPr>
        <p:spPr>
          <a:xfrm>
            <a:off x="9442126" y="2370590"/>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304" name="TextBox 303">
            <a:extLst>
              <a:ext uri="{FF2B5EF4-FFF2-40B4-BE49-F238E27FC236}">
                <a16:creationId xmlns:a16="http://schemas.microsoft.com/office/drawing/2014/main" id="{F5EF9D91-6B2A-D606-2822-F382DE650986}"/>
              </a:ext>
            </a:extLst>
          </p:cNvPr>
          <p:cNvSpPr txBox="1"/>
          <p:nvPr/>
        </p:nvSpPr>
        <p:spPr>
          <a:xfrm>
            <a:off x="11674346" y="2375293"/>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305" name="TextBox 304">
            <a:extLst>
              <a:ext uri="{FF2B5EF4-FFF2-40B4-BE49-F238E27FC236}">
                <a16:creationId xmlns:a16="http://schemas.microsoft.com/office/drawing/2014/main" id="{3EA32F09-6085-6095-5F95-D8658B2F395E}"/>
              </a:ext>
            </a:extLst>
          </p:cNvPr>
          <p:cNvSpPr txBox="1"/>
          <p:nvPr/>
        </p:nvSpPr>
        <p:spPr>
          <a:xfrm>
            <a:off x="2791299" y="2374322"/>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pic>
        <p:nvPicPr>
          <p:cNvPr id="1026" name="Picture 2" descr="upload.wikimedia.org/wikipedia/commons/thumb/f/fe/...">
            <a:extLst>
              <a:ext uri="{FF2B5EF4-FFF2-40B4-BE49-F238E27FC236}">
                <a16:creationId xmlns:a16="http://schemas.microsoft.com/office/drawing/2014/main" id="{2211ECDB-9A7D-EAFB-2250-A54BE6EE18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152" y="313247"/>
            <a:ext cx="804171" cy="534774"/>
          </a:xfrm>
          <a:prstGeom prst="rect">
            <a:avLst/>
          </a:prstGeom>
          <a:noFill/>
          <a:extLst>
            <a:ext uri="{909E8E84-426E-40DD-AFC4-6F175D3DCCD1}">
              <a14:hiddenFill xmlns:a14="http://schemas.microsoft.com/office/drawing/2010/main">
                <a:solidFill>
                  <a:srgbClr val="FFFFFF"/>
                </a:solidFill>
              </a14:hiddenFill>
            </a:ext>
          </a:extLst>
        </p:spPr>
      </p:pic>
      <p:sp>
        <p:nvSpPr>
          <p:cNvPr id="2" name="New shape">
            <a:extLst>
              <a:ext uri="{FF2B5EF4-FFF2-40B4-BE49-F238E27FC236}">
                <a16:creationId xmlns:a16="http://schemas.microsoft.com/office/drawing/2014/main" id="{BF7CD7A1-1C88-CDC3-60F5-0AFBD0A36770}"/>
              </a:ext>
            </a:extLst>
          </p:cNvPr>
          <p:cNvSpPr/>
          <p:nvPr/>
        </p:nvSpPr>
        <p:spPr>
          <a:xfrm>
            <a:off x="0" y="6600965"/>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40640797"/>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50FD55-8676-4F1D-8F67-78C3C06549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F50FD55-8676-4F1D-8F67-78C3C06549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4" name="TextBox 303">
            <a:extLst>
              <a:ext uri="{FF2B5EF4-FFF2-40B4-BE49-F238E27FC236}">
                <a16:creationId xmlns:a16="http://schemas.microsoft.com/office/drawing/2014/main" id="{F5EF9D91-6B2A-D606-2822-F382DE650986}"/>
              </a:ext>
            </a:extLst>
          </p:cNvPr>
          <p:cNvSpPr txBox="1"/>
          <p:nvPr/>
        </p:nvSpPr>
        <p:spPr>
          <a:xfrm>
            <a:off x="12000917" y="2669208"/>
            <a:ext cx="7327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5" name="TextBox 4">
            <a:extLst>
              <a:ext uri="{FF2B5EF4-FFF2-40B4-BE49-F238E27FC236}">
                <a16:creationId xmlns:a16="http://schemas.microsoft.com/office/drawing/2014/main" id="{05E9ABD3-F758-FAA4-F41E-935BF0B84084}"/>
              </a:ext>
            </a:extLst>
          </p:cNvPr>
          <p:cNvSpPr txBox="1"/>
          <p:nvPr/>
        </p:nvSpPr>
        <p:spPr>
          <a:xfrm>
            <a:off x="692287" y="772811"/>
            <a:ext cx="69127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srgbClr val="005EB8"/>
                </a:solidFill>
                <a:effectLst/>
                <a:uLnTx/>
                <a:uFillTx/>
                <a:latin typeface="Calibri" panose="020F0502020204030204"/>
                <a:ea typeface="+mn-ea"/>
                <a:cs typeface="+mn-cs"/>
              </a:rPr>
              <a:t>Brasil</a:t>
            </a:r>
            <a:endParaRPr kumimoji="0" lang="en-GB" sz="1800" b="0"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9ECFE3E-F5D9-DA69-FFD7-2FF5164C8FA3}"/>
              </a:ext>
            </a:extLst>
          </p:cNvPr>
          <p:cNvSpPr/>
          <p:nvPr/>
        </p:nvSpPr>
        <p:spPr>
          <a:xfrm>
            <a:off x="1520136" y="261909"/>
            <a:ext cx="8338389" cy="63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l" defTabSz="914400" rtl="0" eaLnBrk="1" fontAlgn="auto" latinLnBrk="0" hangingPunct="1">
              <a:lnSpc>
                <a:spcPts val="3240"/>
              </a:lnSpc>
              <a:spcBef>
                <a:spcPts val="0"/>
              </a:spcBef>
              <a:spcAft>
                <a:spcPts val="0"/>
              </a:spcAft>
              <a:buClrTx/>
              <a:buSzTx/>
              <a:buFontTx/>
              <a:buNone/>
              <a:tabLst/>
              <a:defRPr/>
            </a:pPr>
            <a:r>
              <a:rPr kumimoji="0" lang="es-CL" sz="2400" b="1" i="0" u="none" strike="noStrike" kern="1200" cap="none" spc="0" normalizeH="0" baseline="0" noProof="0" dirty="0">
                <a:ln>
                  <a:noFill/>
                </a:ln>
                <a:solidFill>
                  <a:srgbClr val="005EB8"/>
                </a:solidFill>
                <a:effectLst/>
                <a:uLnTx/>
                <a:uFillTx/>
                <a:latin typeface="Calibri" panose="020F0502020204030204"/>
                <a:ea typeface="+mn-ea"/>
                <a:cs typeface="+mn-cs"/>
              </a:rPr>
              <a:t>¿Cuándo se está buscando Uruguay y cuándo se piensa viajar?</a:t>
            </a:r>
            <a:endParaRPr kumimoji="0" lang="es-ES" sz="2400" b="1"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pic>
        <p:nvPicPr>
          <p:cNvPr id="7" name="Picture 2" descr="upload.wikimedia.org/wikipedia/commons/0/05/Flag_o...">
            <a:extLst>
              <a:ext uri="{FF2B5EF4-FFF2-40B4-BE49-F238E27FC236}">
                <a16:creationId xmlns:a16="http://schemas.microsoft.com/office/drawing/2014/main" id="{8EBEE0C0-8EE3-0D90-50B0-A2807E239C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472" y="362393"/>
            <a:ext cx="598375" cy="420967"/>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contenu 11">
            <a:extLst>
              <a:ext uri="{FF2B5EF4-FFF2-40B4-BE49-F238E27FC236}">
                <a16:creationId xmlns:a16="http://schemas.microsoft.com/office/drawing/2014/main" id="{E3EAF6C5-D712-36B8-3A18-17D3E8F1CA60}"/>
              </a:ext>
            </a:extLst>
          </p:cNvPr>
          <p:cNvSpPr txBox="1">
            <a:spLocks/>
          </p:cNvSpPr>
          <p:nvPr/>
        </p:nvSpPr>
        <p:spPr>
          <a:xfrm>
            <a:off x="10655160" y="1715443"/>
            <a:ext cx="1352803" cy="554447"/>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kumimoji="0" lang="en-US" sz="1400" b="1" i="0" u="none" strike="noStrike" kern="1200" cap="all" spc="0" normalizeH="0" baseline="0" noProof="0" dirty="0">
                <a:ln>
                  <a:noFill/>
                </a:ln>
                <a:solidFill>
                  <a:srgbClr val="4472C4"/>
                </a:solidFill>
                <a:effectLst/>
                <a:uLnTx/>
                <a:uFillTx/>
                <a:latin typeface="Calibri" panose="020F0502020204030204"/>
                <a:ea typeface="+mn-ea"/>
                <a:cs typeface="+mn-cs"/>
              </a:rPr>
              <a:t>ANTICIPACIÓN</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en días</a:t>
            </a:r>
          </a:p>
        </p:txBody>
      </p:sp>
      <p:sp>
        <p:nvSpPr>
          <p:cNvPr id="11" name="TextBox 10">
            <a:extLst>
              <a:ext uri="{FF2B5EF4-FFF2-40B4-BE49-F238E27FC236}">
                <a16:creationId xmlns:a16="http://schemas.microsoft.com/office/drawing/2014/main" id="{CC180F76-EE24-4075-2C3B-596D28F1E990}"/>
              </a:ext>
            </a:extLst>
          </p:cNvPr>
          <p:cNvSpPr txBox="1"/>
          <p:nvPr/>
        </p:nvSpPr>
        <p:spPr>
          <a:xfrm>
            <a:off x="11054255" y="2409439"/>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5EB8"/>
                </a:solidFill>
                <a:effectLst/>
                <a:uLnTx/>
                <a:uFillTx/>
                <a:latin typeface="Calibri" panose="020F0502020204030204"/>
                <a:ea typeface="+mn-ea"/>
                <a:cs typeface="+mn-cs"/>
              </a:rPr>
              <a:t>2022</a:t>
            </a:r>
          </a:p>
        </p:txBody>
      </p:sp>
      <p:sp>
        <p:nvSpPr>
          <p:cNvPr id="15" name="Oval 14">
            <a:extLst>
              <a:ext uri="{FF2B5EF4-FFF2-40B4-BE49-F238E27FC236}">
                <a16:creationId xmlns:a16="http://schemas.microsoft.com/office/drawing/2014/main" id="{AC91F3A2-35F7-4FD2-C889-843042EE4B08}"/>
              </a:ext>
            </a:extLst>
          </p:cNvPr>
          <p:cNvSpPr/>
          <p:nvPr/>
        </p:nvSpPr>
        <p:spPr>
          <a:xfrm>
            <a:off x="10769785" y="4385195"/>
            <a:ext cx="1238178" cy="12087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rPr>
              <a:t>81 </a:t>
            </a:r>
            <a:r>
              <a:rPr lang="en-GB" dirty="0">
                <a:solidFill>
                  <a:srgbClr val="FFFFFF"/>
                </a:solidFill>
                <a:latin typeface="Calibri" panose="020F0502020204030204"/>
              </a:rPr>
              <a:t>días</a:t>
            </a: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BD2D2648-BBC7-B2EC-F311-8F5DFC4B9236}"/>
              </a:ext>
            </a:extLst>
          </p:cNvPr>
          <p:cNvSpPr txBox="1"/>
          <p:nvPr/>
        </p:nvSpPr>
        <p:spPr>
          <a:xfrm>
            <a:off x="11067225" y="4015029"/>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5EB8"/>
                </a:solidFill>
                <a:effectLst/>
                <a:uLnTx/>
                <a:uFillTx/>
                <a:latin typeface="Calibri" panose="020F0502020204030204"/>
                <a:ea typeface="+mn-ea"/>
                <a:cs typeface="+mn-cs"/>
              </a:rPr>
              <a:t>2023</a:t>
            </a:r>
          </a:p>
        </p:txBody>
      </p:sp>
      <p:sp>
        <p:nvSpPr>
          <p:cNvPr id="17" name="Oval 16">
            <a:extLst>
              <a:ext uri="{FF2B5EF4-FFF2-40B4-BE49-F238E27FC236}">
                <a16:creationId xmlns:a16="http://schemas.microsoft.com/office/drawing/2014/main" id="{2E5510FB-7732-4AF0-6F0E-FF852F3D0C3E}"/>
              </a:ext>
            </a:extLst>
          </p:cNvPr>
          <p:cNvSpPr/>
          <p:nvPr/>
        </p:nvSpPr>
        <p:spPr>
          <a:xfrm>
            <a:off x="10748859" y="2777144"/>
            <a:ext cx="1238178" cy="12087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rPr>
              <a:t>84 </a:t>
            </a:r>
            <a:r>
              <a:rPr lang="en-GB" dirty="0">
                <a:solidFill>
                  <a:srgbClr val="FFFFFF"/>
                </a:solidFill>
                <a:latin typeface="Calibri" panose="020F0502020204030204"/>
              </a:rPr>
              <a:t>días</a:t>
            </a: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18" name="Chart 17">
            <a:extLst>
              <a:ext uri="{FF2B5EF4-FFF2-40B4-BE49-F238E27FC236}">
                <a16:creationId xmlns:a16="http://schemas.microsoft.com/office/drawing/2014/main" id="{33B886EE-6F32-D222-6841-755FC25F0316}"/>
              </a:ext>
            </a:extLst>
          </p:cNvPr>
          <p:cNvGraphicFramePr/>
          <p:nvPr>
            <p:extLst>
              <p:ext uri="{D42A27DB-BD31-4B8C-83A1-F6EECF244321}">
                <p14:modId xmlns:p14="http://schemas.microsoft.com/office/powerpoint/2010/main" val="3406919629"/>
              </p:ext>
            </p:extLst>
          </p:nvPr>
        </p:nvGraphicFramePr>
        <p:xfrm>
          <a:off x="531534" y="2498819"/>
          <a:ext cx="9428895" cy="2783143"/>
        </p:xfrm>
        <a:graphic>
          <a:graphicData uri="http://schemas.openxmlformats.org/drawingml/2006/chart">
            <c:chart xmlns:c="http://schemas.openxmlformats.org/drawingml/2006/chart" xmlns:r="http://schemas.openxmlformats.org/officeDocument/2006/relationships" r:id="rId7"/>
          </a:graphicData>
        </a:graphic>
      </p:graphicFrame>
      <p:sp>
        <p:nvSpPr>
          <p:cNvPr id="20" name="Espace réservé du contenu 11">
            <a:extLst>
              <a:ext uri="{FF2B5EF4-FFF2-40B4-BE49-F238E27FC236}">
                <a16:creationId xmlns:a16="http://schemas.microsoft.com/office/drawing/2014/main" id="{298C9718-B071-8B7A-16D4-13360A871D70}"/>
              </a:ext>
            </a:extLst>
          </p:cNvPr>
          <p:cNvSpPr txBox="1">
            <a:spLocks/>
          </p:cNvSpPr>
          <p:nvPr/>
        </p:nvSpPr>
        <p:spPr>
          <a:xfrm>
            <a:off x="80280" y="6495607"/>
            <a:ext cx="8831110" cy="317459"/>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s-CL" sz="1400" b="1" i="0" u="none" strike="noStrike" kern="1200" cap="all" spc="0" normalizeH="0" baseline="0" noProof="0" dirty="0">
                <a:ln>
                  <a:noFill/>
                </a:ln>
                <a:solidFill>
                  <a:srgbClr val="4472C4"/>
                </a:solidFill>
                <a:effectLst/>
                <a:uLnTx/>
                <a:uFillTx/>
                <a:latin typeface="Calibri" panose="020F0502020204030204"/>
                <a:ea typeface="+mn-ea"/>
                <a:cs typeface="+mn-cs"/>
              </a:rPr>
              <a:t>Búsquedas por mes de búsqueda frente a búsquedas por mes de viaje en 2022</a:t>
            </a:r>
            <a:r>
              <a:rPr kumimoji="0" lang="en-US" sz="1400" b="1" i="0" u="none" strike="noStrike" kern="1200" cap="all" spc="0" normalizeH="0" baseline="0" noProof="0" dirty="0">
                <a:ln>
                  <a:noFill/>
                </a:ln>
                <a:solidFill>
                  <a:srgbClr val="4472C4"/>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participación</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mensual</a:t>
            </a:r>
            <a:r>
              <a:rPr kumimoji="0" lang="en-US" sz="14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en %</a:t>
            </a:r>
          </a:p>
        </p:txBody>
      </p:sp>
      <p:cxnSp>
        <p:nvCxnSpPr>
          <p:cNvPr id="21" name="Straight Arrow Connector 20">
            <a:extLst>
              <a:ext uri="{FF2B5EF4-FFF2-40B4-BE49-F238E27FC236}">
                <a16:creationId xmlns:a16="http://schemas.microsoft.com/office/drawing/2014/main" id="{6CA15AA5-1F96-27E8-1585-58AB9043B323}"/>
              </a:ext>
            </a:extLst>
          </p:cNvPr>
          <p:cNvCxnSpPr>
            <a:cxnSpLocks/>
          </p:cNvCxnSpPr>
          <p:nvPr/>
        </p:nvCxnSpPr>
        <p:spPr>
          <a:xfrm>
            <a:off x="5119345" y="2408187"/>
            <a:ext cx="15100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3FC25F6-B951-3707-854B-EEEBE3B4D14B}"/>
              </a:ext>
            </a:extLst>
          </p:cNvPr>
          <p:cNvSpPr txBox="1"/>
          <p:nvPr/>
        </p:nvSpPr>
        <p:spPr>
          <a:xfrm>
            <a:off x="5047123" y="2105129"/>
            <a:ext cx="16330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rPr>
              <a:t>Meses clave para </a:t>
            </a:r>
            <a:r>
              <a:rPr kumimoji="0" lang="en-GB" sz="1200" b="0" i="0" u="none" strike="noStrike" kern="1200" cap="none" spc="0" normalizeH="0" baseline="0" noProof="0" dirty="0" err="1">
                <a:ln>
                  <a:noFill/>
                </a:ln>
                <a:solidFill>
                  <a:srgbClr val="005EB8"/>
                </a:solidFill>
                <a:effectLst/>
                <a:uLnTx/>
                <a:uFillTx/>
                <a:latin typeface="Calibri" panose="020F0502020204030204"/>
                <a:ea typeface="+mn-ea"/>
                <a:cs typeface="+mn-cs"/>
              </a:rPr>
              <a:t>viajar</a:t>
            </a:r>
            <a:endPar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AEA01394-0855-E368-09CD-5054F65FEC34}"/>
              </a:ext>
            </a:extLst>
          </p:cNvPr>
          <p:cNvCxnSpPr>
            <a:cxnSpLocks/>
          </p:cNvCxnSpPr>
          <p:nvPr/>
        </p:nvCxnSpPr>
        <p:spPr>
          <a:xfrm>
            <a:off x="8225514" y="2382477"/>
            <a:ext cx="1305678"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206155F-C0A9-3992-7A97-3890824A7A74}"/>
              </a:ext>
            </a:extLst>
          </p:cNvPr>
          <p:cNvSpPr txBox="1"/>
          <p:nvPr/>
        </p:nvSpPr>
        <p:spPr>
          <a:xfrm>
            <a:off x="8094885" y="2085774"/>
            <a:ext cx="16330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rPr>
              <a:t>Meses clave para </a:t>
            </a:r>
            <a:r>
              <a:rPr kumimoji="0" lang="en-GB" sz="1200" b="0" i="0" u="none" strike="noStrike" kern="1200" cap="none" spc="0" normalizeH="0" baseline="0" noProof="0" dirty="0" err="1">
                <a:ln>
                  <a:noFill/>
                </a:ln>
                <a:solidFill>
                  <a:srgbClr val="005EB8"/>
                </a:solidFill>
                <a:effectLst/>
                <a:uLnTx/>
                <a:uFillTx/>
                <a:latin typeface="Calibri" panose="020F0502020204030204"/>
                <a:ea typeface="+mn-ea"/>
                <a:cs typeface="+mn-cs"/>
              </a:rPr>
              <a:t>viajar</a:t>
            </a:r>
            <a:endPar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33339AEC-51D2-21D7-3530-F9FA58B2065A}"/>
              </a:ext>
            </a:extLst>
          </p:cNvPr>
          <p:cNvCxnSpPr>
            <a:cxnSpLocks/>
          </p:cNvCxnSpPr>
          <p:nvPr/>
        </p:nvCxnSpPr>
        <p:spPr>
          <a:xfrm>
            <a:off x="710991" y="2373213"/>
            <a:ext cx="122666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7518275-061B-11F8-F684-E1C4554B767C}"/>
              </a:ext>
            </a:extLst>
          </p:cNvPr>
          <p:cNvSpPr txBox="1"/>
          <p:nvPr/>
        </p:nvSpPr>
        <p:spPr>
          <a:xfrm>
            <a:off x="567060" y="2075949"/>
            <a:ext cx="16330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rPr>
              <a:t>Meses clave para </a:t>
            </a:r>
            <a:r>
              <a:rPr kumimoji="0" lang="en-GB" sz="1200" b="0" i="0" u="none" strike="noStrike" kern="1200" cap="none" spc="0" normalizeH="0" baseline="0" noProof="0" dirty="0" err="1">
                <a:ln>
                  <a:noFill/>
                </a:ln>
                <a:solidFill>
                  <a:srgbClr val="005EB8"/>
                </a:solidFill>
                <a:effectLst/>
                <a:uLnTx/>
                <a:uFillTx/>
                <a:latin typeface="Calibri" panose="020F0502020204030204"/>
                <a:ea typeface="+mn-ea"/>
                <a:cs typeface="+mn-cs"/>
              </a:rPr>
              <a:t>viajar</a:t>
            </a:r>
            <a:endParaRPr kumimoji="0" lang="en-GB" sz="1200" b="0"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cxnSp>
        <p:nvCxnSpPr>
          <p:cNvPr id="37" name="Straight Connector 36">
            <a:extLst>
              <a:ext uri="{FF2B5EF4-FFF2-40B4-BE49-F238E27FC236}">
                <a16:creationId xmlns:a16="http://schemas.microsoft.com/office/drawing/2014/main" id="{FFEF8312-C65E-C252-2CD3-3917C68CA0E9}"/>
              </a:ext>
            </a:extLst>
          </p:cNvPr>
          <p:cNvCxnSpPr>
            <a:cxnSpLocks/>
          </p:cNvCxnSpPr>
          <p:nvPr/>
        </p:nvCxnSpPr>
        <p:spPr>
          <a:xfrm flipV="1">
            <a:off x="10371806" y="2100942"/>
            <a:ext cx="0" cy="3820887"/>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531053"/>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FB318-A418-4DDE-8467-42E0FD128085}"/>
              </a:ext>
            </a:extLst>
          </p:cNvPr>
          <p:cNvSpPr>
            <a:spLocks/>
          </p:cNvSpPr>
          <p:nvPr/>
        </p:nvSpPr>
        <p:spPr bwMode="auto">
          <a:xfrm>
            <a:off x="2239585" y="3888827"/>
            <a:ext cx="65"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dirty="0">
              <a:ln>
                <a:noFill/>
              </a:ln>
              <a:solidFill>
                <a:srgbClr val="FFC000"/>
              </a:solidFill>
              <a:effectLst/>
              <a:uLnTx/>
              <a:uFillTx/>
              <a:latin typeface="Gibson" panose="02000000000000000000" pitchFamily="50" charset="0"/>
              <a:ea typeface="ＭＳ Ｐゴシック" charset="0"/>
              <a:cs typeface="ＭＳ Ｐゴシック" charset="0"/>
              <a:sym typeface="Bebas Neue" charset="0"/>
            </a:endParaRPr>
          </a:p>
        </p:txBody>
      </p:sp>
      <p:sp>
        <p:nvSpPr>
          <p:cNvPr id="2" name="Title 6">
            <a:extLst>
              <a:ext uri="{FF2B5EF4-FFF2-40B4-BE49-F238E27FC236}">
                <a16:creationId xmlns:a16="http://schemas.microsoft.com/office/drawing/2014/main" id="{1E47156E-6F9E-C3D3-117B-218B4508A0E4}"/>
              </a:ext>
            </a:extLst>
          </p:cNvPr>
          <p:cNvSpPr txBox="1">
            <a:spLocks/>
          </p:cNvSpPr>
          <p:nvPr/>
        </p:nvSpPr>
        <p:spPr>
          <a:xfrm>
            <a:off x="1643743" y="343786"/>
            <a:ext cx="9938657" cy="482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s-ES_tradnl" sz="3200" b="1" i="0" u="none" strike="noStrike" kern="1200" cap="none" spc="0" normalizeH="0" baseline="0" noProof="0" dirty="0" err="1">
                <a:ln>
                  <a:noFill/>
                </a:ln>
                <a:solidFill>
                  <a:srgbClr val="005EB8"/>
                </a:solidFill>
                <a:effectLst/>
                <a:uLnTx/>
                <a:uFillTx/>
                <a:latin typeface="Calibri" panose="020F0502020204030204"/>
                <a:ea typeface="ＭＳ Ｐゴシック" charset="-128"/>
                <a:cs typeface="+mj-cs"/>
              </a:rPr>
              <a:t>Demanda</a:t>
            </a:r>
            <a:r>
              <a:rPr kumimoji="0" lang="en-US" altLang="es-ES_tradnl" sz="3200" b="1" i="0" u="none" strike="noStrike" kern="1200" cap="none" spc="0" normalizeH="0" baseline="0" noProof="0" dirty="0">
                <a:ln>
                  <a:noFill/>
                </a:ln>
                <a:solidFill>
                  <a:srgbClr val="005EB8"/>
                </a:solidFill>
                <a:effectLst/>
                <a:uLnTx/>
                <a:uFillTx/>
                <a:latin typeface="Calibri" panose="020F0502020204030204"/>
                <a:ea typeface="ＭＳ Ｐゴシック" charset="-128"/>
                <a:cs typeface="+mj-cs"/>
              </a:rPr>
              <a:t> </a:t>
            </a:r>
            <a:r>
              <a:rPr kumimoji="0" lang="en-US" altLang="es-ES_tradnl" sz="3200" b="1" i="0" u="none" strike="noStrike" kern="1200" cap="none" spc="0" normalizeH="0" baseline="0" noProof="0" dirty="0" err="1">
                <a:ln>
                  <a:noFill/>
                </a:ln>
                <a:solidFill>
                  <a:srgbClr val="005EB8"/>
                </a:solidFill>
                <a:effectLst/>
                <a:uLnTx/>
                <a:uFillTx/>
                <a:latin typeface="Calibri" panose="020F0502020204030204"/>
                <a:ea typeface="ＭＳ Ｐゴシック" charset="-128"/>
                <a:cs typeface="+mj-cs"/>
              </a:rPr>
              <a:t>potencial</a:t>
            </a:r>
            <a:r>
              <a:rPr kumimoji="0" lang="en-US" altLang="es-ES_tradnl" sz="3200" b="1" i="0" u="none" strike="noStrike" kern="1200" cap="none" spc="0" normalizeH="0" baseline="0" noProof="0" dirty="0">
                <a:ln>
                  <a:noFill/>
                </a:ln>
                <a:solidFill>
                  <a:srgbClr val="005EB8"/>
                </a:solidFill>
                <a:effectLst/>
                <a:uLnTx/>
                <a:uFillTx/>
                <a:latin typeface="Calibri" panose="020F0502020204030204"/>
                <a:ea typeface="ＭＳ Ｐゴシック" charset="-128"/>
                <a:cs typeface="+mj-cs"/>
              </a:rPr>
              <a:t> para Uruguay </a:t>
            </a:r>
            <a:r>
              <a:rPr kumimoji="0" lang="en-US" altLang="es-ES_tradnl" sz="3200" b="1" i="0" u="none" strike="noStrike" kern="1200" cap="none" spc="0" normalizeH="0" baseline="0" noProof="0" dirty="0" err="1">
                <a:ln>
                  <a:noFill/>
                </a:ln>
                <a:solidFill>
                  <a:srgbClr val="005EB8"/>
                </a:solidFill>
                <a:effectLst/>
                <a:uLnTx/>
                <a:uFillTx/>
                <a:latin typeface="Calibri" panose="020F0502020204030204"/>
                <a:ea typeface="ＭＳ Ｐゴシック" charset="-128"/>
                <a:cs typeface="+mj-cs"/>
              </a:rPr>
              <a:t>durante</a:t>
            </a:r>
            <a:r>
              <a:rPr kumimoji="0" lang="en-US" altLang="es-ES_tradnl" sz="3200" b="1" i="0" u="none" strike="noStrike" kern="1200" cap="none" spc="0" normalizeH="0" baseline="0" noProof="0" dirty="0">
                <a:ln>
                  <a:noFill/>
                </a:ln>
                <a:solidFill>
                  <a:srgbClr val="005EB8"/>
                </a:solidFill>
                <a:effectLst/>
                <a:uLnTx/>
                <a:uFillTx/>
                <a:latin typeface="Calibri" panose="020F0502020204030204"/>
                <a:ea typeface="ＭＳ Ｐゴシック" charset="-128"/>
                <a:cs typeface="+mj-cs"/>
              </a:rPr>
              <a:t> 2023</a:t>
            </a:r>
          </a:p>
        </p:txBody>
      </p:sp>
      <p:sp>
        <p:nvSpPr>
          <p:cNvPr id="18" name="New shape">
            <a:extLst>
              <a:ext uri="{FF2B5EF4-FFF2-40B4-BE49-F238E27FC236}">
                <a16:creationId xmlns:a16="http://schemas.microsoft.com/office/drawing/2014/main" id="{C4314AC8-249E-B7FB-F139-B324A9D5F078}"/>
              </a:ext>
            </a:extLst>
          </p:cNvPr>
          <p:cNvSpPr/>
          <p:nvPr/>
        </p:nvSpPr>
        <p:spPr>
          <a:xfrm>
            <a:off x="7784386" y="6549166"/>
            <a:ext cx="4230143" cy="27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Fuente de datos: Amadeus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Search</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s-CL" sz="9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nalytics</a:t>
            </a:r>
            <a:r>
              <a:rPr kumimoji="0" lang="es-CL" sz="9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 Datos al 20 de septiembre de 2023</a:t>
            </a:r>
            <a:endParaRPr kumimoji="0" lang="en-US" sz="900" b="0" i="0" u="none" strike="noStrike" kern="1200" cap="none" spc="0" normalizeH="0" baseline="0" noProof="0" dirty="0">
              <a:ln>
                <a:noFill/>
              </a:ln>
              <a:solidFill>
                <a:srgbClr val="005EB8"/>
              </a:solidFill>
              <a:effectLst/>
              <a:uLnTx/>
              <a:uFillTx/>
              <a:latin typeface="Calibri Light" panose="020F0302020204030204" pitchFamily="34" charset="0"/>
              <a:ea typeface="+mn-ea"/>
              <a:cs typeface="Calibri" panose="020F0502020204030204" pitchFamily="34" charset="0"/>
            </a:endParaRPr>
          </a:p>
        </p:txBody>
      </p:sp>
      <p:sp>
        <p:nvSpPr>
          <p:cNvPr id="11" name="Espace réservé du contenu 11">
            <a:extLst>
              <a:ext uri="{FF2B5EF4-FFF2-40B4-BE49-F238E27FC236}">
                <a16:creationId xmlns:a16="http://schemas.microsoft.com/office/drawing/2014/main" id="{5D1544C3-1791-BE57-CBA9-CA8773C6FDE5}"/>
              </a:ext>
            </a:extLst>
          </p:cNvPr>
          <p:cNvSpPr txBox="1">
            <a:spLocks/>
          </p:cNvSpPr>
          <p:nvPr/>
        </p:nvSpPr>
        <p:spPr>
          <a:xfrm>
            <a:off x="1222163" y="1284121"/>
            <a:ext cx="3494313" cy="285335"/>
          </a:xfrm>
          <a:prstGeom prst="rect">
            <a:avLst/>
          </a:prstGeom>
        </p:spPr>
        <p:txBody>
          <a:bodyPr vert="horz" wrap="square" lIns="91440" tIns="45720" rIns="91440" bIns="45720" rtlCol="0">
            <a:spAutoFit/>
          </a:bodyPr>
          <a:lstStyle>
            <a:lvl1pPr marL="0" indent="0" algn="l" defTabSz="914400" rtl="0" eaLnBrk="1" latinLnBrk="0" hangingPunct="1">
              <a:lnSpc>
                <a:spcPct val="110000"/>
              </a:lnSpc>
              <a:spcBef>
                <a:spcPts val="0"/>
              </a:spcBef>
              <a:buFontTx/>
              <a:buNone/>
              <a:defRPr sz="1100" b="0" kern="1200" cap="none" baseline="0">
                <a:solidFill>
                  <a:srgbClr val="031F73"/>
                </a:solidFill>
                <a:latin typeface="+mn-lt"/>
                <a:ea typeface="+mn-ea"/>
                <a:cs typeface="+mn-cs"/>
              </a:defRPr>
            </a:lvl1pPr>
            <a:lvl2pPr marL="88900" indent="-88900" algn="l" defTabSz="914400" rtl="0" eaLnBrk="1" latinLnBrk="0" hangingPunct="1">
              <a:lnSpc>
                <a:spcPct val="120000"/>
              </a:lnSpc>
              <a:spcBef>
                <a:spcPts val="1400"/>
              </a:spcBef>
              <a:buClr>
                <a:srgbClr val="C84118"/>
              </a:buClr>
              <a:buFont typeface="Arial" panose="020B0604020202020204" pitchFamily="34" charset="0"/>
              <a:buChar char="•"/>
              <a:defRPr sz="1100" b="1" kern="1200">
                <a:solidFill>
                  <a:srgbClr val="031F73"/>
                </a:solidFill>
                <a:latin typeface="+mn-lt"/>
                <a:ea typeface="+mn-ea"/>
                <a:cs typeface="+mn-cs"/>
              </a:defRPr>
            </a:lvl2pPr>
            <a:lvl3pPr marL="177800" indent="-80963" algn="l" defTabSz="914400" rtl="0" eaLnBrk="1" latinLnBrk="0" hangingPunct="1">
              <a:lnSpc>
                <a:spcPct val="110000"/>
              </a:lnSpc>
              <a:spcBef>
                <a:spcPts val="0"/>
              </a:spcBef>
              <a:buFont typeface="Arial" panose="020B0604020202020204" pitchFamily="34" charset="0"/>
              <a:buChar char="•"/>
              <a:defRPr sz="1050" kern="1200">
                <a:solidFill>
                  <a:srgbClr val="031F73"/>
                </a:solidFill>
                <a:latin typeface="+mn-lt"/>
                <a:ea typeface="+mn-ea"/>
                <a:cs typeface="+mn-cs"/>
              </a:defRPr>
            </a:lvl3pPr>
            <a:lvl4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4pPr>
            <a:lvl5pPr marL="177800" indent="0" algn="l" defTabSz="914400" rtl="0" eaLnBrk="1" latinLnBrk="0" hangingPunct="1">
              <a:lnSpc>
                <a:spcPct val="110000"/>
              </a:lnSpc>
              <a:spcBef>
                <a:spcPts val="0"/>
              </a:spcBef>
              <a:buFontTx/>
              <a:buNone/>
              <a:defRPr sz="1000" kern="1200">
                <a:solidFill>
                  <a:srgbClr val="031F7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1200"/>
              </a:spcAft>
              <a:buClrTx/>
              <a:buSzTx/>
              <a:buFontTx/>
              <a:buNone/>
              <a:tabLst/>
              <a:defRPr/>
            </a:pPr>
            <a:r>
              <a:rPr kumimoji="0" lang="en-US" sz="1200" b="1" i="0" u="none" strike="noStrike" kern="1200" cap="all" spc="0" normalizeH="0" baseline="0" noProof="0" dirty="0" err="1">
                <a:ln>
                  <a:noFill/>
                </a:ln>
                <a:solidFill>
                  <a:srgbClr val="4472C4"/>
                </a:solidFill>
                <a:effectLst/>
                <a:uLnTx/>
                <a:uFillTx/>
                <a:latin typeface="Calibri" panose="020F0502020204030204"/>
                <a:ea typeface="+mn-ea"/>
                <a:cs typeface="+mn-cs"/>
              </a:rPr>
              <a:t>ciudades</a:t>
            </a:r>
            <a:r>
              <a:rPr kumimoji="0" lang="en-US" sz="1200" b="1" i="0" u="none" strike="noStrike" kern="1200" cap="all" spc="0" normalizeH="0" baseline="0" noProof="0" dirty="0">
                <a:ln>
                  <a:noFill/>
                </a:ln>
                <a:solidFill>
                  <a:srgbClr val="4472C4"/>
                </a:solidFill>
                <a:effectLst/>
                <a:uLnTx/>
                <a:uFillTx/>
                <a:latin typeface="Calibri" panose="020F0502020204030204"/>
                <a:ea typeface="+mn-ea"/>
                <a:cs typeface="+mn-cs"/>
              </a:rPr>
              <a:t> con mayor </a:t>
            </a:r>
            <a:r>
              <a:rPr kumimoji="0" lang="en-US" sz="1200" b="1" i="0" u="none" strike="noStrike" kern="1200" cap="all" spc="0" normalizeH="0" baseline="0" noProof="0" dirty="0" err="1">
                <a:ln>
                  <a:noFill/>
                </a:ln>
                <a:solidFill>
                  <a:srgbClr val="4472C4"/>
                </a:solidFill>
                <a:effectLst/>
                <a:uLnTx/>
                <a:uFillTx/>
                <a:latin typeface="Calibri" panose="020F0502020204030204"/>
                <a:ea typeface="+mn-ea"/>
                <a:cs typeface="+mn-cs"/>
              </a:rPr>
              <a:t>intención</a:t>
            </a:r>
            <a:r>
              <a:rPr kumimoji="0" lang="en-US" sz="1200" b="1" i="0" u="none" strike="noStrike" kern="1200" cap="all" spc="0" normalizeH="0" baseline="0" noProof="0" dirty="0">
                <a:ln>
                  <a:noFill/>
                </a:ln>
                <a:solidFill>
                  <a:srgbClr val="4472C4"/>
                </a:solidFill>
                <a:effectLst/>
                <a:uLnTx/>
                <a:uFillTx/>
                <a:latin typeface="Calibri" panose="020F0502020204030204"/>
                <a:ea typeface="+mn-ea"/>
                <a:cs typeface="+mn-cs"/>
              </a:rPr>
              <a:t> de </a:t>
            </a:r>
            <a:r>
              <a:rPr kumimoji="0" lang="en-US" sz="1200" b="1" i="0" u="none" strike="noStrike" kern="1200" cap="all" spc="0" normalizeH="0" baseline="0" noProof="0" dirty="0" err="1">
                <a:ln>
                  <a:noFill/>
                </a:ln>
                <a:solidFill>
                  <a:srgbClr val="4472C4"/>
                </a:solidFill>
                <a:effectLst/>
                <a:uLnTx/>
                <a:uFillTx/>
                <a:latin typeface="Calibri" panose="020F0502020204030204"/>
                <a:ea typeface="+mn-ea"/>
                <a:cs typeface="+mn-cs"/>
              </a:rPr>
              <a:t>viaje</a:t>
            </a:r>
            <a:endParaRPr kumimoji="0" lang="en-US" sz="12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graphicFrame>
        <p:nvGraphicFramePr>
          <p:cNvPr id="7" name="Table 26">
            <a:extLst>
              <a:ext uri="{FF2B5EF4-FFF2-40B4-BE49-F238E27FC236}">
                <a16:creationId xmlns:a16="http://schemas.microsoft.com/office/drawing/2014/main" id="{FE4C48D9-1F7F-B669-9828-F61C36DC07EB}"/>
              </a:ext>
            </a:extLst>
          </p:cNvPr>
          <p:cNvGraphicFramePr>
            <a:graphicFrameLocks noGrp="1"/>
          </p:cNvGraphicFramePr>
          <p:nvPr>
            <p:extLst>
              <p:ext uri="{D42A27DB-BD31-4B8C-83A1-F6EECF244321}">
                <p14:modId xmlns:p14="http://schemas.microsoft.com/office/powerpoint/2010/main" val="2945494838"/>
              </p:ext>
            </p:extLst>
          </p:nvPr>
        </p:nvGraphicFramePr>
        <p:xfrm>
          <a:off x="1222163" y="1569456"/>
          <a:ext cx="3494313" cy="5065492"/>
        </p:xfrm>
        <a:graphic>
          <a:graphicData uri="http://schemas.openxmlformats.org/drawingml/2006/table">
            <a:tbl>
              <a:tblPr firstRow="1" bandRow="1"/>
              <a:tblGrid>
                <a:gridCol w="1164771">
                  <a:extLst>
                    <a:ext uri="{9D8B030D-6E8A-4147-A177-3AD203B41FA5}">
                      <a16:colId xmlns:a16="http://schemas.microsoft.com/office/drawing/2014/main" val="1150457880"/>
                    </a:ext>
                  </a:extLst>
                </a:gridCol>
                <a:gridCol w="1164771">
                  <a:extLst>
                    <a:ext uri="{9D8B030D-6E8A-4147-A177-3AD203B41FA5}">
                      <a16:colId xmlns:a16="http://schemas.microsoft.com/office/drawing/2014/main" val="2555060522"/>
                    </a:ext>
                  </a:extLst>
                </a:gridCol>
                <a:gridCol w="1164771">
                  <a:extLst>
                    <a:ext uri="{9D8B030D-6E8A-4147-A177-3AD203B41FA5}">
                      <a16:colId xmlns:a16="http://schemas.microsoft.com/office/drawing/2014/main" val="2462893069"/>
                    </a:ext>
                  </a:extLst>
                </a:gridCol>
              </a:tblGrid>
              <a:tr h="347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Paí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b="0" dirty="0">
                          <a:solidFill>
                            <a:schemeClr val="tx1"/>
                          </a:solidFill>
                        </a:rPr>
                        <a:t>Cuota</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BCAEC"/>
                    </a:solidFill>
                  </a:tcPr>
                </a:tc>
                <a:tc>
                  <a:txBody>
                    <a:bodyPr/>
                    <a:lstStyle/>
                    <a:p>
                      <a:pPr algn="ctr"/>
                      <a:r>
                        <a:rPr lang="de-DE" sz="1400" b="0" dirty="0">
                          <a:solidFill>
                            <a:schemeClr val="tx1"/>
                          </a:solidFill>
                        </a:rPr>
                        <a:t>YoY</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solidFill>
                  </a:tcPr>
                </a:tc>
                <a:extLst>
                  <a:ext uri="{0D108BD9-81ED-4DB2-BD59-A6C34878D82A}">
                    <a16:rowId xmlns:a16="http://schemas.microsoft.com/office/drawing/2014/main" val="410079796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Sao Paulo</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5,3%</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8,7%</a:t>
                      </a:r>
                      <a:endParaRPr lang="de-DE" sz="1400" b="0" i="0" u="none" strike="noStrike" dirty="0">
                        <a:solidFill>
                          <a:srgbClr val="000000"/>
                        </a:solidFill>
                        <a:effectLst/>
                        <a:latin typeface="Calibri" panose="020F0502020204030204" pitchFamily="34" charset="0"/>
                      </a:endParaRPr>
                    </a:p>
                  </a:txBody>
                  <a:tcPr marL="9525" marR="9525" marT="9525" marB="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67479300"/>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io de Janeiro</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12,6%</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8,7%</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20000"/>
                      </a:srgbClr>
                    </a:solidFill>
                  </a:tcPr>
                </a:tc>
                <a:extLst>
                  <a:ext uri="{0D108BD9-81ED-4DB2-BD59-A6C34878D82A}">
                    <a16:rowId xmlns:a16="http://schemas.microsoft.com/office/drawing/2014/main" val="226717969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Porto Alegre</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8,1%</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36%</a:t>
                      </a:r>
                    </a:p>
                  </a:txBody>
                  <a:tcPr marL="9525" marR="9525" marT="9525"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191712358"/>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elo Horizonte</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5,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38%</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429415581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Recife</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6,2%</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56859399"/>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Florianopolis</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4,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32%</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86857042"/>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Brasili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15%</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3421331254"/>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Curitib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55%</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916360107"/>
                  </a:ext>
                </a:extLst>
              </a:tr>
              <a:tr h="4289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0" i="0" u="none" strike="noStrike" dirty="0">
                          <a:solidFill>
                            <a:srgbClr val="000000"/>
                          </a:solidFill>
                          <a:effectLst/>
                          <a:latin typeface="Calibri" panose="020F0502020204030204" pitchFamily="34" charset="0"/>
                        </a:rPr>
                        <a:t>Fortaleza</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de-DE" sz="1400" b="1" i="0" u="none" strike="noStrike" dirty="0">
                          <a:solidFill>
                            <a:srgbClr val="000000"/>
                          </a:solidFill>
                          <a:effectLst/>
                          <a:latin typeface="Calibri" panose="020F0502020204030204" pitchFamily="34" charset="0"/>
                        </a:rPr>
                        <a:t>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23%</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2897165257"/>
                  </a:ext>
                </a:extLst>
              </a:tr>
              <a:tr h="428949">
                <a:tc>
                  <a:txBody>
                    <a:bodyPr/>
                    <a:lstStyle/>
                    <a:p>
                      <a:pPr algn="ctr" fontAlgn="b"/>
                      <a:r>
                        <a:rPr lang="de-DE" sz="1400" b="0" i="0" u="none" strike="noStrike" dirty="0">
                          <a:solidFill>
                            <a:srgbClr val="000000"/>
                          </a:solidFill>
                          <a:effectLst/>
                          <a:latin typeface="Calibri" panose="020F0502020204030204" pitchFamily="34" charset="0"/>
                        </a:rPr>
                        <a:t>Salvador</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rgbClr val="000000"/>
                          </a:solidFill>
                          <a:effectLst/>
                          <a:latin typeface="Calibri" panose="020F0502020204030204" pitchFamily="34" charset="0"/>
                        </a:rPr>
                        <a:t>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rgbClr val="FF0000"/>
                          </a:solidFill>
                          <a:effectLst/>
                          <a:latin typeface="Calibri" panose="020F0502020204030204" pitchFamily="34" charset="0"/>
                        </a:rPr>
                        <a:t>↓ 38%</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714395543"/>
                  </a:ext>
                </a:extLst>
              </a:tr>
              <a:tr h="428949">
                <a:tc>
                  <a:txBody>
                    <a:bodyPr/>
                    <a:lstStyle/>
                    <a:p>
                      <a:pPr algn="ctr" fontAlgn="b"/>
                      <a:r>
                        <a:rPr lang="de-DE" sz="1400" b="0" i="0" u="none" strike="noStrike" dirty="0">
                          <a:solidFill>
                            <a:srgbClr val="000000"/>
                          </a:solidFill>
                          <a:effectLst/>
                          <a:latin typeface="Calibri" panose="020F0502020204030204" pitchFamily="34" charset="0"/>
                        </a:rPr>
                        <a:t>Foz do Iguacu</a:t>
                      </a:r>
                    </a:p>
                  </a:txBody>
                  <a:tcPr marL="9525" marR="9525" marT="9525"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algn="ctr" fontAlgn="b"/>
                      <a:r>
                        <a:rPr lang="de-DE" sz="1400" b="1" i="0" u="none" strike="noStrike" dirty="0">
                          <a:solidFill>
                            <a:srgbClr val="000000"/>
                          </a:solidFill>
                          <a:effectLst/>
                          <a:latin typeface="Calibri" panose="020F0502020204030204" pitchFamily="34" charset="0"/>
                        </a:rPr>
                        <a:t>1,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400" b="1" i="0" u="none" strike="noStrike" dirty="0">
                          <a:solidFill>
                            <a:schemeClr val="accent6"/>
                          </a:solidFill>
                          <a:effectLst/>
                          <a:latin typeface="Calibri" panose="020F0502020204030204" pitchFamily="34" charset="0"/>
                        </a:rPr>
                        <a:t>↑ 49%</a:t>
                      </a:r>
                      <a:endParaRPr lang="de-DE"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BCAEC">
                        <a:tint val="40000"/>
                      </a:srgbClr>
                    </a:solidFill>
                  </a:tcPr>
                </a:tc>
                <a:extLst>
                  <a:ext uri="{0D108BD9-81ED-4DB2-BD59-A6C34878D82A}">
                    <a16:rowId xmlns:a16="http://schemas.microsoft.com/office/drawing/2014/main" val="1797780778"/>
                  </a:ext>
                </a:extLst>
              </a:tr>
            </a:tbl>
          </a:graphicData>
        </a:graphic>
      </p:graphicFrame>
      <p:pic>
        <p:nvPicPr>
          <p:cNvPr id="8" name="Picture 7" descr="A graph of different colored bars&#10;&#10;Description automatically generated">
            <a:extLst>
              <a:ext uri="{FF2B5EF4-FFF2-40B4-BE49-F238E27FC236}">
                <a16:creationId xmlns:a16="http://schemas.microsoft.com/office/drawing/2014/main" id="{09BF20A6-7839-C865-12EA-0C8AE01E947F}"/>
              </a:ext>
            </a:extLst>
          </p:cNvPr>
          <p:cNvPicPr>
            <a:picLocks noChangeAspect="1"/>
          </p:cNvPicPr>
          <p:nvPr/>
        </p:nvPicPr>
        <p:blipFill rotWithShape="1">
          <a:blip r:embed="rId3">
            <a:extLst>
              <a:ext uri="{28A0092B-C50C-407E-A947-70E740481C1C}">
                <a14:useLocalDpi xmlns:a14="http://schemas.microsoft.com/office/drawing/2010/main" val="0"/>
              </a:ext>
            </a:extLst>
          </a:blip>
          <a:srcRect l="24070" t="18254" r="16586" b="8095"/>
          <a:stretch/>
        </p:blipFill>
        <p:spPr>
          <a:xfrm>
            <a:off x="5885872" y="1513690"/>
            <a:ext cx="6128657" cy="5050972"/>
          </a:xfrm>
          <a:prstGeom prst="rect">
            <a:avLst/>
          </a:prstGeom>
          <a:ln>
            <a:solidFill>
              <a:schemeClr val="accent1"/>
            </a:solidFill>
          </a:ln>
        </p:spPr>
      </p:pic>
      <p:pic>
        <p:nvPicPr>
          <p:cNvPr id="13" name="Picture 2" descr="upload.wikimedia.org/wikipedia/commons/0/05/Flag_o...">
            <a:extLst>
              <a:ext uri="{FF2B5EF4-FFF2-40B4-BE49-F238E27FC236}">
                <a16:creationId xmlns:a16="http://schemas.microsoft.com/office/drawing/2014/main" id="{A3886C91-70D1-F459-B2B6-C78BE5608A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386" y="362393"/>
            <a:ext cx="598375" cy="42096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B39B5B2-E1AC-19C2-E743-91A547AB640A}"/>
              </a:ext>
            </a:extLst>
          </p:cNvPr>
          <p:cNvSpPr txBox="1"/>
          <p:nvPr/>
        </p:nvSpPr>
        <p:spPr>
          <a:xfrm>
            <a:off x="605201" y="772811"/>
            <a:ext cx="69127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srgbClr val="005EB8"/>
                </a:solidFill>
                <a:effectLst/>
                <a:uLnTx/>
                <a:uFillTx/>
                <a:latin typeface="Calibri" panose="020F0502020204030204"/>
                <a:ea typeface="+mn-ea"/>
                <a:cs typeface="+mn-cs"/>
              </a:rPr>
              <a:t>Brasil</a:t>
            </a:r>
            <a:endParaRPr kumimoji="0" lang="en-GB" sz="1800" b="0" i="0" u="none" strike="noStrike" kern="1200" cap="none" spc="0" normalizeH="0" baseline="0" noProof="0" dirty="0">
              <a:ln>
                <a:noFill/>
              </a:ln>
              <a:solidFill>
                <a:srgbClr val="005EB8"/>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47835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 up of a green field&#10;&#10;Description automatically generated">
            <a:extLst>
              <a:ext uri="{FF2B5EF4-FFF2-40B4-BE49-F238E27FC236}">
                <a16:creationId xmlns:a16="http://schemas.microsoft.com/office/drawing/2014/main" id="{76F9A091-879B-82A0-5035-7724E28A73B8}"/>
              </a:ext>
            </a:extLst>
          </p:cNvPr>
          <p:cNvPicPr>
            <a:picLocks noChangeAspect="1"/>
          </p:cNvPicPr>
          <p:nvPr/>
        </p:nvPicPr>
        <p:blipFill rotWithShape="1">
          <a:blip r:embed="rId3"/>
          <a:srcRect t="54486" b="8950"/>
          <a:stretch/>
        </p:blipFill>
        <p:spPr>
          <a:xfrm>
            <a:off x="0" y="0"/>
            <a:ext cx="12192000" cy="6858000"/>
          </a:xfrm>
          <a:prstGeom prst="rect">
            <a:avLst/>
          </a:prstGeom>
        </p:spPr>
      </p:pic>
      <p:pic>
        <p:nvPicPr>
          <p:cNvPr id="35" name="Picture 34" descr="A picture containing person, man, sitting, photo&#10;&#10;Description automatically generated">
            <a:extLst>
              <a:ext uri="{FF2B5EF4-FFF2-40B4-BE49-F238E27FC236}">
                <a16:creationId xmlns:a16="http://schemas.microsoft.com/office/drawing/2014/main" id="{75552CDA-9289-5A43-8FC8-7132B7EB4FDB}"/>
              </a:ext>
            </a:extLst>
          </p:cNvPr>
          <p:cNvPicPr>
            <a:picLocks noChangeAspect="1"/>
          </p:cNvPicPr>
          <p:nvPr/>
        </p:nvPicPr>
        <p:blipFill>
          <a:blip r:embed="rId4"/>
          <a:stretch>
            <a:fillRect/>
          </a:stretch>
        </p:blipFill>
        <p:spPr>
          <a:xfrm>
            <a:off x="563100" y="343879"/>
            <a:ext cx="1520140" cy="1520140"/>
          </a:xfrm>
          <a:prstGeom prst="rect">
            <a:avLst/>
          </a:prstGeom>
        </p:spPr>
      </p:pic>
      <p:sp>
        <p:nvSpPr>
          <p:cNvPr id="31" name="Title 3">
            <a:extLst>
              <a:ext uri="{FF2B5EF4-FFF2-40B4-BE49-F238E27FC236}">
                <a16:creationId xmlns:a16="http://schemas.microsoft.com/office/drawing/2014/main" id="{DC16B9FA-CC1B-E94E-A2B9-FA5C513926C0}"/>
              </a:ext>
            </a:extLst>
          </p:cNvPr>
          <p:cNvSpPr txBox="1">
            <a:spLocks/>
          </p:cNvSpPr>
          <p:nvPr/>
        </p:nvSpPr>
        <p:spPr>
          <a:xfrm>
            <a:off x="2199278" y="836120"/>
            <a:ext cx="9267498"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3200" b="0" i="0" u="none" strike="noStrike" kern="1200" cap="none" spc="0" normalizeH="0" baseline="0" noProof="0" dirty="0">
                <a:ln>
                  <a:noFill/>
                </a:ln>
                <a:solidFill>
                  <a:srgbClr val="005EB8"/>
                </a:solidFill>
                <a:effectLst/>
                <a:uLnTx/>
                <a:uFillTx/>
                <a:latin typeface="Gibson Light" panose="02000000000000000000" pitchFamily="2" charset="77"/>
                <a:ea typeface="+mj-ea"/>
                <a:cs typeface="+mj-cs"/>
              </a:rPr>
              <a:t>Diseñar</a:t>
            </a:r>
          </a:p>
        </p:txBody>
      </p:sp>
      <p:cxnSp>
        <p:nvCxnSpPr>
          <p:cNvPr id="4" name="Straight Connector 3">
            <a:extLst>
              <a:ext uri="{FF2B5EF4-FFF2-40B4-BE49-F238E27FC236}">
                <a16:creationId xmlns:a16="http://schemas.microsoft.com/office/drawing/2014/main" id="{E46B9588-E47D-A04D-8F9C-C5900C5228E7}"/>
              </a:ext>
            </a:extLst>
          </p:cNvPr>
          <p:cNvCxnSpPr>
            <a:cxnSpLocks/>
          </p:cNvCxnSpPr>
          <p:nvPr/>
        </p:nvCxnSpPr>
        <p:spPr>
          <a:xfrm>
            <a:off x="2258195" y="1374497"/>
            <a:ext cx="926749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itle 3">
            <a:extLst>
              <a:ext uri="{FF2B5EF4-FFF2-40B4-BE49-F238E27FC236}">
                <a16:creationId xmlns:a16="http://schemas.microsoft.com/office/drawing/2014/main" id="{0DA1BD79-20B4-1B47-8433-A81872468CF2}"/>
              </a:ext>
            </a:extLst>
          </p:cNvPr>
          <p:cNvSpPr txBox="1">
            <a:spLocks/>
          </p:cNvSpPr>
          <p:nvPr/>
        </p:nvSpPr>
        <p:spPr>
          <a:xfrm rot="18000000">
            <a:off x="224477" y="-3338048"/>
            <a:ext cx="2308928"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Social</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media</a:t>
            </a:r>
            <a:endPar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endParaRPr>
          </a:p>
        </p:txBody>
      </p:sp>
      <p:sp>
        <p:nvSpPr>
          <p:cNvPr id="16" name="Title 3">
            <a:extLst>
              <a:ext uri="{FF2B5EF4-FFF2-40B4-BE49-F238E27FC236}">
                <a16:creationId xmlns:a16="http://schemas.microsoft.com/office/drawing/2014/main" id="{67C16099-5046-734F-84FB-EB16C7E733E5}"/>
              </a:ext>
            </a:extLst>
          </p:cNvPr>
          <p:cNvSpPr txBox="1">
            <a:spLocks/>
          </p:cNvSpPr>
          <p:nvPr/>
        </p:nvSpPr>
        <p:spPr>
          <a:xfrm rot="18000000">
            <a:off x="2006967" y="-3954322"/>
            <a:ext cx="3732152"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Travel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media</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mp;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blogs</a:t>
            </a:r>
            <a:endPar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endParaRPr>
          </a:p>
        </p:txBody>
      </p:sp>
      <p:sp>
        <p:nvSpPr>
          <p:cNvPr id="18" name="Title 3">
            <a:extLst>
              <a:ext uri="{FF2B5EF4-FFF2-40B4-BE49-F238E27FC236}">
                <a16:creationId xmlns:a16="http://schemas.microsoft.com/office/drawing/2014/main" id="{EA92D6F5-72DD-9840-B613-E57E2C61CD7F}"/>
              </a:ext>
            </a:extLst>
          </p:cNvPr>
          <p:cNvSpPr txBox="1">
            <a:spLocks/>
          </p:cNvSpPr>
          <p:nvPr/>
        </p:nvSpPr>
        <p:spPr>
          <a:xfrm rot="18000000">
            <a:off x="4067146" y="-3739172"/>
            <a:ext cx="3098871"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Online Travel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Agencies</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mp;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meta</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searches</a:t>
            </a:r>
            <a:endPar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endParaRPr>
          </a:p>
        </p:txBody>
      </p:sp>
      <p:sp>
        <p:nvSpPr>
          <p:cNvPr id="20" name="Title 3">
            <a:extLst>
              <a:ext uri="{FF2B5EF4-FFF2-40B4-BE49-F238E27FC236}">
                <a16:creationId xmlns:a16="http://schemas.microsoft.com/office/drawing/2014/main" id="{372C2FCB-7023-AE40-AF93-9C1647F63DAE}"/>
              </a:ext>
            </a:extLst>
          </p:cNvPr>
          <p:cNvSpPr txBox="1">
            <a:spLocks/>
          </p:cNvSpPr>
          <p:nvPr/>
        </p:nvSpPr>
        <p:spPr>
          <a:xfrm rot="18000000">
            <a:off x="6259103" y="-3609715"/>
            <a:ext cx="3098871" cy="2972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Offline Travel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Agencies</a:t>
            </a:r>
            <a:endPar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endParaRPr>
          </a:p>
        </p:txBody>
      </p:sp>
      <p:sp>
        <p:nvSpPr>
          <p:cNvPr id="22" name="Title 3">
            <a:extLst>
              <a:ext uri="{FF2B5EF4-FFF2-40B4-BE49-F238E27FC236}">
                <a16:creationId xmlns:a16="http://schemas.microsoft.com/office/drawing/2014/main" id="{6756A261-D5B9-DC4A-90DB-DB072B656A0A}"/>
              </a:ext>
            </a:extLst>
          </p:cNvPr>
          <p:cNvSpPr txBox="1">
            <a:spLocks/>
          </p:cNvSpPr>
          <p:nvPr/>
        </p:nvSpPr>
        <p:spPr>
          <a:xfrm rot="18000000">
            <a:off x="8329789" y="-3609714"/>
            <a:ext cx="3098871" cy="2972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Traveler</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t>
            </a:r>
            <a:r>
              <a:rPr kumimoji="0" lang="de-DE" sz="2400" b="0" i="0" u="none" strike="noStrike" kern="1200" cap="none" spc="0" normalizeH="0" baseline="0" noProof="0" err="1">
                <a:ln>
                  <a:noFill/>
                </a:ln>
                <a:solidFill>
                  <a:srgbClr val="FFFFFF"/>
                </a:solidFill>
                <a:effectLst/>
                <a:uLnTx/>
                <a:uFillTx/>
                <a:latin typeface="Gibson Light" panose="02000000000000000000" pitchFamily="2" charset="77"/>
                <a:ea typeface="+mj-ea"/>
                <a:cs typeface="+mj-cs"/>
              </a:rPr>
              <a:t>Docs</a:t>
            </a:r>
            <a:r>
              <a:rPr kumimoji="0" lang="de-DE" sz="24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 &amp; Apps</a:t>
            </a:r>
          </a:p>
        </p:txBody>
      </p:sp>
      <p:sp>
        <p:nvSpPr>
          <p:cNvPr id="23" name="Title 3">
            <a:extLst>
              <a:ext uri="{FF2B5EF4-FFF2-40B4-BE49-F238E27FC236}">
                <a16:creationId xmlns:a16="http://schemas.microsoft.com/office/drawing/2014/main" id="{6918D9B0-0EAB-7543-8C92-239C92C22064}"/>
              </a:ext>
            </a:extLst>
          </p:cNvPr>
          <p:cNvSpPr txBox="1">
            <a:spLocks/>
          </p:cNvSpPr>
          <p:nvPr/>
        </p:nvSpPr>
        <p:spPr>
          <a:xfrm>
            <a:off x="1644847" y="3039150"/>
            <a:ext cx="2691644"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dirty="0">
                <a:ln>
                  <a:noFill/>
                </a:ln>
                <a:solidFill>
                  <a:srgbClr val="5B5C5E"/>
                </a:solidFill>
                <a:effectLst/>
                <a:uLnTx/>
                <a:uFillTx/>
                <a:latin typeface="Gibson Light" panose="02000000000000000000" pitchFamily="2" charset="77"/>
                <a:ea typeface="+mj-ea"/>
                <a:cs typeface="+mj-cs"/>
              </a:rPr>
              <a:t>Social media</a:t>
            </a:r>
          </a:p>
        </p:txBody>
      </p:sp>
      <p:pic>
        <p:nvPicPr>
          <p:cNvPr id="9" name="Picture 8" descr="A close up of a logo&#10;&#10;Description automatically generated">
            <a:extLst>
              <a:ext uri="{FF2B5EF4-FFF2-40B4-BE49-F238E27FC236}">
                <a16:creationId xmlns:a16="http://schemas.microsoft.com/office/drawing/2014/main" id="{C6B02875-672C-2F40-9672-27C6C8FACE63}"/>
              </a:ext>
            </a:extLst>
          </p:cNvPr>
          <p:cNvPicPr>
            <a:picLocks noChangeAspect="1"/>
          </p:cNvPicPr>
          <p:nvPr/>
        </p:nvPicPr>
        <p:blipFill>
          <a:blip r:embed="rId5"/>
          <a:stretch>
            <a:fillRect/>
          </a:stretch>
        </p:blipFill>
        <p:spPr>
          <a:xfrm>
            <a:off x="5495432" y="1838512"/>
            <a:ext cx="1141486" cy="1141486"/>
          </a:xfrm>
          <a:prstGeom prst="rect">
            <a:avLst/>
          </a:prstGeom>
        </p:spPr>
      </p:pic>
      <p:pic>
        <p:nvPicPr>
          <p:cNvPr id="15" name="Picture 14" descr="A picture containing clock&#10;&#10;Description automatically generated">
            <a:extLst>
              <a:ext uri="{FF2B5EF4-FFF2-40B4-BE49-F238E27FC236}">
                <a16:creationId xmlns:a16="http://schemas.microsoft.com/office/drawing/2014/main" id="{EC84C8B1-E2E7-AA40-85BC-F6D7226C1C2D}"/>
              </a:ext>
            </a:extLst>
          </p:cNvPr>
          <p:cNvPicPr>
            <a:picLocks noChangeAspect="1"/>
          </p:cNvPicPr>
          <p:nvPr/>
        </p:nvPicPr>
        <p:blipFill>
          <a:blip r:embed="rId6"/>
          <a:stretch>
            <a:fillRect/>
          </a:stretch>
        </p:blipFill>
        <p:spPr>
          <a:xfrm>
            <a:off x="2338958" y="1748606"/>
            <a:ext cx="1303423" cy="1303423"/>
          </a:xfrm>
          <a:prstGeom prst="rect">
            <a:avLst/>
          </a:prstGeom>
        </p:spPr>
      </p:pic>
      <p:pic>
        <p:nvPicPr>
          <p:cNvPr id="28" name="Picture 27" descr="A picture containing basketball, game&#10;&#10;Description automatically generated">
            <a:extLst>
              <a:ext uri="{FF2B5EF4-FFF2-40B4-BE49-F238E27FC236}">
                <a16:creationId xmlns:a16="http://schemas.microsoft.com/office/drawing/2014/main" id="{FCE103D1-F252-2D4C-AD44-4F083864AD28}"/>
              </a:ext>
            </a:extLst>
          </p:cNvPr>
          <p:cNvPicPr>
            <a:picLocks noChangeAspect="1"/>
          </p:cNvPicPr>
          <p:nvPr/>
        </p:nvPicPr>
        <p:blipFill>
          <a:blip r:embed="rId7"/>
          <a:stretch>
            <a:fillRect/>
          </a:stretch>
        </p:blipFill>
        <p:spPr>
          <a:xfrm>
            <a:off x="8489969" y="1766481"/>
            <a:ext cx="1303423" cy="1303423"/>
          </a:xfrm>
          <a:prstGeom prst="rect">
            <a:avLst/>
          </a:prstGeom>
        </p:spPr>
      </p:pic>
      <p:pic>
        <p:nvPicPr>
          <p:cNvPr id="34" name="Picture 33" descr="A picture containing drawing&#10;&#10;Description automatically generated">
            <a:extLst>
              <a:ext uri="{FF2B5EF4-FFF2-40B4-BE49-F238E27FC236}">
                <a16:creationId xmlns:a16="http://schemas.microsoft.com/office/drawing/2014/main" id="{CB6EFFCC-AE08-6C46-ABAA-34D2F6256DBA}"/>
              </a:ext>
            </a:extLst>
          </p:cNvPr>
          <p:cNvPicPr>
            <a:picLocks noChangeAspect="1"/>
          </p:cNvPicPr>
          <p:nvPr/>
        </p:nvPicPr>
        <p:blipFill>
          <a:blip r:embed="rId8"/>
          <a:stretch>
            <a:fillRect/>
          </a:stretch>
        </p:blipFill>
        <p:spPr>
          <a:xfrm>
            <a:off x="5242747" y="3656411"/>
            <a:ext cx="1673466" cy="1673466"/>
          </a:xfrm>
          <a:prstGeom prst="rect">
            <a:avLst/>
          </a:prstGeom>
        </p:spPr>
      </p:pic>
      <p:pic>
        <p:nvPicPr>
          <p:cNvPr id="36" name="Picture 35" descr="A picture containing object, clock&#10;&#10;Description automatically generated">
            <a:extLst>
              <a:ext uri="{FF2B5EF4-FFF2-40B4-BE49-F238E27FC236}">
                <a16:creationId xmlns:a16="http://schemas.microsoft.com/office/drawing/2014/main" id="{9F1B11DC-1177-8047-BF23-4A3FB2B390F6}"/>
              </a:ext>
            </a:extLst>
          </p:cNvPr>
          <p:cNvPicPr>
            <a:picLocks noChangeAspect="1"/>
          </p:cNvPicPr>
          <p:nvPr/>
        </p:nvPicPr>
        <p:blipFill>
          <a:blip r:embed="rId9"/>
          <a:stretch>
            <a:fillRect/>
          </a:stretch>
        </p:blipFill>
        <p:spPr>
          <a:xfrm>
            <a:off x="8187510" y="3505229"/>
            <a:ext cx="1908340" cy="190834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5D409F0B-907E-604E-8773-673AB2817303}"/>
              </a:ext>
            </a:extLst>
          </p:cNvPr>
          <p:cNvPicPr>
            <a:picLocks noChangeAspect="1"/>
          </p:cNvPicPr>
          <p:nvPr/>
        </p:nvPicPr>
        <p:blipFill>
          <a:blip r:embed="rId10"/>
          <a:stretch>
            <a:fillRect/>
          </a:stretch>
        </p:blipFill>
        <p:spPr>
          <a:xfrm>
            <a:off x="2533469" y="4185924"/>
            <a:ext cx="914400" cy="800100"/>
          </a:xfrm>
          <a:prstGeom prst="rect">
            <a:avLst/>
          </a:prstGeom>
        </p:spPr>
      </p:pic>
      <p:sp>
        <p:nvSpPr>
          <p:cNvPr id="40" name="Title 3">
            <a:extLst>
              <a:ext uri="{FF2B5EF4-FFF2-40B4-BE49-F238E27FC236}">
                <a16:creationId xmlns:a16="http://schemas.microsoft.com/office/drawing/2014/main" id="{E594800D-13DE-4A7E-9015-1C0EA0653CE5}"/>
              </a:ext>
            </a:extLst>
          </p:cNvPr>
          <p:cNvSpPr txBox="1">
            <a:spLocks/>
          </p:cNvSpPr>
          <p:nvPr/>
        </p:nvSpPr>
        <p:spPr>
          <a:xfrm>
            <a:off x="4451036" y="3050929"/>
            <a:ext cx="3256889"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Blogs de viajes y otros medios turísticos</a:t>
            </a:r>
          </a:p>
        </p:txBody>
      </p:sp>
      <p:sp>
        <p:nvSpPr>
          <p:cNvPr id="41" name="Title 3">
            <a:extLst>
              <a:ext uri="{FF2B5EF4-FFF2-40B4-BE49-F238E27FC236}">
                <a16:creationId xmlns:a16="http://schemas.microsoft.com/office/drawing/2014/main" id="{ACC029FD-A8FB-41B6-80D4-457697108938}"/>
              </a:ext>
            </a:extLst>
          </p:cNvPr>
          <p:cNvSpPr txBox="1">
            <a:spLocks/>
          </p:cNvSpPr>
          <p:nvPr/>
        </p:nvSpPr>
        <p:spPr>
          <a:xfrm>
            <a:off x="7795858" y="3116015"/>
            <a:ext cx="2691644"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Agencias Online </a:t>
            </a:r>
            <a:b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b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y Metas</a:t>
            </a:r>
          </a:p>
        </p:txBody>
      </p:sp>
      <p:sp>
        <p:nvSpPr>
          <p:cNvPr id="42" name="Title 3">
            <a:extLst>
              <a:ext uri="{FF2B5EF4-FFF2-40B4-BE49-F238E27FC236}">
                <a16:creationId xmlns:a16="http://schemas.microsoft.com/office/drawing/2014/main" id="{8722A16C-0AB4-40A9-9D1D-2C982360504D}"/>
              </a:ext>
            </a:extLst>
          </p:cNvPr>
          <p:cNvSpPr txBox="1">
            <a:spLocks/>
          </p:cNvSpPr>
          <p:nvPr/>
        </p:nvSpPr>
        <p:spPr>
          <a:xfrm>
            <a:off x="4733658" y="5162470"/>
            <a:ext cx="2691644"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Agencias de viaje Tradicionales</a:t>
            </a:r>
          </a:p>
        </p:txBody>
      </p:sp>
      <p:sp>
        <p:nvSpPr>
          <p:cNvPr id="44" name="Title 3">
            <a:extLst>
              <a:ext uri="{FF2B5EF4-FFF2-40B4-BE49-F238E27FC236}">
                <a16:creationId xmlns:a16="http://schemas.microsoft.com/office/drawing/2014/main" id="{03A8F817-B2C3-4580-8A3E-F8D4B34E3647}"/>
              </a:ext>
            </a:extLst>
          </p:cNvPr>
          <p:cNvSpPr txBox="1">
            <a:spLocks/>
          </p:cNvSpPr>
          <p:nvPr/>
        </p:nvSpPr>
        <p:spPr>
          <a:xfrm>
            <a:off x="7661276" y="5128725"/>
            <a:ext cx="2960808"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Documentos de </a:t>
            </a:r>
            <a:b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b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viaje y Apps </a:t>
            </a:r>
          </a:p>
        </p:txBody>
      </p:sp>
      <p:sp>
        <p:nvSpPr>
          <p:cNvPr id="29" name="Title 3">
            <a:extLst>
              <a:ext uri="{FF2B5EF4-FFF2-40B4-BE49-F238E27FC236}">
                <a16:creationId xmlns:a16="http://schemas.microsoft.com/office/drawing/2014/main" id="{E3EF5838-D530-814E-8108-0C4CE5C84760}"/>
              </a:ext>
            </a:extLst>
          </p:cNvPr>
          <p:cNvSpPr txBox="1">
            <a:spLocks/>
          </p:cNvSpPr>
          <p:nvPr/>
        </p:nvSpPr>
        <p:spPr>
          <a:xfrm>
            <a:off x="1644847" y="5162470"/>
            <a:ext cx="2691644" cy="4769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Publicidad</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2000" b="0" i="0" u="none" strike="noStrike" kern="1200" cap="none" spc="0" normalizeH="0" baseline="0" noProof="0">
                <a:ln>
                  <a:noFill/>
                </a:ln>
                <a:solidFill>
                  <a:srgbClr val="5B5C5E"/>
                </a:solidFill>
                <a:effectLst/>
                <a:uLnTx/>
                <a:uFillTx/>
                <a:latin typeface="Gibson Light" panose="02000000000000000000" pitchFamily="2" charset="77"/>
                <a:ea typeface="+mj-ea"/>
                <a:cs typeface="+mj-cs"/>
              </a:rPr>
              <a:t>tradicional</a:t>
            </a:r>
          </a:p>
        </p:txBody>
      </p:sp>
    </p:spTree>
    <p:extLst>
      <p:ext uri="{BB962C8B-B14F-4D97-AF65-F5344CB8AC3E}">
        <p14:creationId xmlns:p14="http://schemas.microsoft.com/office/powerpoint/2010/main" val="509823858"/>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in a room&#10;&#10;Description automatically generated">
            <a:extLst>
              <a:ext uri="{FF2B5EF4-FFF2-40B4-BE49-F238E27FC236}">
                <a16:creationId xmlns:a16="http://schemas.microsoft.com/office/drawing/2014/main" id="{1393E244-BFDE-114E-8B5F-EC6A1865CADF}"/>
              </a:ext>
            </a:extLst>
          </p:cNvPr>
          <p:cNvPicPr>
            <a:picLocks noChangeAspect="1"/>
          </p:cNvPicPr>
          <p:nvPr/>
        </p:nvPicPr>
        <p:blipFill rotWithShape="1">
          <a:blip r:embed="rId3"/>
          <a:srcRect l="12245" t="51092" r="38297" b="2363"/>
          <a:stretch/>
        </p:blipFill>
        <p:spPr>
          <a:xfrm>
            <a:off x="0" y="0"/>
            <a:ext cx="6096000" cy="6902304"/>
          </a:xfrm>
          <a:prstGeom prst="rect">
            <a:avLst/>
          </a:prstGeom>
        </p:spPr>
      </p:pic>
      <p:pic>
        <p:nvPicPr>
          <p:cNvPr id="6" name="Picture 5" descr="A group of people sitting at a table with a computer&#10;&#10;Description automatically generated">
            <a:extLst>
              <a:ext uri="{FF2B5EF4-FFF2-40B4-BE49-F238E27FC236}">
                <a16:creationId xmlns:a16="http://schemas.microsoft.com/office/drawing/2014/main" id="{3CF7DA62-5325-7446-BC5B-32D20EA99321}"/>
              </a:ext>
            </a:extLst>
          </p:cNvPr>
          <p:cNvPicPr>
            <a:picLocks noChangeAspect="1"/>
          </p:cNvPicPr>
          <p:nvPr/>
        </p:nvPicPr>
        <p:blipFill rotWithShape="1">
          <a:blip r:embed="rId4"/>
          <a:srcRect t="24682" b="201"/>
          <a:stretch/>
        </p:blipFill>
        <p:spPr>
          <a:xfrm>
            <a:off x="6091152" y="-25502"/>
            <a:ext cx="6092804" cy="6865195"/>
          </a:xfrm>
          <a:prstGeom prst="rect">
            <a:avLst/>
          </a:prstGeom>
        </p:spPr>
      </p:pic>
      <p:sp>
        <p:nvSpPr>
          <p:cNvPr id="12" name="Oval 11">
            <a:extLst>
              <a:ext uri="{FF2B5EF4-FFF2-40B4-BE49-F238E27FC236}">
                <a16:creationId xmlns:a16="http://schemas.microsoft.com/office/drawing/2014/main" id="{68A61AF3-C6CB-CF4D-B479-45C5F7925943}"/>
              </a:ext>
            </a:extLst>
          </p:cNvPr>
          <p:cNvSpPr/>
          <p:nvPr/>
        </p:nvSpPr>
        <p:spPr>
          <a:xfrm>
            <a:off x="2820649" y="3429000"/>
            <a:ext cx="3210951" cy="3174910"/>
          </a:xfrm>
          <a:prstGeom prst="ellipse">
            <a:avLst/>
          </a:prstGeom>
          <a:solidFill>
            <a:srgbClr val="005EB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9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15" name="Oval 14">
            <a:extLst>
              <a:ext uri="{FF2B5EF4-FFF2-40B4-BE49-F238E27FC236}">
                <a16:creationId xmlns:a16="http://schemas.microsoft.com/office/drawing/2014/main" id="{BD1D7EFE-BD06-1445-ACF3-04A839F7B100}"/>
              </a:ext>
            </a:extLst>
          </p:cNvPr>
          <p:cNvSpPr/>
          <p:nvPr/>
        </p:nvSpPr>
        <p:spPr>
          <a:xfrm>
            <a:off x="6143449" y="3429000"/>
            <a:ext cx="3210951" cy="3174910"/>
          </a:xfrm>
          <a:prstGeom prst="ellipse">
            <a:avLst/>
          </a:prstGeom>
          <a:solidFill>
            <a:srgbClr val="E6492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9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16" name="Title 10">
            <a:extLst>
              <a:ext uri="{FF2B5EF4-FFF2-40B4-BE49-F238E27FC236}">
                <a16:creationId xmlns:a16="http://schemas.microsoft.com/office/drawing/2014/main" id="{33C31C90-B432-6040-8D0D-7CB7AFFD21B1}"/>
              </a:ext>
            </a:extLst>
          </p:cNvPr>
          <p:cNvSpPr txBox="1">
            <a:spLocks/>
          </p:cNvSpPr>
          <p:nvPr/>
        </p:nvSpPr>
        <p:spPr>
          <a:xfrm>
            <a:off x="3121247" y="4850042"/>
            <a:ext cx="2631716" cy="332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Offline/</a:t>
            </a:r>
            <a:b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br>
            <a: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Tradicional</a:t>
            </a:r>
          </a:p>
        </p:txBody>
      </p:sp>
      <p:sp>
        <p:nvSpPr>
          <p:cNvPr id="18" name="Title 10">
            <a:extLst>
              <a:ext uri="{FF2B5EF4-FFF2-40B4-BE49-F238E27FC236}">
                <a16:creationId xmlns:a16="http://schemas.microsoft.com/office/drawing/2014/main" id="{EFD827C6-DDAE-F448-8F19-9C9AC27A151F}"/>
              </a:ext>
            </a:extLst>
          </p:cNvPr>
          <p:cNvSpPr txBox="1">
            <a:spLocks/>
          </p:cNvSpPr>
          <p:nvPr/>
        </p:nvSpPr>
        <p:spPr>
          <a:xfrm>
            <a:off x="6422084" y="4868845"/>
            <a:ext cx="2653679" cy="332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Digital</a:t>
            </a:r>
          </a:p>
        </p:txBody>
      </p:sp>
    </p:spTree>
    <p:extLst>
      <p:ext uri="{BB962C8B-B14F-4D97-AF65-F5344CB8AC3E}">
        <p14:creationId xmlns:p14="http://schemas.microsoft.com/office/powerpoint/2010/main" val="270804807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4">
            <a:extLst>
              <a:ext uri="{FF2B5EF4-FFF2-40B4-BE49-F238E27FC236}">
                <a16:creationId xmlns:a16="http://schemas.microsoft.com/office/drawing/2014/main" id="{22AD05D8-4EFA-3D4C-B5FB-82FFBAFD3087}"/>
              </a:ext>
            </a:extLst>
          </p:cNvPr>
          <p:cNvSpPr txBox="1">
            <a:spLocks/>
          </p:cNvSpPr>
          <p:nvPr/>
        </p:nvSpPr>
        <p:spPr>
          <a:xfrm>
            <a:off x="125362" y="5173003"/>
            <a:ext cx="11941277" cy="566891"/>
          </a:xfrm>
          <a:prstGeom prst="rect">
            <a:avLst/>
          </a:prstGeom>
        </p:spPr>
        <p:txBody>
          <a:bodyPr>
            <a:noAutofit/>
          </a:bodyPr>
          <a:lstStyle>
            <a:lvl1pPr marL="228600" indent="-228600" algn="l" defTabSz="914400" rtl="0" eaLnBrk="1" latinLnBrk="0" hangingPunct="1">
              <a:lnSpc>
                <a:spcPct val="90000"/>
              </a:lnSpc>
              <a:spcBef>
                <a:spcPts val="1000"/>
              </a:spcBef>
              <a:buSzPct val="70000"/>
              <a:buFont typeface="Symbol" pitchFamily="2" charset="2"/>
              <a:buChar char="-"/>
              <a:defRPr lang="en-US" sz="2800" b="0" i="0" kern="1200" dirty="0">
                <a:solidFill>
                  <a:srgbClr val="787875"/>
                </a:solidFill>
                <a:latin typeface="Gibson Light"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a:buChar char="•"/>
              <a:defRPr lang="en-US" sz="2400" b="0" i="0" kern="1200" dirty="0">
                <a:solidFill>
                  <a:srgbClr val="787875"/>
                </a:solidFill>
                <a:latin typeface="Gibson Light"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a:buChar char="•"/>
              <a:defRPr lang="en-US" sz="2100" b="0" i="0" kern="1200" dirty="0">
                <a:solidFill>
                  <a:srgbClr val="787875"/>
                </a:solidFill>
                <a:latin typeface="Gibson Light"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a:buChar char="•"/>
              <a:defRPr lang="en-US" sz="1800" b="0" i="0" kern="1200" dirty="0">
                <a:solidFill>
                  <a:srgbClr val="787875"/>
                </a:solidFill>
                <a:latin typeface="Gibson Light"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a:buChar char="•"/>
              <a:defRPr lang="en-US" sz="1400" b="0" i="0" kern="1200" dirty="0">
                <a:solidFill>
                  <a:srgbClr val="787875"/>
                </a:solidFill>
                <a:latin typeface="Gibson Light"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Pct val="70000"/>
              <a:buFont typeface="Symbol" pitchFamily="2" charset="2"/>
              <a:buNone/>
              <a:tabLst/>
              <a:defRPr/>
            </a:pPr>
            <a:r>
              <a:rPr kumimoji="0" lang="es-ES_tradnl" sz="2600" b="0" i="0" u="none" strike="noStrike" kern="1200" cap="none" spc="0" normalizeH="0" baseline="0" noProof="0" dirty="0">
                <a:ln>
                  <a:noFill/>
                </a:ln>
                <a:solidFill>
                  <a:srgbClr val="005EB8"/>
                </a:solidFill>
                <a:effectLst/>
                <a:uLnTx/>
                <a:uFillTx/>
                <a:latin typeface="Gibson Light" panose="02000000000000000000" pitchFamily="2" charset="77"/>
                <a:ea typeface="+mn-ea"/>
                <a:cs typeface="+mn-cs"/>
              </a:rPr>
              <a:t>38 </a:t>
            </a:r>
            <a:r>
              <a:rPr kumimoji="0" lang="es-ES_tradnl" sz="2600" b="0" i="0" u="none" strike="noStrike" kern="1200" cap="none" spc="0" normalizeH="0" baseline="0" noProof="0" dirty="0" err="1">
                <a:ln>
                  <a:noFill/>
                </a:ln>
                <a:solidFill>
                  <a:srgbClr val="005EB8"/>
                </a:solidFill>
                <a:effectLst/>
                <a:uLnTx/>
                <a:uFillTx/>
                <a:latin typeface="Gibson Light" panose="02000000000000000000" pitchFamily="2" charset="77"/>
                <a:ea typeface="+mn-ea"/>
                <a:cs typeface="+mn-cs"/>
              </a:rPr>
              <a:t>websites</a:t>
            </a:r>
            <a:r>
              <a:rPr kumimoji="0" lang="es-ES_tradnl" sz="2600" b="0" i="0" u="none" strike="noStrike" kern="1200" cap="none" spc="0" normalizeH="0" baseline="0" noProof="0" dirty="0">
                <a:ln>
                  <a:noFill/>
                </a:ln>
                <a:solidFill>
                  <a:srgbClr val="005EB8"/>
                </a:solidFill>
                <a:effectLst/>
                <a:uLnTx/>
                <a:uFillTx/>
                <a:latin typeface="Gibson Light" panose="02000000000000000000" pitchFamily="2" charset="77"/>
                <a:ea typeface="+mn-ea"/>
                <a:cs typeface="+mn-cs"/>
              </a:rPr>
              <a:t> diferentes</a:t>
            </a:r>
            <a:r>
              <a:rPr kumimoji="0" lang="es-ES_tradnl" sz="2600" b="0" i="0" u="none" strike="noStrike" kern="1200" cap="none" spc="0" normalizeH="0" baseline="0" noProof="0" dirty="0">
                <a:ln>
                  <a:noFill/>
                </a:ln>
                <a:solidFill>
                  <a:srgbClr val="5B5C5E"/>
                </a:solidFill>
                <a:effectLst/>
                <a:uLnTx/>
                <a:uFillTx/>
                <a:latin typeface="Gibson Light" panose="02000000000000000000" pitchFamily="2" charset="77"/>
                <a:ea typeface="+mn-ea"/>
                <a:cs typeface="+mn-cs"/>
              </a:rPr>
              <a:t> visitan por los viajeros antes de realizar la compra</a:t>
            </a:r>
          </a:p>
        </p:txBody>
      </p:sp>
      <p:grpSp>
        <p:nvGrpSpPr>
          <p:cNvPr id="2" name="Group 1">
            <a:extLst>
              <a:ext uri="{FF2B5EF4-FFF2-40B4-BE49-F238E27FC236}">
                <a16:creationId xmlns:a16="http://schemas.microsoft.com/office/drawing/2014/main" id="{C0909550-7C95-4D47-AC36-07D87C1D9607}"/>
              </a:ext>
            </a:extLst>
          </p:cNvPr>
          <p:cNvGrpSpPr/>
          <p:nvPr/>
        </p:nvGrpSpPr>
        <p:grpSpPr>
          <a:xfrm>
            <a:off x="4367702" y="1376741"/>
            <a:ext cx="3456597" cy="3456597"/>
            <a:chOff x="4367702" y="1376741"/>
            <a:chExt cx="3456597" cy="3456597"/>
          </a:xfrm>
        </p:grpSpPr>
        <p:sp>
          <p:nvSpPr>
            <p:cNvPr id="18" name="Oval 17">
              <a:extLst>
                <a:ext uri="{FF2B5EF4-FFF2-40B4-BE49-F238E27FC236}">
                  <a16:creationId xmlns:a16="http://schemas.microsoft.com/office/drawing/2014/main" id="{67C538E4-9642-4B4A-8584-E8DB4A83FFA7}"/>
                </a:ext>
              </a:extLst>
            </p:cNvPr>
            <p:cNvSpPr/>
            <p:nvPr/>
          </p:nvSpPr>
          <p:spPr>
            <a:xfrm rot="5400000">
              <a:off x="4367702" y="1376741"/>
              <a:ext cx="3456597" cy="3456597"/>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5E69B46-4B16-5D49-BB9A-81A8F4A73C40}"/>
                </a:ext>
              </a:extLst>
            </p:cNvPr>
            <p:cNvSpPr txBox="1"/>
            <p:nvPr/>
          </p:nvSpPr>
          <p:spPr>
            <a:xfrm>
              <a:off x="5351726" y="2289431"/>
              <a:ext cx="1640948"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0000" b="0" i="0" u="none" strike="noStrike" kern="1200" cap="none" spc="-300" normalizeH="0" baseline="0" noProof="0" dirty="0">
                  <a:ln>
                    <a:noFill/>
                  </a:ln>
                  <a:solidFill>
                    <a:srgbClr val="FFFFFF"/>
                  </a:solidFill>
                  <a:effectLst/>
                  <a:uLnTx/>
                  <a:uFillTx/>
                  <a:latin typeface="Gibson Light" panose="02000000000000000000" pitchFamily="2" charset="77"/>
                  <a:ea typeface="+mn-ea"/>
                  <a:cs typeface="+mn-cs"/>
                </a:rPr>
                <a:t>38</a:t>
              </a:r>
            </a:p>
          </p:txBody>
        </p:sp>
      </p:grpSp>
      <p:pic>
        <p:nvPicPr>
          <p:cNvPr id="4" name="Picture 3">
            <a:extLst>
              <a:ext uri="{FF2B5EF4-FFF2-40B4-BE49-F238E27FC236}">
                <a16:creationId xmlns:a16="http://schemas.microsoft.com/office/drawing/2014/main" id="{5796A3B4-1D60-40A4-6A35-2C1803C04801}"/>
              </a:ext>
            </a:extLst>
          </p:cNvPr>
          <p:cNvPicPr>
            <a:picLocks noChangeAspect="1"/>
          </p:cNvPicPr>
          <p:nvPr/>
        </p:nvPicPr>
        <p:blipFill>
          <a:blip r:embed="rId3"/>
          <a:stretch>
            <a:fillRect/>
          </a:stretch>
        </p:blipFill>
        <p:spPr>
          <a:xfrm>
            <a:off x="9390114" y="6057788"/>
            <a:ext cx="2676525" cy="552450"/>
          </a:xfrm>
          <a:prstGeom prst="rect">
            <a:avLst/>
          </a:prstGeom>
        </p:spPr>
      </p:pic>
    </p:spTree>
    <p:extLst>
      <p:ext uri="{BB962C8B-B14F-4D97-AF65-F5344CB8AC3E}">
        <p14:creationId xmlns:p14="http://schemas.microsoft.com/office/powerpoint/2010/main" val="2190984607"/>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A549A1EC-9EDE-43AF-9BDE-2DCED31D60ED}"/>
              </a:ext>
            </a:extLst>
          </p:cNvPr>
          <p:cNvSpPr txBox="1">
            <a:spLocks/>
          </p:cNvSpPr>
          <p:nvPr/>
        </p:nvSpPr>
        <p:spPr>
          <a:xfrm>
            <a:off x="617696" y="545988"/>
            <a:ext cx="8592543" cy="6436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3300" b="0" i="0" u="none" strike="noStrike" kern="1200" cap="none" spc="0" normalizeH="0" baseline="0" noProof="0">
                <a:ln>
                  <a:noFill/>
                </a:ln>
                <a:solidFill>
                  <a:srgbClr val="005EB8"/>
                </a:solidFill>
                <a:effectLst/>
                <a:uLnTx/>
                <a:uFillTx/>
                <a:latin typeface="Gibson Light" panose="02000000000000000000" pitchFamily="50" charset="0"/>
                <a:ea typeface="Gibson Light" charset="0"/>
                <a:cs typeface="Gibson Light" charset="0"/>
              </a:rPr>
              <a:t>Segmentación Personalizada </a:t>
            </a:r>
          </a:p>
        </p:txBody>
      </p:sp>
      <p:sp>
        <p:nvSpPr>
          <p:cNvPr id="60" name="Subtitle 2">
            <a:extLst>
              <a:ext uri="{FF2B5EF4-FFF2-40B4-BE49-F238E27FC236}">
                <a16:creationId xmlns:a16="http://schemas.microsoft.com/office/drawing/2014/main" id="{B1404FF4-BBC5-46F2-8538-7FF40F49CA19}"/>
              </a:ext>
            </a:extLst>
          </p:cNvPr>
          <p:cNvSpPr txBox="1">
            <a:spLocks/>
          </p:cNvSpPr>
          <p:nvPr/>
        </p:nvSpPr>
        <p:spPr>
          <a:xfrm>
            <a:off x="679044" y="1054087"/>
            <a:ext cx="11047237" cy="5159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s-ES_tradnl" sz="1800" b="0" i="0" u="none" strike="noStrike" kern="1200" cap="none" spc="0" normalizeH="0" baseline="0" noProof="0" dirty="0">
                <a:ln>
                  <a:noFill/>
                </a:ln>
                <a:solidFill>
                  <a:srgbClr val="00A9E0"/>
                </a:solidFill>
                <a:effectLst/>
                <a:uLnTx/>
                <a:uFillTx/>
                <a:latin typeface="Gibson Light" panose="02000000000000000000" pitchFamily="50" charset="0"/>
                <a:ea typeface="Gibson Light" charset="0"/>
                <a:cs typeface="Gibson Light" charset="0"/>
              </a:rPr>
              <a:t>Cree </a:t>
            </a:r>
            <a:r>
              <a:rPr lang="es-ES_tradnl" sz="1800" dirty="0">
                <a:solidFill>
                  <a:srgbClr val="00A9E0"/>
                </a:solidFill>
                <a:latin typeface="Gibson Light" panose="02000000000000000000" pitchFamily="50" charset="0"/>
                <a:ea typeface="Gibson Light" charset="0"/>
                <a:cs typeface="Gibson Light" charset="0"/>
              </a:rPr>
              <a:t>tu</a:t>
            </a:r>
            <a:r>
              <a:rPr kumimoji="0" lang="es-ES_tradnl" sz="1800" b="0" i="0" u="none" strike="noStrike" kern="1200" cap="none" spc="0" normalizeH="0" baseline="0" noProof="0" dirty="0">
                <a:ln>
                  <a:noFill/>
                </a:ln>
                <a:solidFill>
                  <a:srgbClr val="00A9E0"/>
                </a:solidFill>
                <a:effectLst/>
                <a:uLnTx/>
                <a:uFillTx/>
                <a:latin typeface="Gibson Light" panose="02000000000000000000" pitchFamily="50" charset="0"/>
                <a:ea typeface="Gibson Light" charset="0"/>
                <a:cs typeface="Gibson Light" charset="0"/>
              </a:rPr>
              <a:t> audiencia objetivo </a:t>
            </a:r>
          </a:p>
        </p:txBody>
      </p:sp>
      <p:pic>
        <p:nvPicPr>
          <p:cNvPr id="73" name="Picture 2" descr="Related image">
            <a:extLst>
              <a:ext uri="{FF2B5EF4-FFF2-40B4-BE49-F238E27FC236}">
                <a16:creationId xmlns:a16="http://schemas.microsoft.com/office/drawing/2014/main" id="{420ED25C-E424-491A-ACEA-420ECA067C23}"/>
              </a:ext>
            </a:extLst>
          </p:cNvPr>
          <p:cNvPicPr>
            <a:picLocks noChangeAspect="1" noChangeArrowheads="1"/>
          </p:cNvPicPr>
          <p:nvPr/>
        </p:nvPicPr>
        <p:blipFill rotWithShape="1">
          <a:blip r:embed="rId3"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7917683" y="3968801"/>
            <a:ext cx="1619585" cy="1624824"/>
          </a:xfrm>
          <a:prstGeom prst="ellipse">
            <a:avLst/>
          </a:prstGeom>
          <a:noFill/>
          <a:ln w="19050">
            <a:noFill/>
          </a:ln>
          <a:extLst>
            <a:ext uri="{909E8E84-426E-40DD-AFC4-6F175D3DCCD1}">
              <a14:hiddenFill xmlns:a14="http://schemas.microsoft.com/office/drawing/2010/main">
                <a:solidFill>
                  <a:srgbClr val="FFFFFF"/>
                </a:solidFill>
              </a14:hiddenFill>
            </a:ext>
          </a:extLst>
        </p:spPr>
      </p:pic>
      <p:sp>
        <p:nvSpPr>
          <p:cNvPr id="74" name="Rechteck 27">
            <a:extLst>
              <a:ext uri="{FF2B5EF4-FFF2-40B4-BE49-F238E27FC236}">
                <a16:creationId xmlns:a16="http://schemas.microsoft.com/office/drawing/2014/main" id="{C291A335-608E-42CC-A43A-38B596764C8E}"/>
              </a:ext>
            </a:extLst>
          </p:cNvPr>
          <p:cNvSpPr/>
          <p:nvPr/>
        </p:nvSpPr>
        <p:spPr>
          <a:xfrm>
            <a:off x="2716697" y="3380473"/>
            <a:ext cx="1625326"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5B5C5E"/>
                </a:solidFill>
                <a:effectLst/>
                <a:uLnTx/>
                <a:uFillTx/>
                <a:latin typeface="Gibson Light" panose="02000000000000000000" pitchFamily="50" charset="0"/>
                <a:ea typeface="+mn-ea"/>
                <a:cs typeface="+mn-cs"/>
              </a:rPr>
              <a:t>Viajero Frecuente</a:t>
            </a:r>
          </a:p>
        </p:txBody>
      </p:sp>
      <p:sp>
        <p:nvSpPr>
          <p:cNvPr id="75" name="Rechteck 30">
            <a:extLst>
              <a:ext uri="{FF2B5EF4-FFF2-40B4-BE49-F238E27FC236}">
                <a16:creationId xmlns:a16="http://schemas.microsoft.com/office/drawing/2014/main" id="{4D861FC8-37D7-4626-A025-0E6BD29C2388}"/>
              </a:ext>
            </a:extLst>
          </p:cNvPr>
          <p:cNvSpPr/>
          <p:nvPr/>
        </p:nvSpPr>
        <p:spPr>
          <a:xfrm>
            <a:off x="7710541" y="3380473"/>
            <a:ext cx="2033871"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Viaje familiar</a:t>
            </a:r>
          </a:p>
        </p:txBody>
      </p:sp>
      <p:sp>
        <p:nvSpPr>
          <p:cNvPr id="76" name="Rechteck 30">
            <a:extLst>
              <a:ext uri="{FF2B5EF4-FFF2-40B4-BE49-F238E27FC236}">
                <a16:creationId xmlns:a16="http://schemas.microsoft.com/office/drawing/2014/main" id="{CBC50B15-B32D-4644-80AE-C6A6F163FD78}"/>
              </a:ext>
            </a:extLst>
          </p:cNvPr>
          <p:cNvSpPr/>
          <p:nvPr/>
        </p:nvSpPr>
        <p:spPr>
          <a:xfrm>
            <a:off x="5204954" y="5661247"/>
            <a:ext cx="1849796"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Viajero de lujo</a:t>
            </a:r>
          </a:p>
        </p:txBody>
      </p:sp>
      <p:sp>
        <p:nvSpPr>
          <p:cNvPr id="77" name="Rechteck 27">
            <a:extLst>
              <a:ext uri="{FF2B5EF4-FFF2-40B4-BE49-F238E27FC236}">
                <a16:creationId xmlns:a16="http://schemas.microsoft.com/office/drawing/2014/main" id="{205C767D-1EE7-4A3D-A1F4-38A4C1FC44CD}"/>
              </a:ext>
            </a:extLst>
          </p:cNvPr>
          <p:cNvSpPr/>
          <p:nvPr/>
        </p:nvSpPr>
        <p:spPr>
          <a:xfrm>
            <a:off x="5031738" y="3380473"/>
            <a:ext cx="2200346"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Viajero de fin de semana</a:t>
            </a:r>
          </a:p>
        </p:txBody>
      </p:sp>
      <p:sp>
        <p:nvSpPr>
          <p:cNvPr id="78" name="Rechteck 30">
            <a:extLst>
              <a:ext uri="{FF2B5EF4-FFF2-40B4-BE49-F238E27FC236}">
                <a16:creationId xmlns:a16="http://schemas.microsoft.com/office/drawing/2014/main" id="{2760893B-6C8B-4940-B47E-6E545CB42030}"/>
              </a:ext>
            </a:extLst>
          </p:cNvPr>
          <p:cNvSpPr/>
          <p:nvPr/>
        </p:nvSpPr>
        <p:spPr>
          <a:xfrm>
            <a:off x="2624913" y="5661247"/>
            <a:ext cx="1753109"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Viajero de negocio</a:t>
            </a:r>
          </a:p>
        </p:txBody>
      </p:sp>
      <p:sp>
        <p:nvSpPr>
          <p:cNvPr id="79" name="Rechteck 30">
            <a:extLst>
              <a:ext uri="{FF2B5EF4-FFF2-40B4-BE49-F238E27FC236}">
                <a16:creationId xmlns:a16="http://schemas.microsoft.com/office/drawing/2014/main" id="{3B56ED74-784F-4540-AA38-0783F3069CCE}"/>
              </a:ext>
            </a:extLst>
          </p:cNvPr>
          <p:cNvSpPr/>
          <p:nvPr/>
        </p:nvSpPr>
        <p:spPr>
          <a:xfrm>
            <a:off x="7844315" y="5670378"/>
            <a:ext cx="1724318"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err="1">
                <a:ln>
                  <a:noFill/>
                </a:ln>
                <a:solidFill>
                  <a:srgbClr val="5B5C5E"/>
                </a:solidFill>
                <a:effectLst/>
                <a:uLnTx/>
                <a:uFillTx/>
                <a:latin typeface="Gibson Light" panose="02000000000000000000" pitchFamily="50" charset="0"/>
                <a:ea typeface="+mn-ea"/>
                <a:cs typeface="+mn-cs"/>
              </a:rPr>
              <a:t>Silver</a:t>
            </a: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 </a:t>
            </a:r>
            <a:r>
              <a:rPr kumimoji="0" lang="es-ES_tradnl" sz="1600" b="0" i="0" u="none" strike="noStrike" kern="1200" cap="none" spc="0" normalizeH="0" baseline="0" noProof="0" err="1">
                <a:ln>
                  <a:noFill/>
                </a:ln>
                <a:solidFill>
                  <a:srgbClr val="5B5C5E"/>
                </a:solidFill>
                <a:effectLst/>
                <a:uLnTx/>
                <a:uFillTx/>
                <a:latin typeface="Gibson Light" panose="02000000000000000000" pitchFamily="50" charset="0"/>
                <a:ea typeface="+mn-ea"/>
                <a:cs typeface="+mn-cs"/>
              </a:rPr>
              <a:t>surfer</a:t>
            </a:r>
            <a:r>
              <a:rPr kumimoji="0" lang="es-ES_tradnl" sz="1600" b="0" i="0" u="none" strike="noStrike" kern="1200" cap="none" spc="0" normalizeH="0" baseline="0" noProof="0">
                <a:ln>
                  <a:noFill/>
                </a:ln>
                <a:solidFill>
                  <a:srgbClr val="5B5C5E"/>
                </a:solidFill>
                <a:effectLst/>
                <a:uLnTx/>
                <a:uFillTx/>
                <a:latin typeface="Gibson Light" panose="02000000000000000000" pitchFamily="50" charset="0"/>
                <a:ea typeface="+mn-ea"/>
                <a:cs typeface="+mn-cs"/>
              </a:rPr>
              <a:t> viajero</a:t>
            </a:r>
          </a:p>
        </p:txBody>
      </p:sp>
      <p:pic>
        <p:nvPicPr>
          <p:cNvPr id="81" name="Picture 6">
            <a:extLst>
              <a:ext uri="{FF2B5EF4-FFF2-40B4-BE49-F238E27FC236}">
                <a16:creationId xmlns:a16="http://schemas.microsoft.com/office/drawing/2014/main" id="{69D1AA5A-26AF-4579-9519-5765F0F03AD5}"/>
              </a:ext>
            </a:extLst>
          </p:cNvPr>
          <p:cNvPicPr>
            <a:picLocks noChangeAspect="1" noChangeArrowheads="1"/>
          </p:cNvPicPr>
          <p:nvPr/>
        </p:nvPicPr>
        <p:blipFill rotWithShape="1">
          <a:blip r:embed="rId4"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2720812" y="1698247"/>
            <a:ext cx="1625326" cy="1624301"/>
          </a:xfrm>
          <a:prstGeom prst="ellipse">
            <a:avLst/>
          </a:prstGeom>
          <a:noFill/>
          <a:extLst>
            <a:ext uri="{909E8E84-426E-40DD-AFC4-6F175D3DCCD1}">
              <a14:hiddenFill xmlns:a14="http://schemas.microsoft.com/office/drawing/2010/main">
                <a:solidFill>
                  <a:srgbClr val="FFFFFF"/>
                </a:solidFill>
              </a14:hiddenFill>
            </a:ext>
          </a:extLst>
        </p:spPr>
      </p:pic>
      <p:pic>
        <p:nvPicPr>
          <p:cNvPr id="83" name="Picture 6">
            <a:extLst>
              <a:ext uri="{FF2B5EF4-FFF2-40B4-BE49-F238E27FC236}">
                <a16:creationId xmlns:a16="http://schemas.microsoft.com/office/drawing/2014/main" id="{6147783F-8689-4ED4-B972-EB3284BBA1DA}"/>
              </a:ext>
            </a:extLst>
          </p:cNvPr>
          <p:cNvPicPr>
            <a:picLocks noChangeAspect="1" noChangeArrowheads="1"/>
          </p:cNvPicPr>
          <p:nvPr/>
        </p:nvPicPr>
        <p:blipFill rotWithShape="1">
          <a:blip r:embed="rId5"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5318159" y="3968801"/>
            <a:ext cx="1623388" cy="1624824"/>
          </a:xfrm>
          <a:prstGeom prst="ellipse">
            <a:avLst/>
          </a:prstGeom>
          <a:noFill/>
          <a:extLst>
            <a:ext uri="{909E8E84-426E-40DD-AFC4-6F175D3DCCD1}">
              <a14:hiddenFill xmlns:a14="http://schemas.microsoft.com/office/drawing/2010/main">
                <a:solidFill>
                  <a:srgbClr val="FFFFFF"/>
                </a:solidFill>
              </a14:hiddenFill>
            </a:ext>
          </a:extLst>
        </p:spPr>
      </p:pic>
      <p:pic>
        <p:nvPicPr>
          <p:cNvPr id="84" name="Picture 6">
            <a:extLst>
              <a:ext uri="{FF2B5EF4-FFF2-40B4-BE49-F238E27FC236}">
                <a16:creationId xmlns:a16="http://schemas.microsoft.com/office/drawing/2014/main" id="{85299668-B9C5-4D3C-AD8B-6D5CD4F7B4FA}"/>
              </a:ext>
            </a:extLst>
          </p:cNvPr>
          <p:cNvPicPr>
            <a:picLocks noChangeAspect="1" noChangeArrowheads="1"/>
          </p:cNvPicPr>
          <p:nvPr/>
        </p:nvPicPr>
        <p:blipFill rotWithShape="1">
          <a:blip r:embed="rId6"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5321306" y="1699013"/>
            <a:ext cx="1621211" cy="1622769"/>
          </a:xfrm>
          <a:prstGeom prst="ellipse">
            <a:avLst/>
          </a:prstGeom>
          <a:noFill/>
          <a:extLst>
            <a:ext uri="{909E8E84-426E-40DD-AFC4-6F175D3DCCD1}">
              <a14:hiddenFill xmlns:a14="http://schemas.microsoft.com/office/drawing/2010/main">
                <a:solidFill>
                  <a:srgbClr val="FFFFFF"/>
                </a:solidFill>
              </a14:hiddenFill>
            </a:ext>
          </a:extLst>
        </p:spPr>
      </p:pic>
      <p:pic>
        <p:nvPicPr>
          <p:cNvPr id="85" name="Picture 6">
            <a:extLst>
              <a:ext uri="{FF2B5EF4-FFF2-40B4-BE49-F238E27FC236}">
                <a16:creationId xmlns:a16="http://schemas.microsoft.com/office/drawing/2014/main" id="{9CF0904B-E469-4A20-9C9A-F529BA4E0D6C}"/>
              </a:ext>
            </a:extLst>
          </p:cNvPr>
          <p:cNvPicPr>
            <a:picLocks noChangeAspect="1" noChangeArrowheads="1"/>
          </p:cNvPicPr>
          <p:nvPr/>
        </p:nvPicPr>
        <p:blipFill rotWithShape="1">
          <a:blip r:embed="rId7"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2720812" y="3909758"/>
            <a:ext cx="1621211" cy="1625153"/>
          </a:xfrm>
          <a:prstGeom prst="ellipse">
            <a:avLst/>
          </a:prstGeom>
          <a:noFill/>
          <a:extLst>
            <a:ext uri="{909E8E84-426E-40DD-AFC4-6F175D3DCCD1}">
              <a14:hiddenFill xmlns:a14="http://schemas.microsoft.com/office/drawing/2010/main">
                <a:solidFill>
                  <a:srgbClr val="FFFFFF"/>
                </a:solidFill>
              </a14:hiddenFill>
            </a:ext>
          </a:extLst>
        </p:spPr>
      </p:pic>
      <p:pic>
        <p:nvPicPr>
          <p:cNvPr id="22" name="Picture 21" descr="A person sitting next to a body of water&#10;&#10;Description automatically generated">
            <a:extLst>
              <a:ext uri="{FF2B5EF4-FFF2-40B4-BE49-F238E27FC236}">
                <a16:creationId xmlns:a16="http://schemas.microsoft.com/office/drawing/2014/main" id="{36B646D6-7244-664D-AC00-0D29EA606D64}"/>
              </a:ext>
            </a:extLst>
          </p:cNvPr>
          <p:cNvPicPr>
            <a:picLocks noChangeAspect="1"/>
          </p:cNvPicPr>
          <p:nvPr/>
        </p:nvPicPr>
        <p:blipFill>
          <a:blip r:embed="rId8"/>
          <a:stretch>
            <a:fillRect/>
          </a:stretch>
        </p:blipFill>
        <p:spPr>
          <a:xfrm>
            <a:off x="7917684" y="1697734"/>
            <a:ext cx="1625326" cy="1625326"/>
          </a:xfrm>
          <a:prstGeom prst="ellipse">
            <a:avLst/>
          </a:prstGeom>
        </p:spPr>
      </p:pic>
      <p:pic>
        <p:nvPicPr>
          <p:cNvPr id="3" name="Picture 2">
            <a:extLst>
              <a:ext uri="{FF2B5EF4-FFF2-40B4-BE49-F238E27FC236}">
                <a16:creationId xmlns:a16="http://schemas.microsoft.com/office/drawing/2014/main" id="{065D3A61-B394-AD3C-AEB8-0269728AF94C}"/>
              </a:ext>
            </a:extLst>
          </p:cNvPr>
          <p:cNvPicPr>
            <a:picLocks noChangeAspect="1"/>
          </p:cNvPicPr>
          <p:nvPr/>
        </p:nvPicPr>
        <p:blipFill>
          <a:blip r:embed="rId9"/>
          <a:stretch>
            <a:fillRect/>
          </a:stretch>
        </p:blipFill>
        <p:spPr>
          <a:xfrm>
            <a:off x="9210239" y="6134727"/>
            <a:ext cx="2676525" cy="552450"/>
          </a:xfrm>
          <a:prstGeom prst="rect">
            <a:avLst/>
          </a:prstGeom>
        </p:spPr>
      </p:pic>
    </p:spTree>
    <p:extLst>
      <p:ext uri="{BB962C8B-B14F-4D97-AF65-F5344CB8AC3E}">
        <p14:creationId xmlns:p14="http://schemas.microsoft.com/office/powerpoint/2010/main" val="2859803525"/>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 up of a green field&#10;&#10;Description automatically generated">
            <a:extLst>
              <a:ext uri="{FF2B5EF4-FFF2-40B4-BE49-F238E27FC236}">
                <a16:creationId xmlns:a16="http://schemas.microsoft.com/office/drawing/2014/main" id="{0E78C455-B146-C386-543B-54A42C45417B}"/>
              </a:ext>
            </a:extLst>
          </p:cNvPr>
          <p:cNvPicPr>
            <a:picLocks noChangeAspect="1"/>
          </p:cNvPicPr>
          <p:nvPr/>
        </p:nvPicPr>
        <p:blipFill rotWithShape="1">
          <a:blip r:embed="rId3"/>
          <a:srcRect t="54486" b="8950"/>
          <a:stretch/>
        </p:blipFill>
        <p:spPr>
          <a:xfrm>
            <a:off x="0" y="0"/>
            <a:ext cx="12192000" cy="6858000"/>
          </a:xfrm>
          <a:prstGeom prst="rect">
            <a:avLst/>
          </a:prstGeom>
        </p:spPr>
      </p:pic>
      <p:pic>
        <p:nvPicPr>
          <p:cNvPr id="6" name="Picture 5">
            <a:extLst>
              <a:ext uri="{FF2B5EF4-FFF2-40B4-BE49-F238E27FC236}">
                <a16:creationId xmlns:a16="http://schemas.microsoft.com/office/drawing/2014/main" id="{B361248C-7066-C344-B298-ADBA1662CDA3}"/>
              </a:ext>
            </a:extLst>
          </p:cNvPr>
          <p:cNvPicPr>
            <a:picLocks noChangeAspect="1"/>
          </p:cNvPicPr>
          <p:nvPr/>
        </p:nvPicPr>
        <p:blipFill>
          <a:blip r:embed="rId4">
            <a:duotone>
              <a:prstClr val="black"/>
              <a:srgbClr val="4472C4">
                <a:tint val="45000"/>
                <a:satMod val="400000"/>
              </a:srgbClr>
            </a:duotone>
            <a:extLst>
              <a:ext uri="{BEBA8EAE-BF5A-486C-A8C5-ECC9F3942E4B}">
                <a14:imgProps xmlns:a14="http://schemas.microsoft.com/office/drawing/2010/main">
                  <a14:imgLayer r:embed="rId5">
                    <a14:imgEffect>
                      <a14:colorTemperature colorTemp="11200"/>
                    </a14:imgEffect>
                    <a14:imgEffect>
                      <a14:saturation sat="0"/>
                    </a14:imgEffect>
                  </a14:imgLayer>
                </a14:imgProps>
              </a:ext>
            </a:extLst>
          </a:blip>
          <a:srcRect/>
          <a:stretch/>
        </p:blipFill>
        <p:spPr>
          <a:xfrm>
            <a:off x="1798240" y="1804454"/>
            <a:ext cx="1734855" cy="1734855"/>
          </a:xfrm>
          <a:prstGeom prst="rect">
            <a:avLst/>
          </a:prstGeom>
        </p:spPr>
      </p:pic>
      <p:pic>
        <p:nvPicPr>
          <p:cNvPr id="8" name="Picture 7">
            <a:extLst>
              <a:ext uri="{FF2B5EF4-FFF2-40B4-BE49-F238E27FC236}">
                <a16:creationId xmlns:a16="http://schemas.microsoft.com/office/drawing/2014/main" id="{CC847326-DA12-8141-A04A-E244F548ABDA}"/>
              </a:ext>
            </a:extLst>
          </p:cNvPr>
          <p:cNvPicPr>
            <a:picLocks noChangeAspect="1"/>
          </p:cNvPicPr>
          <p:nvPr/>
        </p:nvPicPr>
        <p:blipFill>
          <a:blip r:embed="rId6">
            <a:duotone>
              <a:prstClr val="black"/>
              <a:schemeClr val="accent1">
                <a:tint val="45000"/>
                <a:satMod val="400000"/>
              </a:schemeClr>
            </a:duotone>
            <a:extLst>
              <a:ext uri="{BEBA8EAE-BF5A-486C-A8C5-ECC9F3942E4B}">
                <a14:imgProps xmlns:a14="http://schemas.microsoft.com/office/drawing/2010/main">
                  <a14:imgLayer r:embed="rId7">
                    <a14:imgEffect>
                      <a14:colorTemperature colorTemp="11200"/>
                    </a14:imgEffect>
                    <a14:imgEffect>
                      <a14:saturation sat="0"/>
                    </a14:imgEffect>
                  </a14:imgLayer>
                </a14:imgProps>
              </a:ext>
            </a:extLst>
          </a:blip>
          <a:srcRect/>
          <a:stretch/>
        </p:blipFill>
        <p:spPr>
          <a:xfrm>
            <a:off x="8795809" y="2060417"/>
            <a:ext cx="1521333" cy="1521333"/>
          </a:xfrm>
          <a:prstGeom prst="rect">
            <a:avLst/>
          </a:prstGeom>
        </p:spPr>
      </p:pic>
      <p:pic>
        <p:nvPicPr>
          <p:cNvPr id="12" name="Picture 11">
            <a:extLst>
              <a:ext uri="{FF2B5EF4-FFF2-40B4-BE49-F238E27FC236}">
                <a16:creationId xmlns:a16="http://schemas.microsoft.com/office/drawing/2014/main" id="{98E1D13B-2528-984A-8C6F-1D34215A2924}"/>
              </a:ext>
            </a:extLst>
          </p:cNvPr>
          <p:cNvPicPr>
            <a:picLocks noChangeAspect="1"/>
          </p:cNvPicPr>
          <p:nvPr/>
        </p:nvPicPr>
        <p:blipFill>
          <a:blip r:embed="rId8">
            <a:duotone>
              <a:prstClr val="black"/>
              <a:schemeClr val="accent1">
                <a:tint val="45000"/>
                <a:satMod val="400000"/>
              </a:schemeClr>
            </a:duotone>
            <a:extLst>
              <a:ext uri="{BEBA8EAE-BF5A-486C-A8C5-ECC9F3942E4B}">
                <a14:imgProps xmlns:a14="http://schemas.microsoft.com/office/drawing/2010/main">
                  <a14:imgLayer r:embed="rId9">
                    <a14:imgEffect>
                      <a14:colorTemperature colorTemp="11200"/>
                    </a14:imgEffect>
                    <a14:imgEffect>
                      <a14:saturation sat="0"/>
                    </a14:imgEffect>
                  </a14:imgLayer>
                </a14:imgProps>
              </a:ext>
            </a:extLst>
          </a:blip>
          <a:srcRect/>
          <a:stretch/>
        </p:blipFill>
        <p:spPr>
          <a:xfrm>
            <a:off x="5133170" y="1912790"/>
            <a:ext cx="1673466" cy="1673466"/>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52C9BB32-621A-034D-94ED-DB7CE76C5F7A}"/>
              </a:ext>
            </a:extLst>
          </p:cNvPr>
          <p:cNvPicPr>
            <a:picLocks noChangeAspect="1"/>
          </p:cNvPicPr>
          <p:nvPr/>
        </p:nvPicPr>
        <p:blipFill>
          <a:blip r:embed="rId10"/>
          <a:stretch>
            <a:fillRect/>
          </a:stretch>
        </p:blipFill>
        <p:spPr>
          <a:xfrm>
            <a:off x="555970" y="308120"/>
            <a:ext cx="1558597" cy="1558597"/>
          </a:xfrm>
          <a:prstGeom prst="rect">
            <a:avLst/>
          </a:prstGeom>
        </p:spPr>
      </p:pic>
      <p:sp>
        <p:nvSpPr>
          <p:cNvPr id="31" name="Title 3">
            <a:extLst>
              <a:ext uri="{FF2B5EF4-FFF2-40B4-BE49-F238E27FC236}">
                <a16:creationId xmlns:a16="http://schemas.microsoft.com/office/drawing/2014/main" id="{DC16B9FA-CC1B-E94E-A2B9-FA5C513926C0}"/>
              </a:ext>
            </a:extLst>
          </p:cNvPr>
          <p:cNvSpPr txBox="1">
            <a:spLocks/>
          </p:cNvSpPr>
          <p:nvPr/>
        </p:nvSpPr>
        <p:spPr>
          <a:xfrm>
            <a:off x="2199278" y="836120"/>
            <a:ext cx="9267498" cy="4698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_tradnl" sz="3200" dirty="0"/>
              <a:t>Dirigir</a:t>
            </a:r>
          </a:p>
        </p:txBody>
      </p:sp>
      <p:cxnSp>
        <p:nvCxnSpPr>
          <p:cNvPr id="4" name="Straight Connector 3">
            <a:extLst>
              <a:ext uri="{FF2B5EF4-FFF2-40B4-BE49-F238E27FC236}">
                <a16:creationId xmlns:a16="http://schemas.microsoft.com/office/drawing/2014/main" id="{E46B9588-E47D-A04D-8F9C-C5900C5228E7}"/>
              </a:ext>
            </a:extLst>
          </p:cNvPr>
          <p:cNvCxnSpPr>
            <a:cxnSpLocks/>
          </p:cNvCxnSpPr>
          <p:nvPr/>
        </p:nvCxnSpPr>
        <p:spPr>
          <a:xfrm>
            <a:off x="2258195" y="1374497"/>
            <a:ext cx="9267498" cy="0"/>
          </a:xfrm>
          <a:prstGeom prst="line">
            <a:avLst/>
          </a:prstGeom>
          <a:ln/>
        </p:spPr>
        <p:style>
          <a:lnRef idx="1">
            <a:schemeClr val="accent1"/>
          </a:lnRef>
          <a:fillRef idx="0">
            <a:schemeClr val="accent1"/>
          </a:fillRef>
          <a:effectRef idx="0">
            <a:schemeClr val="accent1"/>
          </a:effectRef>
          <a:fontRef idx="minor">
            <a:schemeClr val="tx1"/>
          </a:fontRef>
        </p:style>
      </p:cxnSp>
      <p:sp>
        <p:nvSpPr>
          <p:cNvPr id="27" name="Title 3">
            <a:extLst>
              <a:ext uri="{FF2B5EF4-FFF2-40B4-BE49-F238E27FC236}">
                <a16:creationId xmlns:a16="http://schemas.microsoft.com/office/drawing/2014/main" id="{8AF53198-38F8-3E41-A994-F161455F9710}"/>
              </a:ext>
            </a:extLst>
          </p:cNvPr>
          <p:cNvSpPr txBox="1">
            <a:spLocks/>
          </p:cNvSpPr>
          <p:nvPr/>
        </p:nvSpPr>
        <p:spPr>
          <a:xfrm>
            <a:off x="1346843" y="3654269"/>
            <a:ext cx="2637649" cy="5685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algn="ctr"/>
            <a:r>
              <a:rPr lang="es-ES_tradnl" sz="2000" dirty="0">
                <a:solidFill>
                  <a:srgbClr val="5B5C5E"/>
                </a:solidFill>
                <a:latin typeface="+mj-lt"/>
              </a:rPr>
              <a:t>Que hacer en el destino</a:t>
            </a:r>
          </a:p>
        </p:txBody>
      </p:sp>
      <p:sp>
        <p:nvSpPr>
          <p:cNvPr id="34" name="Title 3">
            <a:extLst>
              <a:ext uri="{FF2B5EF4-FFF2-40B4-BE49-F238E27FC236}">
                <a16:creationId xmlns:a16="http://schemas.microsoft.com/office/drawing/2014/main" id="{91DB7971-B1AD-1C4C-BAF6-29CB49712798}"/>
              </a:ext>
            </a:extLst>
          </p:cNvPr>
          <p:cNvSpPr txBox="1">
            <a:spLocks/>
          </p:cNvSpPr>
          <p:nvPr/>
        </p:nvSpPr>
        <p:spPr>
          <a:xfrm>
            <a:off x="4792247" y="3654269"/>
            <a:ext cx="2637649" cy="5685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algn="ctr"/>
            <a:r>
              <a:rPr lang="es-ES_tradnl" sz="2000" dirty="0">
                <a:solidFill>
                  <a:srgbClr val="5B5C5E"/>
                </a:solidFill>
                <a:latin typeface="+mj-lt"/>
              </a:rPr>
              <a:t>Cómo digitalizar actividades locales</a:t>
            </a:r>
          </a:p>
        </p:txBody>
      </p:sp>
      <p:sp>
        <p:nvSpPr>
          <p:cNvPr id="37" name="Title 3">
            <a:extLst>
              <a:ext uri="{FF2B5EF4-FFF2-40B4-BE49-F238E27FC236}">
                <a16:creationId xmlns:a16="http://schemas.microsoft.com/office/drawing/2014/main" id="{B98979E2-48DE-B844-979D-C91F29134DDC}"/>
              </a:ext>
            </a:extLst>
          </p:cNvPr>
          <p:cNvSpPr txBox="1">
            <a:spLocks/>
          </p:cNvSpPr>
          <p:nvPr/>
        </p:nvSpPr>
        <p:spPr>
          <a:xfrm>
            <a:off x="8237651" y="3654269"/>
            <a:ext cx="2637649" cy="5685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s-ES_tradnl" sz="2000" dirty="0">
                <a:solidFill>
                  <a:srgbClr val="5B5C5E"/>
                </a:solidFill>
                <a:latin typeface="+mj-lt"/>
              </a:rPr>
              <a:t>Cómo</a:t>
            </a:r>
            <a:br>
              <a:rPr lang="es-ES_tradnl" sz="2000" dirty="0">
                <a:solidFill>
                  <a:srgbClr val="5B5C5E"/>
                </a:solidFill>
                <a:latin typeface="+mj-lt"/>
              </a:rPr>
            </a:br>
            <a:r>
              <a:rPr lang="es-ES_tradnl" sz="2000" dirty="0">
                <a:solidFill>
                  <a:srgbClr val="5B5C5E"/>
                </a:solidFill>
                <a:latin typeface="+mj-lt"/>
              </a:rPr>
              <a:t>promocionar</a:t>
            </a:r>
          </a:p>
        </p:txBody>
      </p:sp>
      <p:sp>
        <p:nvSpPr>
          <p:cNvPr id="11" name="Oval 10">
            <a:extLst>
              <a:ext uri="{FF2B5EF4-FFF2-40B4-BE49-F238E27FC236}">
                <a16:creationId xmlns:a16="http://schemas.microsoft.com/office/drawing/2014/main" id="{959E2E13-C968-9942-89F3-32963666E79A}"/>
              </a:ext>
            </a:extLst>
          </p:cNvPr>
          <p:cNvSpPr/>
          <p:nvPr/>
        </p:nvSpPr>
        <p:spPr>
          <a:xfrm>
            <a:off x="576858" y="344493"/>
            <a:ext cx="1492624" cy="1492624"/>
          </a:xfrm>
          <a:prstGeom prst="ellipse">
            <a:avLst/>
          </a:prstGeom>
          <a:noFill/>
          <a:ln w="38100">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Footer Placeholder 1">
            <a:extLst>
              <a:ext uri="{FF2B5EF4-FFF2-40B4-BE49-F238E27FC236}">
                <a16:creationId xmlns:a16="http://schemas.microsoft.com/office/drawing/2014/main" id="{3B9935E7-5148-9040-AA7C-48E8C3CF25C5}"/>
              </a:ext>
            </a:extLst>
          </p:cNvPr>
          <p:cNvSpPr>
            <a:spLocks noGrp="1"/>
          </p:cNvSpPr>
          <p:nvPr>
            <p:ph type="ftr" sz="quarter" idx="11"/>
          </p:nvPr>
        </p:nvSpPr>
        <p:spPr>
          <a:xfrm>
            <a:off x="608268" y="6124895"/>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005EB8"/>
                </a:solidFill>
                <a:effectLst/>
                <a:uLnTx/>
                <a:uFillTx/>
                <a:latin typeface="Gibson Light" panose="02000000000000000000" pitchFamily="2" charset="77"/>
                <a:ea typeface="+mn-ea"/>
                <a:cs typeface="+mn-cs"/>
              </a:rPr>
              <a:t>Footer  I  Credits  I  Links</a:t>
            </a:r>
          </a:p>
        </p:txBody>
      </p:sp>
      <p:pic>
        <p:nvPicPr>
          <p:cNvPr id="1026" name="Picture 2" descr="Dirigir - Qué es, en el arte, definición y concepto">
            <a:extLst>
              <a:ext uri="{FF2B5EF4-FFF2-40B4-BE49-F238E27FC236}">
                <a16:creationId xmlns:a16="http://schemas.microsoft.com/office/drawing/2014/main" id="{DB1938AE-8D53-18AE-834F-47C9DB67D3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9203" y="387012"/>
            <a:ext cx="1479705" cy="147970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419241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2043F2D7-6E8D-E946-9758-244FCD015FB5}"/>
              </a:ext>
            </a:extLst>
          </p:cNvPr>
          <p:cNvCxnSpPr/>
          <p:nvPr/>
        </p:nvCxnSpPr>
        <p:spPr>
          <a:xfrm>
            <a:off x="1133247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FA737D1-1233-5C48-A74C-9F3A8EBE2331}"/>
              </a:ext>
            </a:extLst>
          </p:cNvPr>
          <p:cNvCxnSpPr/>
          <p:nvPr/>
        </p:nvCxnSpPr>
        <p:spPr>
          <a:xfrm>
            <a:off x="10357117" y="6222731"/>
            <a:ext cx="0" cy="100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0756F203-6B5A-E74B-8359-8222EA49E6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296919">
            <a:off x="2259928" y="-1179651"/>
            <a:ext cx="5031116" cy="9876752"/>
          </a:xfrm>
          <a:prstGeom prst="rect">
            <a:avLst/>
          </a:prstGeom>
        </p:spPr>
      </p:pic>
      <p:sp>
        <p:nvSpPr>
          <p:cNvPr id="12" name="Title 4">
            <a:extLst>
              <a:ext uri="{FF2B5EF4-FFF2-40B4-BE49-F238E27FC236}">
                <a16:creationId xmlns:a16="http://schemas.microsoft.com/office/drawing/2014/main" id="{0CE60E11-984C-F04B-A776-307605C60DFB}"/>
              </a:ext>
            </a:extLst>
          </p:cNvPr>
          <p:cNvSpPr txBox="1">
            <a:spLocks/>
          </p:cNvSpPr>
          <p:nvPr/>
        </p:nvSpPr>
        <p:spPr>
          <a:xfrm>
            <a:off x="7173345" y="2740222"/>
            <a:ext cx="2805229" cy="1396805"/>
          </a:xfrm>
          <a:prstGeom prst="rect">
            <a:avLst/>
          </a:prstGeom>
        </p:spPr>
        <p:txBody>
          <a:bodyPr vert="horz" lIns="90000" tIns="45720" rIns="91440" bIns="45720" rtlCol="0" anchor="ctr">
            <a:noAutofit/>
          </a:bodyPr>
          <a:lstStyle>
            <a:lvl1pPr algn="l" defTabSz="914400" rtl="0" eaLnBrk="1" latinLnBrk="0" hangingPunct="1">
              <a:lnSpc>
                <a:spcPct val="90000"/>
              </a:lnSpc>
              <a:spcBef>
                <a:spcPct val="0"/>
              </a:spcBef>
              <a:buNone/>
              <a:defRPr sz="3300" b="0" i="0" kern="1200">
                <a:solidFill>
                  <a:srgbClr val="005EB8"/>
                </a:solidFill>
                <a:latin typeface="Gibson Light" panose="02000000000000000000"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Digitalizar el ecosistema </a:t>
            </a:r>
            <a:b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br>
            <a:r>
              <a:rPr kumimoji="0" lang="es-ES_tradnl" sz="3200" b="0" i="0" u="none" strike="noStrike" kern="1200" cap="none" spc="0" normalizeH="0" baseline="0" noProof="0">
                <a:ln>
                  <a:noFill/>
                </a:ln>
                <a:solidFill>
                  <a:srgbClr val="FFFFFF"/>
                </a:solidFill>
                <a:effectLst/>
                <a:uLnTx/>
                <a:uFillTx/>
                <a:latin typeface="Gibson Light" panose="02000000000000000000" pitchFamily="2" charset="77"/>
                <a:ea typeface="+mj-ea"/>
                <a:cs typeface="+mj-cs"/>
              </a:rPr>
              <a:t>de actividades locales</a:t>
            </a:r>
          </a:p>
        </p:txBody>
      </p:sp>
      <p:pic>
        <p:nvPicPr>
          <p:cNvPr id="4" name="Picture 3">
            <a:extLst>
              <a:ext uri="{FF2B5EF4-FFF2-40B4-BE49-F238E27FC236}">
                <a16:creationId xmlns:a16="http://schemas.microsoft.com/office/drawing/2014/main" id="{5B1145A8-CBE3-0699-18E7-2B178F608132}"/>
              </a:ext>
            </a:extLst>
          </p:cNvPr>
          <p:cNvPicPr>
            <a:picLocks noChangeAspect="1"/>
          </p:cNvPicPr>
          <p:nvPr/>
        </p:nvPicPr>
        <p:blipFill>
          <a:blip r:embed="rId4"/>
          <a:stretch>
            <a:fillRect/>
          </a:stretch>
        </p:blipFill>
        <p:spPr>
          <a:xfrm>
            <a:off x="8867775" y="6171130"/>
            <a:ext cx="2888796" cy="543773"/>
          </a:xfrm>
          <a:prstGeom prst="rect">
            <a:avLst/>
          </a:prstGeom>
        </p:spPr>
      </p:pic>
    </p:spTree>
    <p:extLst>
      <p:ext uri="{BB962C8B-B14F-4D97-AF65-F5344CB8AC3E}">
        <p14:creationId xmlns:p14="http://schemas.microsoft.com/office/powerpoint/2010/main" val="321443539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3693249-D3A5-5EB1-7753-322FA568D1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2308"/>
            <a:ext cx="12192000" cy="6858000"/>
          </a:xfrm>
          <a:prstGeom prst="rect">
            <a:avLst/>
          </a:prstGeom>
        </p:spPr>
      </p:pic>
      <p:sp>
        <p:nvSpPr>
          <p:cNvPr id="21" name="Title 2">
            <a:extLst>
              <a:ext uri="{FF2B5EF4-FFF2-40B4-BE49-F238E27FC236}">
                <a16:creationId xmlns:a16="http://schemas.microsoft.com/office/drawing/2014/main" id="{2B22B50D-E930-46C4-82E7-A414AF7AAAF8}"/>
              </a:ext>
            </a:extLst>
          </p:cNvPr>
          <p:cNvSpPr txBox="1">
            <a:spLocks/>
          </p:cNvSpPr>
          <p:nvPr/>
        </p:nvSpPr>
        <p:spPr>
          <a:xfrm>
            <a:off x="764591" y="358925"/>
            <a:ext cx="11252793" cy="582052"/>
          </a:xfrm>
          <a:prstGeom prst="rect">
            <a:avLst/>
          </a:prstGeom>
        </p:spPr>
        <p:txBody>
          <a:bodyPr/>
          <a:lst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Conectando</a:t>
            </a:r>
            <a:r>
              <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 </a:t>
            </a: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todo</a:t>
            </a:r>
            <a:r>
              <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 el </a:t>
            </a: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ecosistema</a:t>
            </a:r>
            <a:r>
              <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 de </a:t>
            </a: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viajes</a:t>
            </a:r>
            <a:r>
              <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 a </a:t>
            </a: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nivel</a:t>
            </a:r>
            <a:r>
              <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 </a:t>
            </a:r>
            <a:r>
              <a:rPr kumimoji="0" lang="en-US" sz="3200" b="1" i="0" u="none" strike="noStrike" kern="1200" cap="none" spc="0" normalizeH="0" baseline="0" noProof="0" dirty="0" err="1">
                <a:ln>
                  <a:noFill/>
                </a:ln>
                <a:solidFill>
                  <a:srgbClr val="005EB8"/>
                </a:solidFill>
                <a:effectLst/>
                <a:uLnTx/>
                <a:uFillTx/>
                <a:latin typeface="Calibri" panose="020F0502020204030204" pitchFamily="34" charset="0"/>
                <a:ea typeface="+mj-ea"/>
                <a:cs typeface="Calibri" panose="020F0502020204030204" pitchFamily="34" charset="0"/>
              </a:rPr>
              <a:t>mundial</a:t>
            </a:r>
            <a:endPar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endParaRPr>
          </a:p>
        </p:txBody>
      </p:sp>
      <p:sp>
        <p:nvSpPr>
          <p:cNvPr id="36" name="Rectangle 35">
            <a:extLst>
              <a:ext uri="{FF2B5EF4-FFF2-40B4-BE49-F238E27FC236}">
                <a16:creationId xmlns:a16="http://schemas.microsoft.com/office/drawing/2014/main" id="{7C3B7220-8306-467E-AFB5-724B7B5649FF}"/>
              </a:ext>
            </a:extLst>
          </p:cNvPr>
          <p:cNvSpPr/>
          <p:nvPr/>
        </p:nvSpPr>
        <p:spPr>
          <a:xfrm>
            <a:off x="764591" y="1168407"/>
            <a:ext cx="3639977" cy="3783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457200" rtl="0" eaLnBrk="1" fontAlgn="auto" latinLnBrk="0" hangingPunct="1">
              <a:lnSpc>
                <a:spcPct val="100000"/>
              </a:lnSpc>
              <a:spcBef>
                <a:spcPts val="0"/>
              </a:spcBef>
              <a:spcAft>
                <a:spcPts val="500"/>
              </a:spcAft>
              <a:buClrTx/>
              <a:buSzTx/>
              <a:buFontTx/>
              <a:buNone/>
              <a:tabLst/>
              <a:defRPr/>
            </a:pPr>
            <a:r>
              <a:rPr kumimoji="0" lang="en-US" sz="2100" b="1"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Proveedor</a:t>
            </a:r>
            <a:r>
              <a:rPr kumimoji="0" lang="en-US" sz="2100" b="1"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 de </a:t>
            </a:r>
            <a:r>
              <a:rPr kumimoji="0" lang="en-US" sz="2100" b="1"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Viajes</a:t>
            </a:r>
            <a:endParaRPr kumimoji="0" lang="en-US" sz="2100" b="1"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Hotele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Aerolínea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Aeropuerto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1"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Gobiernos</a:t>
            </a:r>
            <a:r>
              <a:rPr kumimoji="0" lang="en-US" sz="1500" b="1"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 y </a:t>
            </a:r>
            <a:r>
              <a:rPr kumimoji="0" lang="en-US" sz="1500" b="1"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Destinos</a:t>
            </a:r>
            <a:r>
              <a:rPr kumimoji="0" lang="en-US" sz="1500" b="1"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 </a:t>
            </a:r>
            <a:r>
              <a:rPr kumimoji="0" lang="en-US" sz="1500" b="1"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Turísticos</a:t>
            </a:r>
            <a:endParaRPr kumimoji="0" lang="en-US" sz="1500" b="1"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Trene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Rental de </a:t>
            </a: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Automóvile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Tour </a:t>
            </a: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Operadore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Crucero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Aseguradora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Soporte</a:t>
            </a:r>
            <a:r>
              <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rPr>
              <a:t> en </a:t>
            </a: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Aeropuerto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dirty="0" err="1">
                <a:ln>
                  <a:noFill/>
                </a:ln>
                <a:solidFill>
                  <a:srgbClr val="6F2B8D"/>
                </a:solidFill>
                <a:effectLst/>
                <a:uLnTx/>
                <a:uFillTx/>
                <a:latin typeface="Calibri Light" panose="020F0302020204030204" pitchFamily="34" charset="0"/>
                <a:ea typeface="+mn-ea"/>
                <a:cs typeface="Calibri Light" panose="020F0302020204030204" pitchFamily="34" charset="0"/>
              </a:rPr>
              <a:t>Otros</a:t>
            </a:r>
            <a:endParaRPr kumimoji="0" lang="en-US" sz="1500" b="0" i="0" u="none" strike="noStrike" kern="1200" cap="none" spc="0" normalizeH="0" baseline="0" noProof="0" dirty="0">
              <a:ln>
                <a:noFill/>
              </a:ln>
              <a:solidFill>
                <a:srgbClr val="6F2B8D"/>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37" name="Rectangle 36">
            <a:extLst>
              <a:ext uri="{FF2B5EF4-FFF2-40B4-BE49-F238E27FC236}">
                <a16:creationId xmlns:a16="http://schemas.microsoft.com/office/drawing/2014/main" id="{36640200-0C39-4826-B6A8-20B682D8238A}"/>
              </a:ext>
            </a:extLst>
          </p:cNvPr>
          <p:cNvSpPr/>
          <p:nvPr/>
        </p:nvSpPr>
        <p:spPr>
          <a:xfrm>
            <a:off x="7820612" y="1168407"/>
            <a:ext cx="3649914" cy="24113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457200" rtl="0" eaLnBrk="1" fontAlgn="auto" latinLnBrk="0" hangingPunct="1">
              <a:lnSpc>
                <a:spcPct val="100000"/>
              </a:lnSpc>
              <a:spcBef>
                <a:spcPts val="0"/>
              </a:spcBef>
              <a:spcAft>
                <a:spcPts val="500"/>
              </a:spcAft>
              <a:buClrTx/>
              <a:buSzTx/>
              <a:buFontTx/>
              <a:buNone/>
              <a:tabLst/>
              <a:defRPr/>
            </a:pPr>
            <a:r>
              <a:rPr kumimoji="0" lang="en-US" sz="2100" b="1"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Vendedores</a:t>
            </a:r>
            <a:r>
              <a:rPr kumimoji="0" lang="en-US" sz="2100" b="1"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de </a:t>
            </a:r>
            <a:r>
              <a:rPr kumimoji="0" lang="en-US" sz="2100" b="1"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Viajes</a:t>
            </a:r>
            <a:endParaRPr kumimoji="0" lang="en-US" sz="2100" b="1"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4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0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Agencias</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de </a:t>
            </a: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Viaje</a:t>
            </a: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TMCs</a:t>
            </a: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Agencias</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de </a:t>
            </a: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Viaje</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Online</a:t>
            </a: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Metabuscadores</a:t>
            </a: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Medios</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de </a:t>
            </a: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difusión</a:t>
            </a: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Heramientas</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a:t>
            </a: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Corporativas</a:t>
            </a: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 de </a:t>
            </a: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Reserva</a:t>
            </a: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rPr>
              <a:t>Destination Management Company</a:t>
            </a:r>
          </a:p>
          <a:p>
            <a:pPr marL="0" marR="0" lvl="0" indent="0" algn="ctr" defTabSz="457200" rtl="0" eaLnBrk="1" fontAlgn="auto" latinLnBrk="0" hangingPunct="1">
              <a:lnSpc>
                <a:spcPts val="1200"/>
              </a:lnSpc>
              <a:spcBef>
                <a:spcPts val="0"/>
              </a:spcBef>
              <a:spcAft>
                <a:spcPts val="500"/>
              </a:spcAft>
              <a:buClrTx/>
              <a:buSzTx/>
              <a:buFontTx/>
              <a:buNone/>
              <a:tabLst/>
              <a:defRPr/>
            </a:pPr>
            <a:r>
              <a:rPr kumimoji="0" lang="en-US" sz="1500" b="0" i="0" u="none" strike="noStrike" kern="1200" cap="none" spc="0" normalizeH="0" baseline="0" noProof="0" err="1">
                <a:ln>
                  <a:noFill/>
                </a:ln>
                <a:solidFill>
                  <a:srgbClr val="CE0058"/>
                </a:solidFill>
                <a:effectLst/>
                <a:uLnTx/>
                <a:uFillTx/>
                <a:latin typeface="Calibri Light" panose="020F0302020204030204" pitchFamily="34" charset="0"/>
                <a:ea typeface="+mn-ea"/>
                <a:cs typeface="Calibri Light" panose="020F0302020204030204" pitchFamily="34" charset="0"/>
              </a:rPr>
              <a:t>Otros</a:t>
            </a:r>
            <a:endParaRPr kumimoji="0" lang="en-US" sz="1500" b="0" i="0" u="none" strike="noStrike" kern="1200" cap="none" spc="0" normalizeH="0" baseline="0" noProof="0">
              <a:ln>
                <a:noFill/>
              </a:ln>
              <a:solidFill>
                <a:srgbClr val="CE0058"/>
              </a:solidFill>
              <a:effectLst/>
              <a:uLnTx/>
              <a:uFillTx/>
              <a:latin typeface="Calibri Light" panose="020F0302020204030204" pitchFamily="34" charset="0"/>
              <a:ea typeface="+mn-ea"/>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5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24" name="MSIPCMContentMarking" descr="{&quot;HashCode&quot;:-980460767,&quot;Placement&quot;:&quot;Header&quot;}">
            <a:extLst>
              <a:ext uri="{FF2B5EF4-FFF2-40B4-BE49-F238E27FC236}">
                <a16:creationId xmlns:a16="http://schemas.microsoft.com/office/drawing/2014/main" id="{D1E98724-68F1-BAC4-CDB2-B96236BE015A}"/>
              </a:ext>
            </a:extLst>
          </p:cNvPr>
          <p:cNvSpPr txBox="1"/>
          <p:nvPr/>
        </p:nvSpPr>
        <p:spPr>
          <a:xfrm>
            <a:off x="10002555" y="0"/>
            <a:ext cx="2189445" cy="296525"/>
          </a:xfrm>
          <a:prstGeom prst="rect">
            <a:avLst/>
          </a:prstGeom>
          <a:noFill/>
        </p:spPr>
        <p:txBody>
          <a:bodyPr vert="horz" wrap="square" lIns="0" tIns="0" rIns="0" bIns="0" rtlCol="0" anchor="ctr" anchorCtr="1">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8C00"/>
                </a:solidFill>
                <a:effectLst/>
                <a:uLnTx/>
                <a:uFillTx/>
                <a:latin typeface="Calibri" panose="020F0502020204030204" pitchFamily="34" charset="0"/>
                <a:ea typeface="+mn-ea"/>
                <a:cs typeface="+mn-cs"/>
              </a:rPr>
              <a:t>CONFIDENTIAL &amp; RESTRICTED</a:t>
            </a:r>
          </a:p>
        </p:txBody>
      </p:sp>
      <p:pic>
        <p:nvPicPr>
          <p:cNvPr id="2" name="Picture 1">
            <a:extLst>
              <a:ext uri="{FF2B5EF4-FFF2-40B4-BE49-F238E27FC236}">
                <a16:creationId xmlns:a16="http://schemas.microsoft.com/office/drawing/2014/main" id="{7541D41C-81EC-511E-829A-0D4E1F35AD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43591" y="6437424"/>
            <a:ext cx="1027354" cy="140733"/>
          </a:xfrm>
          <a:prstGeom prst="rect">
            <a:avLst/>
          </a:prstGeom>
        </p:spPr>
      </p:pic>
      <p:sp>
        <p:nvSpPr>
          <p:cNvPr id="3" name="Footer Placeholder 5">
            <a:extLst>
              <a:ext uri="{FF2B5EF4-FFF2-40B4-BE49-F238E27FC236}">
                <a16:creationId xmlns:a16="http://schemas.microsoft.com/office/drawing/2014/main" id="{E3BFB37C-32CC-C5CC-F56A-BA05D90F87F2}"/>
              </a:ext>
            </a:extLst>
          </p:cNvPr>
          <p:cNvSpPr txBox="1">
            <a:spLocks/>
          </p:cNvSpPr>
          <p:nvPr/>
        </p:nvSpPr>
        <p:spPr>
          <a:xfrm rot="16200000">
            <a:off x="10404202" y="4427704"/>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lumMod val="75000"/>
                  </a:srgbClr>
                </a:solidFill>
                <a:effectLst/>
                <a:uLnTx/>
                <a:uFillTx/>
                <a:latin typeface="Calibri Light" panose="020F0302020204030204" pitchFamily="34" charset="0"/>
                <a:ea typeface="+mn-ea"/>
                <a:cs typeface="Calibri Light" panose="020F0302020204030204" pitchFamily="34" charset="0"/>
              </a:rPr>
              <a:t>© Amadeus IT Group and its affiliates and subsidiaries</a:t>
            </a:r>
          </a:p>
        </p:txBody>
      </p:sp>
      <p:sp>
        <p:nvSpPr>
          <p:cNvPr id="18" name="TextBox 17">
            <a:extLst>
              <a:ext uri="{FF2B5EF4-FFF2-40B4-BE49-F238E27FC236}">
                <a16:creationId xmlns:a16="http://schemas.microsoft.com/office/drawing/2014/main" id="{D2A5A815-5E8C-9F0E-69A6-74B38CA15B4C}"/>
              </a:ext>
            </a:extLst>
          </p:cNvPr>
          <p:cNvSpPr txBox="1"/>
          <p:nvPr/>
        </p:nvSpPr>
        <p:spPr>
          <a:xfrm>
            <a:off x="4754874" y="4093024"/>
            <a:ext cx="2751909"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Compradores</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Corporaciones</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Viajeros</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13703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green field&#10;&#10;Description automatically generated">
            <a:extLst>
              <a:ext uri="{FF2B5EF4-FFF2-40B4-BE49-F238E27FC236}">
                <a16:creationId xmlns:a16="http://schemas.microsoft.com/office/drawing/2014/main" id="{5BCB0898-69F5-6071-4C9B-2CA06E632E7F}"/>
              </a:ext>
            </a:extLst>
          </p:cNvPr>
          <p:cNvPicPr>
            <a:picLocks noChangeAspect="1"/>
          </p:cNvPicPr>
          <p:nvPr/>
        </p:nvPicPr>
        <p:blipFill rotWithShape="1">
          <a:blip r:embed="rId3"/>
          <a:srcRect t="54486" b="8950"/>
          <a:stretch/>
        </p:blipFill>
        <p:spPr>
          <a:xfrm>
            <a:off x="0" y="0"/>
            <a:ext cx="12192000" cy="6858000"/>
          </a:xfrm>
          <a:prstGeom prst="rect">
            <a:avLst/>
          </a:prstGeom>
        </p:spPr>
      </p:pic>
      <p:sp>
        <p:nvSpPr>
          <p:cNvPr id="10" name="Footer Placeholder 4">
            <a:extLst>
              <a:ext uri="{FF2B5EF4-FFF2-40B4-BE49-F238E27FC236}">
                <a16:creationId xmlns:a16="http://schemas.microsoft.com/office/drawing/2014/main" id="{8042C1A2-A3FF-5742-8338-CED6A42525EB}"/>
              </a:ext>
            </a:extLst>
          </p:cNvPr>
          <p:cNvSpPr txBox="1">
            <a:spLocks/>
          </p:cNvSpPr>
          <p:nvPr/>
        </p:nvSpPr>
        <p:spPr>
          <a:xfrm rot="16200000">
            <a:off x="10535710" y="5239807"/>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lumMod val="65000"/>
                  </a:srgbClr>
                </a:solidFill>
                <a:effectLst/>
                <a:uLnTx/>
                <a:uFillTx/>
                <a:latin typeface="Gibson Light" panose="02000000000000000000" pitchFamily="2" charset="77"/>
                <a:ea typeface="+mn-ea"/>
                <a:cs typeface="+mn-cs"/>
              </a:rPr>
              <a:t>© Amadeus IT Group and its affiliates and subsidiaries</a:t>
            </a:r>
          </a:p>
        </p:txBody>
      </p:sp>
      <p:sp>
        <p:nvSpPr>
          <p:cNvPr id="32" name="Rectangle 31">
            <a:extLst>
              <a:ext uri="{FF2B5EF4-FFF2-40B4-BE49-F238E27FC236}">
                <a16:creationId xmlns:a16="http://schemas.microsoft.com/office/drawing/2014/main" id="{96181BBC-55AA-CF4B-A8AC-E76382AE0A5A}"/>
              </a:ext>
            </a:extLst>
          </p:cNvPr>
          <p:cNvSpPr/>
          <p:nvPr/>
        </p:nvSpPr>
        <p:spPr>
          <a:xfrm>
            <a:off x="-4" y="2885348"/>
            <a:ext cx="12191995" cy="2917371"/>
          </a:xfrm>
          <a:prstGeom prst="rect">
            <a:avLst/>
          </a:prstGeom>
          <a:gradFill flip="none" rotWithShape="1">
            <a:gsLst>
              <a:gs pos="48000">
                <a:srgbClr val="141415">
                  <a:alpha val="94000"/>
                </a:srgbClr>
              </a:gs>
              <a:gs pos="25000">
                <a:schemeClr val="tx1">
                  <a:lumMod val="45000"/>
                  <a:alpha val="0"/>
                </a:schemeClr>
              </a:gs>
              <a:gs pos="97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13" name="Rectangle 12">
            <a:extLst>
              <a:ext uri="{FF2B5EF4-FFF2-40B4-BE49-F238E27FC236}">
                <a16:creationId xmlns:a16="http://schemas.microsoft.com/office/drawing/2014/main" id="{76750BD4-C216-7146-9AD9-5F2D23DF4D4F}"/>
              </a:ext>
            </a:extLst>
          </p:cNvPr>
          <p:cNvSpPr/>
          <p:nvPr/>
        </p:nvSpPr>
        <p:spPr>
          <a:xfrm>
            <a:off x="716811" y="3679557"/>
            <a:ext cx="2547172"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escubr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0" name="TextBox 19">
            <a:extLst>
              <a:ext uri="{FF2B5EF4-FFF2-40B4-BE49-F238E27FC236}">
                <a16:creationId xmlns:a16="http://schemas.microsoft.com/office/drawing/2014/main" id="{97E4254A-E4D9-0F4F-9653-0EAF647DF7F1}"/>
              </a:ext>
            </a:extLst>
          </p:cNvPr>
          <p:cNvSpPr txBox="1"/>
          <p:nvPr/>
        </p:nvSpPr>
        <p:spPr>
          <a:xfrm>
            <a:off x="763736" y="4344034"/>
            <a:ext cx="2119089"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L"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Mi potencial</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4" name="Rectangle 13">
            <a:extLst>
              <a:ext uri="{FF2B5EF4-FFF2-40B4-BE49-F238E27FC236}">
                <a16:creationId xmlns:a16="http://schemas.microsoft.com/office/drawing/2014/main" id="{7B028E4B-DA68-DB44-B02D-039EB5EDF1AC}"/>
              </a:ext>
            </a:extLst>
          </p:cNvPr>
          <p:cNvSpPr/>
          <p:nvPr/>
        </p:nvSpPr>
        <p:spPr>
          <a:xfrm>
            <a:off x="3834046" y="3679557"/>
            <a:ext cx="1841594"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efin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1" name="TextBox 20">
            <a:extLst>
              <a:ext uri="{FF2B5EF4-FFF2-40B4-BE49-F238E27FC236}">
                <a16:creationId xmlns:a16="http://schemas.microsoft.com/office/drawing/2014/main" id="{195753B5-FB8E-A645-B402-44656EAB8659}"/>
              </a:ext>
            </a:extLst>
          </p:cNvPr>
          <p:cNvSpPr txBox="1"/>
          <p:nvPr/>
        </p:nvSpPr>
        <p:spPr>
          <a:xfrm>
            <a:off x="3525004" y="4344034"/>
            <a:ext cx="2413020"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Mi </a:t>
            </a:r>
            <a:r>
              <a:rPr kumimoji="0" lang="en-US" sz="2400" b="0" i="0" u="none" strike="noStrike" kern="1200" cap="none" spc="0" normalizeH="0" baseline="0" noProof="0" dirty="0" err="1">
                <a:ln>
                  <a:noFill/>
                </a:ln>
                <a:solidFill>
                  <a:srgbClr val="9BCAEC">
                    <a:lumMod val="40000"/>
                    <a:lumOff val="60000"/>
                  </a:srgbClr>
                </a:solidFill>
                <a:effectLst/>
                <a:uLnTx/>
                <a:uFillTx/>
                <a:latin typeface="Gibson Light" panose="02000000000000000000" pitchFamily="2" charset="77"/>
                <a:ea typeface="+mn-ea"/>
                <a:cs typeface="+mn-cs"/>
              </a:rPr>
              <a:t>objetivo</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5" name="Rectangle 14">
            <a:extLst>
              <a:ext uri="{FF2B5EF4-FFF2-40B4-BE49-F238E27FC236}">
                <a16:creationId xmlns:a16="http://schemas.microsoft.com/office/drawing/2014/main" id="{07BDFBFA-E16F-0C4F-9442-A688C8FBC6A4}"/>
              </a:ext>
            </a:extLst>
          </p:cNvPr>
          <p:cNvSpPr/>
          <p:nvPr/>
        </p:nvSpPr>
        <p:spPr>
          <a:xfrm>
            <a:off x="6437897" y="3679557"/>
            <a:ext cx="1899879"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iseñ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2" name="TextBox 21">
            <a:extLst>
              <a:ext uri="{FF2B5EF4-FFF2-40B4-BE49-F238E27FC236}">
                <a16:creationId xmlns:a16="http://schemas.microsoft.com/office/drawing/2014/main" id="{9DCAB336-74F8-DA42-945A-E5D518FEFDEF}"/>
              </a:ext>
            </a:extLst>
          </p:cNvPr>
          <p:cNvSpPr txBox="1"/>
          <p:nvPr/>
        </p:nvSpPr>
        <p:spPr>
          <a:xfrm>
            <a:off x="6237138" y="4344034"/>
            <a:ext cx="2351093"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L"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La estrategia</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
        <p:nvSpPr>
          <p:cNvPr id="16" name="Rectangle 15">
            <a:extLst>
              <a:ext uri="{FF2B5EF4-FFF2-40B4-BE49-F238E27FC236}">
                <a16:creationId xmlns:a16="http://schemas.microsoft.com/office/drawing/2014/main" id="{72F65926-4873-7848-BB8A-5B54FAEC2353}"/>
              </a:ext>
            </a:extLst>
          </p:cNvPr>
          <p:cNvSpPr/>
          <p:nvPr/>
        </p:nvSpPr>
        <p:spPr>
          <a:xfrm>
            <a:off x="9468158" y="3679557"/>
            <a:ext cx="1532792" cy="830997"/>
          </a:xfrm>
          <a:prstGeom prst="rect">
            <a:avLst/>
          </a:prstGeom>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prstClr val="white"/>
                </a:solidFill>
                <a:effectLst/>
                <a:uLnTx/>
                <a:uFillTx/>
                <a:latin typeface="Gibson Light" panose="02000000000000000000" pitchFamily="2" charset="77"/>
                <a:ea typeface="+mn-ea"/>
                <a:cs typeface="+mn-cs"/>
              </a:rPr>
              <a:t>Dirijo</a:t>
            </a:r>
            <a:endParaRPr kumimoji="0" lang="en-US" sz="4800" b="0" i="0" u="none" strike="noStrike" kern="1200" cap="none" spc="0" normalizeH="0" baseline="0" noProof="0" dirty="0">
              <a:ln>
                <a:noFill/>
              </a:ln>
              <a:solidFill>
                <a:prstClr val="white"/>
              </a:solidFill>
              <a:effectLst/>
              <a:uLnTx/>
              <a:uFillTx/>
              <a:latin typeface="Gibson Light" panose="02000000000000000000" pitchFamily="2" charset="77"/>
              <a:ea typeface="+mn-ea"/>
              <a:cs typeface="+mn-cs"/>
            </a:endParaRPr>
          </a:p>
        </p:txBody>
      </p:sp>
      <p:sp>
        <p:nvSpPr>
          <p:cNvPr id="23" name="TextBox 22">
            <a:extLst>
              <a:ext uri="{FF2B5EF4-FFF2-40B4-BE49-F238E27FC236}">
                <a16:creationId xmlns:a16="http://schemas.microsoft.com/office/drawing/2014/main" id="{50E41226-3096-4642-AE41-11A5E9843DF4}"/>
              </a:ext>
            </a:extLst>
          </p:cNvPr>
          <p:cNvSpPr txBox="1"/>
          <p:nvPr/>
        </p:nvSpPr>
        <p:spPr>
          <a:xfrm>
            <a:off x="8936670" y="4344034"/>
            <a:ext cx="2555950" cy="461665"/>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rPr>
              <a:t>La </a:t>
            </a:r>
            <a:r>
              <a:rPr kumimoji="0" lang="en-US" sz="2400" b="0" i="0" u="none" strike="noStrike" kern="1200" cap="none" spc="0" normalizeH="0" baseline="0" noProof="0" dirty="0" err="1">
                <a:ln>
                  <a:noFill/>
                </a:ln>
                <a:solidFill>
                  <a:srgbClr val="9BCAEC">
                    <a:lumMod val="40000"/>
                    <a:lumOff val="60000"/>
                  </a:srgbClr>
                </a:solidFill>
                <a:effectLst/>
                <a:uLnTx/>
                <a:uFillTx/>
                <a:latin typeface="Gibson Light" panose="02000000000000000000" pitchFamily="2" charset="77"/>
                <a:ea typeface="+mn-ea"/>
                <a:cs typeface="+mn-cs"/>
              </a:rPr>
              <a:t>acción</a:t>
            </a:r>
            <a:endParaRPr kumimoji="0" lang="en-DE" sz="2400" b="0" i="0" u="none" strike="noStrike" kern="1200" cap="none" spc="0" normalizeH="0" baseline="0" noProof="0" dirty="0">
              <a:ln>
                <a:noFill/>
              </a:ln>
              <a:solidFill>
                <a:srgbClr val="9BCAEC">
                  <a:lumMod val="40000"/>
                  <a:lumOff val="60000"/>
                </a:srgbClr>
              </a:solidFill>
              <a:effectLst/>
              <a:uLnTx/>
              <a:uFillTx/>
              <a:latin typeface="Gibson Light" panose="02000000000000000000" pitchFamily="2" charset="77"/>
              <a:ea typeface="+mn-ea"/>
              <a:cs typeface="+mn-cs"/>
            </a:endParaRPr>
          </a:p>
        </p:txBody>
      </p:sp>
    </p:spTree>
    <p:extLst>
      <p:ext uri="{BB962C8B-B14F-4D97-AF65-F5344CB8AC3E}">
        <p14:creationId xmlns:p14="http://schemas.microsoft.com/office/powerpoint/2010/main" val="1285378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childTnLst>
                          </p:cTn>
                        </p:par>
                        <p:par>
                          <p:cTn id="8" fill="hold">
                            <p:stCondLst>
                              <p:cond delay="750"/>
                            </p:stCondLst>
                            <p:childTnLst>
                              <p:par>
                                <p:cTn id="9" presetID="10" presetClass="entr" presetSubtype="0" fill="hold" grpId="0" nodeType="afterEffect">
                                  <p:stCondLst>
                                    <p:cond delay="5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750"/>
                                        <p:tgtEl>
                                          <p:spTgt spid="21"/>
                                        </p:tgtEl>
                                      </p:cBhvr>
                                    </p:animEffect>
                                  </p:childTnLst>
                                </p:cTn>
                              </p:par>
                            </p:childTnLst>
                          </p:cTn>
                        </p:par>
                        <p:par>
                          <p:cTn id="12" fill="hold">
                            <p:stCondLst>
                              <p:cond delay="2000"/>
                            </p:stCondLst>
                            <p:childTnLst>
                              <p:par>
                                <p:cTn id="13" presetID="10" presetClass="entr" presetSubtype="0" fill="hold" grpId="0" nodeType="after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750"/>
                                        <p:tgtEl>
                                          <p:spTgt spid="22"/>
                                        </p:tgtEl>
                                      </p:cBhvr>
                                    </p:animEffect>
                                  </p:childTnLst>
                                </p:cTn>
                              </p:par>
                            </p:childTnLst>
                          </p:cTn>
                        </p:par>
                        <p:par>
                          <p:cTn id="16" fill="hold">
                            <p:stCondLst>
                              <p:cond delay="3250"/>
                            </p:stCondLst>
                            <p:childTnLst>
                              <p:par>
                                <p:cTn id="17" presetID="10" presetClass="entr" presetSubtype="0" fill="hold" grpId="0" nodeType="afterEffect">
                                  <p:stCondLst>
                                    <p:cond delay="50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DC299C0-5E22-473E-8B97-C1FC39EE82E0}"/>
              </a:ext>
            </a:extLst>
          </p:cNvPr>
          <p:cNvPicPr>
            <a:picLocks noChangeAspect="1"/>
          </p:cNvPicPr>
          <p:nvPr/>
        </p:nvPicPr>
        <p:blipFill rotWithShape="1">
          <a:blip r:embed="rId3">
            <a:extLst>
              <a:ext uri="{28A0092B-C50C-407E-A947-70E740481C1C}">
                <a14:useLocalDpi xmlns:a14="http://schemas.microsoft.com/office/drawing/2010/main" val="0"/>
              </a:ext>
            </a:extLst>
          </a:blip>
          <a:srcRect b="346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149B71BA-B880-914F-9F37-24E877FC4977}"/>
              </a:ext>
            </a:extLst>
          </p:cNvPr>
          <p:cNvSpPr/>
          <p:nvPr/>
        </p:nvSpPr>
        <p:spPr>
          <a:xfrm flipH="1">
            <a:off x="-3" y="0"/>
            <a:ext cx="12192002"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madeus"/>
              <a:ea typeface="+mn-ea"/>
              <a:cs typeface="+mn-cs"/>
            </a:endParaRPr>
          </a:p>
        </p:txBody>
      </p:sp>
      <p:sp>
        <p:nvSpPr>
          <p:cNvPr id="2" name="Title 1">
            <a:extLst>
              <a:ext uri="{FF2B5EF4-FFF2-40B4-BE49-F238E27FC236}">
                <a16:creationId xmlns:a16="http://schemas.microsoft.com/office/drawing/2014/main" id="{82EE3887-D82A-8348-ACE5-8780B6EFE61C}"/>
              </a:ext>
            </a:extLst>
          </p:cNvPr>
          <p:cNvSpPr>
            <a:spLocks noGrp="1"/>
          </p:cNvSpPr>
          <p:nvPr>
            <p:ph type="title"/>
          </p:nvPr>
        </p:nvSpPr>
        <p:spPr>
          <a:xfrm>
            <a:off x="784471" y="1936262"/>
            <a:ext cx="10623054" cy="960292"/>
          </a:xfrm>
        </p:spPr>
        <p:txBody>
          <a:bodyPr lIns="91440" tIns="45720" rIns="91440" bIns="45720" anchor="t">
            <a:noAutofit/>
          </a:bodyPr>
          <a:lstStyle/>
          <a:p>
            <a:pPr algn="ctr"/>
            <a:r>
              <a:rPr lang="en-US" sz="4800" dirty="0">
                <a:solidFill>
                  <a:schemeClr val="bg1"/>
                </a:solidFill>
              </a:rPr>
              <a:t>“</a:t>
            </a:r>
            <a:r>
              <a:rPr lang="es-CL" sz="4800" dirty="0">
                <a:solidFill>
                  <a:schemeClr val="bg1"/>
                </a:solidFill>
              </a:rPr>
              <a:t>Creemos que los </a:t>
            </a:r>
            <a:r>
              <a:rPr lang="es-CL" sz="4800" b="1" dirty="0">
                <a:solidFill>
                  <a:schemeClr val="accent2"/>
                </a:solidFill>
              </a:rPr>
              <a:t>datos en turismo </a:t>
            </a:r>
            <a:r>
              <a:rPr lang="es-CL" sz="4800" dirty="0">
                <a:solidFill>
                  <a:schemeClr val="bg1"/>
                </a:solidFill>
              </a:rPr>
              <a:t>tienen historias poderosas que contar, y para impulsar el crecimiento de tu organización, necesitas conocer esas historias en tiempo real.”</a:t>
            </a:r>
            <a:endParaRPr lang="en-US" sz="4800" dirty="0">
              <a:solidFill>
                <a:schemeClr val="bg1"/>
              </a:solidFill>
            </a:endParaRPr>
          </a:p>
        </p:txBody>
      </p:sp>
      <p:sp>
        <p:nvSpPr>
          <p:cNvPr id="7" name="Text">
            <a:extLst>
              <a:ext uri="{FF2B5EF4-FFF2-40B4-BE49-F238E27FC236}">
                <a16:creationId xmlns:a16="http://schemas.microsoft.com/office/drawing/2014/main" id="{B56AD1A0-381E-FA42-BECF-93F3AED56FAE}"/>
              </a:ext>
            </a:extLst>
          </p:cNvPr>
          <p:cNvSpPr txBox="1">
            <a:spLocks/>
          </p:cNvSpPr>
          <p:nvPr/>
        </p:nvSpPr>
        <p:spPr>
          <a:xfrm rot="16200000">
            <a:off x="-204321" y="383142"/>
            <a:ext cx="745491" cy="26738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t">
            <a:spAutoFit/>
          </a:bodyPr>
          <a:lstStyle>
            <a:lvl1pPr marL="61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1pPr>
            <a:lvl2pPr marL="1245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2pPr>
            <a:lvl3pPr marL="188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3pPr>
            <a:lvl4pPr marL="2515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4pPr>
            <a:lvl5pPr marL="3150576" marR="0" indent="-610576"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5pPr>
            <a:lvl6pPr marL="3785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6pPr>
            <a:lvl7pPr marL="4420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7pPr>
            <a:lvl8pPr marL="5055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8pPr>
            <a:lvl9pPr marL="5690577" marR="0" indent="-610577" algn="l" defTabSz="825500" latinLnBrk="0">
              <a:lnSpc>
                <a:spcPct val="100000"/>
              </a:lnSpc>
              <a:spcBef>
                <a:spcPts val="3400"/>
              </a:spcBef>
              <a:spcAft>
                <a:spcPts val="0"/>
              </a:spcAft>
              <a:buClrTx/>
              <a:buSzPct val="75000"/>
              <a:buFontTx/>
              <a:buChar char="•"/>
              <a:tabLst/>
              <a:defRPr sz="5000" b="0" i="0" u="none" strike="noStrike" cap="none" spc="0" baseline="0">
                <a:solidFill>
                  <a:srgbClr val="FFFFFF"/>
                </a:solidFill>
                <a:uFillTx/>
                <a:latin typeface="+mn-lt"/>
                <a:ea typeface="+mn-ea"/>
                <a:cs typeface="+mn-cs"/>
                <a:sym typeface="Helvetica Light"/>
              </a:defRPr>
            </a:lvl9pPr>
          </a:lstStyle>
          <a:p>
            <a:pPr marL="0" marR="0" lvl="0" indent="0" algn="r" defTabSz="584200" rtl="0" eaLnBrk="1" fontAlgn="auto" latinLnBrk="0" hangingPunct="1">
              <a:lnSpc>
                <a:spcPct val="100000"/>
              </a:lnSpc>
              <a:spcBef>
                <a:spcPts val="0"/>
              </a:spcBef>
              <a:spcAft>
                <a:spcPts val="0"/>
              </a:spcAft>
              <a:buClrTx/>
              <a:buSzTx/>
              <a:buFontTx/>
              <a:buNone/>
              <a:tabLst/>
              <a:defRPr sz="1000" spc="-19">
                <a:latin typeface="Amadeus-Regular"/>
                <a:ea typeface="Amadeus-Regular"/>
                <a:cs typeface="Amadeus-Regular"/>
                <a:sym typeface="Amadeus-Regular"/>
              </a:defRPr>
            </a:pPr>
            <a:r>
              <a:rPr kumimoji="0" lang="en-US" sz="800" b="0" i="0" u="none" strike="noStrike" kern="0" cap="none" spc="-19" normalizeH="0" baseline="0" noProof="0">
                <a:ln>
                  <a:noFill/>
                </a:ln>
                <a:solidFill>
                  <a:prstClr val="white">
                    <a:lumMod val="50000"/>
                    <a:alpha val="50000"/>
                  </a:prstClr>
                </a:solidFill>
                <a:effectLst/>
                <a:uLnTx/>
                <a:uFillTx/>
                <a:latin typeface="Amadeus" panose="02000506020000020004" pitchFamily="50" charset="0"/>
                <a:ea typeface="Amadeus-Regular"/>
                <a:cs typeface="Calibri" panose="020F0502020204030204" pitchFamily="34" charset="0"/>
                <a:sym typeface="Amadeus-Regular"/>
              </a:rPr>
              <a:t> </a:t>
            </a:r>
            <a:fld id="{86CB4B4D-7CA3-9044-876B-883B54F8677D}" type="slidenum">
              <a:rPr kumimoji="0" sz="800" b="0" i="0" u="none" strike="noStrike" kern="0" cap="none" spc="-19" normalizeH="0" baseline="0" noProof="0" smtClean="0">
                <a:ln>
                  <a:noFill/>
                </a:ln>
                <a:solidFill>
                  <a:prstClr val="white">
                    <a:lumMod val="50000"/>
                    <a:alpha val="50000"/>
                  </a:prstClr>
                </a:solidFill>
                <a:effectLst/>
                <a:uLnTx/>
                <a:uFillTx/>
                <a:latin typeface="Amadeus" panose="02000506020000020004" pitchFamily="50" charset="0"/>
                <a:ea typeface="Amadeus-Regular"/>
                <a:cs typeface="Calibri" panose="020F0502020204030204" pitchFamily="34" charset="0"/>
                <a:sym typeface="Amadeus-Regular"/>
              </a:rPr>
              <a:pPr marL="0" marR="0" lvl="0" indent="0" algn="r" defTabSz="584200" rtl="0" eaLnBrk="1" fontAlgn="auto" latinLnBrk="0" hangingPunct="1">
                <a:lnSpc>
                  <a:spcPct val="100000"/>
                </a:lnSpc>
                <a:spcBef>
                  <a:spcPts val="0"/>
                </a:spcBef>
                <a:spcAft>
                  <a:spcPts val="0"/>
                </a:spcAft>
                <a:buClrTx/>
                <a:buSzTx/>
                <a:buFontTx/>
                <a:buNone/>
                <a:tabLst/>
                <a:defRPr sz="1000" spc="-19">
                  <a:latin typeface="Amadeus-Regular"/>
                  <a:ea typeface="Amadeus-Regular"/>
                  <a:cs typeface="Amadeus-Regular"/>
                  <a:sym typeface="Amadeus-Regular"/>
                </a:defRPr>
              </a:pPr>
              <a:t>31</a:t>
            </a:fld>
            <a:endParaRPr kumimoji="0" sz="800" b="0" i="0" u="none" strike="noStrike" kern="0" cap="none" spc="-19" normalizeH="0" baseline="0" noProof="0">
              <a:ln>
                <a:noFill/>
              </a:ln>
              <a:solidFill>
                <a:prstClr val="white">
                  <a:lumMod val="50000"/>
                  <a:alpha val="50000"/>
                </a:prstClr>
              </a:solidFill>
              <a:effectLst/>
              <a:uLnTx/>
              <a:uFillTx/>
              <a:latin typeface="Amadeus" panose="02000506020000020004" pitchFamily="50" charset="0"/>
              <a:ea typeface="Amadeus-Regular"/>
              <a:cs typeface="Calibri" panose="020F0502020204030204" pitchFamily="34" charset="0"/>
              <a:sym typeface="Amadeus-Regular"/>
            </a:endParaRPr>
          </a:p>
        </p:txBody>
      </p:sp>
      <p:pic>
        <p:nvPicPr>
          <p:cNvPr id="8" name="Image" descr="Image">
            <a:extLst>
              <a:ext uri="{FF2B5EF4-FFF2-40B4-BE49-F238E27FC236}">
                <a16:creationId xmlns:a16="http://schemas.microsoft.com/office/drawing/2014/main" id="{4F89E8A2-BB71-6D47-96AE-421229947A79}"/>
              </a:ext>
            </a:extLst>
          </p:cNvPr>
          <p:cNvPicPr>
            <a:picLocks noChangeAspect="1"/>
          </p:cNvPicPr>
          <p:nvPr/>
        </p:nvPicPr>
        <p:blipFill>
          <a:blip r:embed="rId4">
            <a:duotone>
              <a:prstClr val="black"/>
              <a:schemeClr val="tx2">
                <a:tint val="45000"/>
                <a:satMod val="400000"/>
              </a:schemeClr>
            </a:duotone>
          </a:blip>
          <a:stretch>
            <a:fillRect/>
          </a:stretch>
        </p:blipFill>
        <p:spPr>
          <a:xfrm rot="16200000">
            <a:off x="-160598" y="6228612"/>
            <a:ext cx="658045" cy="88019"/>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
        <p:nvSpPr>
          <p:cNvPr id="9" name="Confidential  Document">
            <a:extLst>
              <a:ext uri="{FF2B5EF4-FFF2-40B4-BE49-F238E27FC236}">
                <a16:creationId xmlns:a16="http://schemas.microsoft.com/office/drawing/2014/main" id="{93AE117C-846D-B146-B6C0-9331B9D86471}"/>
              </a:ext>
            </a:extLst>
          </p:cNvPr>
          <p:cNvSpPr txBox="1"/>
          <p:nvPr/>
        </p:nvSpPr>
        <p:spPr>
          <a:xfrm rot="16200000">
            <a:off x="-743574" y="2762864"/>
            <a:ext cx="1562790" cy="26738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spAutoFit/>
          </a:bodyPr>
          <a:lstStyle>
            <a:lvl1pPr algn="l">
              <a:buClr>
                <a:srgbClr val="A6AAA9"/>
              </a:buClr>
              <a:defRPr sz="1000" spc="-39">
                <a:solidFill>
                  <a:srgbClr val="FFFFFF"/>
                </a:solidFill>
                <a:latin typeface="Amadeus-Regular"/>
                <a:ea typeface="Amadeus-Regular"/>
                <a:cs typeface="Amadeus-Regular"/>
                <a:sym typeface="Amadeus-Regular"/>
              </a:defRPr>
            </a:lvl1pPr>
          </a:lstStyle>
          <a:p>
            <a:pPr marL="0" marR="0" lvl="0" indent="0" algn="ctr" defTabSz="914400" rtl="0" eaLnBrk="1" fontAlgn="auto" latinLnBrk="0" hangingPunct="0">
              <a:lnSpc>
                <a:spcPct val="100000"/>
              </a:lnSpc>
              <a:spcBef>
                <a:spcPts val="0"/>
              </a:spcBef>
              <a:spcAft>
                <a:spcPts val="0"/>
              </a:spcAft>
              <a:buClr>
                <a:srgbClr val="A6AAA9"/>
              </a:buClr>
              <a:buSzTx/>
              <a:buFontTx/>
              <a:buNone/>
              <a:tabLst/>
              <a:defRPr/>
            </a:pPr>
            <a:r>
              <a:rPr kumimoji="0" sz="800" b="0" i="0" u="none" strike="noStrike" kern="0" cap="none" spc="-39" normalizeH="0" baseline="0" noProof="0">
                <a:ln>
                  <a:noFill/>
                </a:ln>
                <a:solidFill>
                  <a:prstClr val="white">
                    <a:lumMod val="50000"/>
                    <a:alpha val="50000"/>
                  </a:prstClr>
                </a:solidFill>
                <a:effectLst/>
                <a:uLnTx/>
                <a:uFillTx/>
                <a:latin typeface="Amadeus" panose="02000506020000020004" pitchFamily="50" charset="0"/>
                <a:cs typeface="Calibri" panose="020F0502020204030204" pitchFamily="34" charset="0"/>
                <a:sym typeface="Amadeus-Regular"/>
              </a:rPr>
              <a:t>Confidential  Document</a:t>
            </a:r>
          </a:p>
        </p:txBody>
      </p:sp>
      <p:pic>
        <p:nvPicPr>
          <p:cNvPr id="11" name="Picture 10" descr="A picture containing black, holding, white, ball&#10;&#10;Description automatically generated">
            <a:extLst>
              <a:ext uri="{FF2B5EF4-FFF2-40B4-BE49-F238E27FC236}">
                <a16:creationId xmlns:a16="http://schemas.microsoft.com/office/drawing/2014/main" id="{47375F76-8FD7-864B-A04F-56AF418BCA1F}"/>
              </a:ext>
            </a:extLst>
          </p:cNvPr>
          <p:cNvPicPr>
            <a:picLocks noChangeAspect="1"/>
          </p:cNvPicPr>
          <p:nvPr/>
        </p:nvPicPr>
        <p:blipFill rotWithShape="1">
          <a:blip r:embed="rId5">
            <a:extLst>
              <a:ext uri="{28A0092B-C50C-407E-A947-70E740481C1C}">
                <a14:useLocalDpi xmlns:a14="http://schemas.microsoft.com/office/drawing/2010/main" val="0"/>
              </a:ext>
            </a:extLst>
          </a:blip>
          <a:srcRect l="78276" t="81448" b="2712"/>
          <a:stretch/>
        </p:blipFill>
        <p:spPr>
          <a:xfrm>
            <a:off x="9418937" y="5585907"/>
            <a:ext cx="2773063" cy="1272093"/>
          </a:xfrm>
          <a:prstGeom prst="rect">
            <a:avLst/>
          </a:prstGeom>
        </p:spPr>
      </p:pic>
    </p:spTree>
    <p:extLst>
      <p:ext uri="{BB962C8B-B14F-4D97-AF65-F5344CB8AC3E}">
        <p14:creationId xmlns:p14="http://schemas.microsoft.com/office/powerpoint/2010/main" val="2241170636"/>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9FFA043-B298-0C85-4DEA-C776832CD72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59FFA043-B298-0C85-4DEA-C776832CD7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5" name="Picture 14" descr="A city skyline with a tall tower&#10;&#10;Description automatically generated">
            <a:extLst>
              <a:ext uri="{FF2B5EF4-FFF2-40B4-BE49-F238E27FC236}">
                <a16:creationId xmlns:a16="http://schemas.microsoft.com/office/drawing/2014/main" id="{6149DD08-297F-7622-8DE4-6DBA30BC442B}"/>
              </a:ext>
            </a:extLst>
          </p:cNvPr>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0" y="-7582"/>
            <a:ext cx="12192000" cy="6865581"/>
          </a:xfrm>
          <a:prstGeom prst="rect">
            <a:avLst/>
          </a:prstGeom>
        </p:spPr>
      </p:pic>
      <p:sp>
        <p:nvSpPr>
          <p:cNvPr id="10" name="MSIPCMContentMarking" descr="{&quot;HashCode&quot;:-980460767,&quot;Placement&quot;:&quot;Header&quot;}">
            <a:extLst>
              <a:ext uri="{FF2B5EF4-FFF2-40B4-BE49-F238E27FC236}">
                <a16:creationId xmlns:a16="http://schemas.microsoft.com/office/drawing/2014/main" id="{7A5F4E35-99C6-5E0C-8BEF-CE08FBC42ACC}"/>
              </a:ext>
            </a:extLst>
          </p:cNvPr>
          <p:cNvSpPr txBox="1"/>
          <p:nvPr/>
        </p:nvSpPr>
        <p:spPr>
          <a:xfrm>
            <a:off x="10002555" y="0"/>
            <a:ext cx="2189445" cy="296525"/>
          </a:xfrm>
          <a:prstGeom prst="rect">
            <a:avLst/>
          </a:prstGeom>
          <a:noFill/>
        </p:spPr>
        <p:txBody>
          <a:bodyPr vert="horz" wrap="square" lIns="0" tIns="0" rIns="0" bIns="0" rtlCol="0" anchor="ctr" anchorCtr="1">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8C00"/>
                </a:solidFill>
                <a:effectLst/>
                <a:uLnTx/>
                <a:uFillTx/>
                <a:latin typeface="Calibri" panose="020F0502020204030204" pitchFamily="34" charset="0"/>
                <a:ea typeface="+mn-ea"/>
                <a:cs typeface="+mn-cs"/>
              </a:rPr>
              <a:t>CONFIDENTIAL &amp; RESTRICTED</a:t>
            </a:r>
          </a:p>
        </p:txBody>
      </p:sp>
      <p:sp>
        <p:nvSpPr>
          <p:cNvPr id="3" name="Text Placeholder 97">
            <a:extLst>
              <a:ext uri="{FF2B5EF4-FFF2-40B4-BE49-F238E27FC236}">
                <a16:creationId xmlns:a16="http://schemas.microsoft.com/office/drawing/2014/main" id="{1B7E7288-09AD-F787-146F-B04DF0472B00}"/>
              </a:ext>
            </a:extLst>
          </p:cNvPr>
          <p:cNvSpPr txBox="1">
            <a:spLocks/>
          </p:cNvSpPr>
          <p:nvPr/>
        </p:nvSpPr>
        <p:spPr>
          <a:xfrm>
            <a:off x="202849" y="5513064"/>
            <a:ext cx="2619201" cy="1058862"/>
          </a:xfrm>
          <a:prstGeom prst="rect">
            <a:avLst/>
          </a:prstGeom>
        </p:spPr>
        <p:txBody>
          <a:bodyPr anchor="b">
            <a:normAutofit/>
          </a:bodyPr>
          <a:lstStyle>
            <a:lvl1pPr marL="0" indent="0" algn="l" defTabSz="914400" rtl="0" eaLnBrk="1" latinLnBrk="0" hangingPunct="1">
              <a:lnSpc>
                <a:spcPct val="100000"/>
              </a:lnSpc>
              <a:spcBef>
                <a:spcPts val="0"/>
              </a:spcBef>
              <a:buClr>
                <a:schemeClr val="accent2"/>
              </a:buClr>
              <a:buSzPct val="80000"/>
              <a:buFont typeface="Calibri" panose="020F0502020204030204" pitchFamily="34" charset="0"/>
              <a:buNone/>
              <a:defRPr sz="1200" b="0" i="0" kern="1200" baseline="0">
                <a:solidFill>
                  <a:srgbClr val="323232"/>
                </a:solidFill>
                <a:latin typeface="Calibri Light" panose="020F0302020204030204" pitchFamily="34" charset="0"/>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A9E0"/>
              </a:buClr>
              <a:buSzPct val="80000"/>
              <a:buFont typeface="Calibri" panose="020F0502020204030204" pitchFamily="34" charset="0"/>
              <a:buNone/>
              <a:tabLst/>
              <a:defRPr/>
            </a:pPr>
            <a:endParaRPr kumimoji="0" lang="en-GB" sz="12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5" name="Freeform 4">
            <a:extLst>
              <a:ext uri="{FF2B5EF4-FFF2-40B4-BE49-F238E27FC236}">
                <a16:creationId xmlns:a16="http://schemas.microsoft.com/office/drawing/2014/main" id="{E0DACDEF-4C62-E3A5-19EA-247E4CB72AB8}"/>
              </a:ext>
            </a:extLst>
          </p:cNvPr>
          <p:cNvSpPr>
            <a:spLocks noEditPoints="1"/>
          </p:cNvSpPr>
          <p:nvPr/>
        </p:nvSpPr>
        <p:spPr bwMode="auto">
          <a:xfrm>
            <a:off x="9315233" y="517024"/>
            <a:ext cx="2194285" cy="296525"/>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5EB8"/>
              </a:solidFill>
              <a:effectLst/>
              <a:uLnTx/>
              <a:uFillTx/>
              <a:latin typeface="Calibri Light" panose="020F0302020204030204" pitchFamily="34" charset="0"/>
              <a:ea typeface="+mn-ea"/>
              <a:cs typeface="+mn-cs"/>
            </a:endParaRPr>
          </a:p>
        </p:txBody>
      </p:sp>
      <p:pic>
        <p:nvPicPr>
          <p:cNvPr id="2" name="Picture 4" descr="imagen de perfil">
            <a:extLst>
              <a:ext uri="{FF2B5EF4-FFF2-40B4-BE49-F238E27FC236}">
                <a16:creationId xmlns:a16="http://schemas.microsoft.com/office/drawing/2014/main" id="{4886B629-0052-E389-E018-06864C468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3159" y="1019277"/>
            <a:ext cx="1676258" cy="16762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 name="Arc 3">
            <a:extLst>
              <a:ext uri="{FF2B5EF4-FFF2-40B4-BE49-F238E27FC236}">
                <a16:creationId xmlns:a16="http://schemas.microsoft.com/office/drawing/2014/main" id="{60C269D1-77AC-AA02-313D-E009CB6DAD91}"/>
              </a:ext>
            </a:extLst>
          </p:cNvPr>
          <p:cNvSpPr/>
          <p:nvPr/>
        </p:nvSpPr>
        <p:spPr>
          <a:xfrm rot="18857120">
            <a:off x="579941" y="733153"/>
            <a:ext cx="1818940" cy="1865565"/>
          </a:xfrm>
          <a:prstGeom prst="arc">
            <a:avLst>
              <a:gd name="adj1" fmla="val 16200000"/>
              <a:gd name="adj2" fmla="val 21578833"/>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 name="Arc 5">
            <a:extLst>
              <a:ext uri="{FF2B5EF4-FFF2-40B4-BE49-F238E27FC236}">
                <a16:creationId xmlns:a16="http://schemas.microsoft.com/office/drawing/2014/main" id="{7468DCE5-204C-0BB7-2D53-B3F14A72AEA0}"/>
              </a:ext>
            </a:extLst>
          </p:cNvPr>
          <p:cNvSpPr/>
          <p:nvPr/>
        </p:nvSpPr>
        <p:spPr>
          <a:xfrm rot="19265061">
            <a:off x="656283" y="1328329"/>
            <a:ext cx="2058581" cy="1597998"/>
          </a:xfrm>
          <a:prstGeom prst="arc">
            <a:avLst>
              <a:gd name="adj1" fmla="val 5352586"/>
              <a:gd name="adj2" fmla="val 10658451"/>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06758019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54B447-ABE7-45B2-42F6-DAAAA55D44E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D45735C9-52C4-4EA3-E6F6-D68D5794CB74}"/>
              </a:ext>
            </a:extLst>
          </p:cNvPr>
          <p:cNvSpPr txBox="1"/>
          <p:nvPr/>
        </p:nvSpPr>
        <p:spPr>
          <a:xfrm>
            <a:off x="3457660" y="3590859"/>
            <a:ext cx="1446358" cy="276999"/>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5EB8"/>
                </a:solidFill>
                <a:effectLst/>
                <a:uLnTx/>
                <a:uFillTx/>
                <a:latin typeface="Amadeus"/>
                <a:ea typeface="+mn-ea"/>
                <a:cs typeface="+mn-cs"/>
              </a:rPr>
              <a:t>Intenciones</a:t>
            </a:r>
            <a:r>
              <a:rPr kumimoji="0" lang="en-US" sz="1200" b="0" i="0" u="none" strike="noStrike" kern="1200" cap="none" spc="0" normalizeH="0" baseline="0" noProof="0">
                <a:ln>
                  <a:noFill/>
                </a:ln>
                <a:solidFill>
                  <a:srgbClr val="005EB8"/>
                </a:solidFill>
                <a:effectLst/>
                <a:uLnTx/>
                <a:uFillTx/>
                <a:latin typeface="Amadeus"/>
                <a:ea typeface="+mn-ea"/>
                <a:cs typeface="+mn-cs"/>
              </a:rPr>
              <a:t> de </a:t>
            </a:r>
            <a:r>
              <a:rPr kumimoji="0" lang="en-US" sz="1200" b="0" i="0" u="none" strike="noStrike" kern="1200" cap="none" spc="0" normalizeH="0" baseline="0" noProof="0" err="1">
                <a:ln>
                  <a:noFill/>
                </a:ln>
                <a:solidFill>
                  <a:srgbClr val="005EB8"/>
                </a:solidFill>
                <a:effectLst/>
                <a:uLnTx/>
                <a:uFillTx/>
                <a:latin typeface="Amadeus"/>
                <a:ea typeface="+mn-ea"/>
                <a:cs typeface="+mn-cs"/>
              </a:rPr>
              <a:t>Viaje</a:t>
            </a:r>
            <a:endParaRPr kumimoji="0" lang="en-US" sz="1200" b="0" i="0" u="none" strike="noStrike" kern="1200" cap="none" spc="0" normalizeH="0" baseline="0" noProof="0">
              <a:ln>
                <a:noFill/>
              </a:ln>
              <a:solidFill>
                <a:srgbClr val="005EB8"/>
              </a:solidFill>
              <a:effectLst/>
              <a:uLnTx/>
              <a:uFillTx/>
              <a:latin typeface="Amadeus"/>
              <a:ea typeface="+mn-ea"/>
              <a:cs typeface="+mn-cs"/>
            </a:endParaRPr>
          </a:p>
        </p:txBody>
      </p:sp>
      <p:cxnSp>
        <p:nvCxnSpPr>
          <p:cNvPr id="5" name="Straight Connector 4">
            <a:extLst>
              <a:ext uri="{FF2B5EF4-FFF2-40B4-BE49-F238E27FC236}">
                <a16:creationId xmlns:a16="http://schemas.microsoft.com/office/drawing/2014/main" id="{B5D1FF7C-5FEF-B1F2-6BF5-1597AE6FC843}"/>
              </a:ext>
            </a:extLst>
          </p:cNvPr>
          <p:cNvCxnSpPr>
            <a:cxnSpLocks/>
          </p:cNvCxnSpPr>
          <p:nvPr/>
        </p:nvCxnSpPr>
        <p:spPr>
          <a:xfrm flipH="1">
            <a:off x="3738717" y="3350139"/>
            <a:ext cx="2130597" cy="0"/>
          </a:xfrm>
          <a:prstGeom prst="line">
            <a:avLst/>
          </a:prstGeom>
          <a:noFill/>
          <a:ln w="76200" cap="rnd">
            <a:noFill/>
            <a:head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96D0A42-EDE4-9AC5-9CF6-46532F69E80C}"/>
              </a:ext>
            </a:extLst>
          </p:cNvPr>
          <p:cNvSpPr txBox="1"/>
          <p:nvPr/>
        </p:nvSpPr>
        <p:spPr>
          <a:xfrm>
            <a:off x="5463806" y="3590859"/>
            <a:ext cx="1200200" cy="276999"/>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5EB8"/>
                </a:solidFill>
                <a:effectLst/>
                <a:uLnTx/>
                <a:uFillTx/>
                <a:latin typeface="Amadeus"/>
                <a:ea typeface="+mn-ea"/>
                <a:cs typeface="+mn-cs"/>
              </a:rPr>
              <a:t>Reservas</a:t>
            </a:r>
            <a:r>
              <a:rPr kumimoji="0" lang="en-US" sz="1200" b="0" i="0" u="none" strike="noStrike" kern="1200" cap="none" spc="0" normalizeH="0" baseline="0" noProof="0">
                <a:ln>
                  <a:noFill/>
                </a:ln>
                <a:solidFill>
                  <a:srgbClr val="005EB8"/>
                </a:solidFill>
                <a:effectLst/>
                <a:uLnTx/>
                <a:uFillTx/>
                <a:latin typeface="Amadeus"/>
                <a:ea typeface="+mn-ea"/>
                <a:cs typeface="+mn-cs"/>
              </a:rPr>
              <a:t> </a:t>
            </a:r>
            <a:r>
              <a:rPr kumimoji="0" lang="en-US" sz="1200" b="0" i="0" u="none" strike="noStrike" kern="1200" cap="none" spc="0" normalizeH="0" baseline="0" noProof="0" err="1">
                <a:ln>
                  <a:noFill/>
                </a:ln>
                <a:solidFill>
                  <a:srgbClr val="005EB8"/>
                </a:solidFill>
                <a:effectLst/>
                <a:uLnTx/>
                <a:uFillTx/>
                <a:latin typeface="Amadeus"/>
                <a:ea typeface="+mn-ea"/>
                <a:cs typeface="+mn-cs"/>
              </a:rPr>
              <a:t>Aéreas</a:t>
            </a:r>
            <a:endParaRPr kumimoji="0" lang="en-US" sz="1200" b="0" i="0" u="none" strike="noStrike" kern="1200" cap="none" spc="0" normalizeH="0" baseline="0" noProof="0">
              <a:ln>
                <a:noFill/>
              </a:ln>
              <a:solidFill>
                <a:srgbClr val="005EB8"/>
              </a:solidFill>
              <a:effectLst/>
              <a:uLnTx/>
              <a:uFillTx/>
              <a:latin typeface="Amadeus"/>
              <a:ea typeface="+mn-ea"/>
              <a:cs typeface="+mn-cs"/>
            </a:endParaRPr>
          </a:p>
        </p:txBody>
      </p:sp>
      <p:sp>
        <p:nvSpPr>
          <p:cNvPr id="7" name="TextBox 6">
            <a:extLst>
              <a:ext uri="{FF2B5EF4-FFF2-40B4-BE49-F238E27FC236}">
                <a16:creationId xmlns:a16="http://schemas.microsoft.com/office/drawing/2014/main" id="{D45A3940-EE80-6983-4488-D6F6FC5996F0}"/>
              </a:ext>
            </a:extLst>
          </p:cNvPr>
          <p:cNvSpPr txBox="1"/>
          <p:nvPr/>
        </p:nvSpPr>
        <p:spPr>
          <a:xfrm>
            <a:off x="3529035" y="3205977"/>
            <a:ext cx="1135619"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E95326"/>
                </a:solidFill>
                <a:effectLst/>
                <a:uLnTx/>
                <a:uFillTx/>
                <a:latin typeface="Calibri" panose="020F0502020204030204" pitchFamily="34" charset="0"/>
                <a:ea typeface="+mn-ea"/>
                <a:cs typeface="Calibri" panose="020F0502020204030204" pitchFamily="34" charset="0"/>
              </a:rPr>
              <a:t>Inspiración</a:t>
            </a:r>
            <a:endParaRPr kumimoji="0" lang="en-US" sz="1200" b="1" i="0" u="none" strike="noStrike" kern="1200" cap="none" spc="0" normalizeH="0" baseline="0" noProof="0">
              <a:ln>
                <a:noFill/>
              </a:ln>
              <a:solidFill>
                <a:srgbClr val="E95326"/>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C29E90C2-01B9-09B9-4D8B-3A48BFE149A5}"/>
              </a:ext>
            </a:extLst>
          </p:cNvPr>
          <p:cNvSpPr txBox="1"/>
          <p:nvPr/>
        </p:nvSpPr>
        <p:spPr>
          <a:xfrm>
            <a:off x="5597659" y="3044282"/>
            <a:ext cx="747250" cy="27699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CE0058"/>
                </a:solidFill>
                <a:effectLst/>
                <a:uLnTx/>
                <a:uFillTx/>
                <a:latin typeface="Calibri" panose="020F0502020204030204" pitchFamily="34" charset="0"/>
                <a:ea typeface="+mn-ea"/>
                <a:cs typeface="Calibri" panose="020F0502020204030204" pitchFamily="34" charset="0"/>
              </a:rPr>
              <a:t>Compra</a:t>
            </a:r>
            <a:endParaRPr kumimoji="0" lang="en-US" sz="1200" b="1" i="0" u="none" strike="noStrike" kern="1200" cap="none" spc="0" normalizeH="0" baseline="0" noProof="0">
              <a:ln>
                <a:noFill/>
              </a:ln>
              <a:solidFill>
                <a:srgbClr val="CE0058"/>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56AF1506-2679-4C8F-D77B-0399BC75517F}"/>
              </a:ext>
            </a:extLst>
          </p:cNvPr>
          <p:cNvSpPr txBox="1"/>
          <p:nvPr/>
        </p:nvSpPr>
        <p:spPr>
          <a:xfrm>
            <a:off x="9004319" y="3036700"/>
            <a:ext cx="1279554"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A9E0"/>
                </a:solidFill>
                <a:effectLst/>
                <a:uLnTx/>
                <a:uFillTx/>
                <a:latin typeface="Calibri" panose="020F0502020204030204" pitchFamily="34" charset="0"/>
                <a:ea typeface="+mn-ea"/>
                <a:cs typeface="Calibri" panose="020F0502020204030204" pitchFamily="34" charset="0"/>
              </a:rPr>
              <a:t>Experiencia</a:t>
            </a:r>
            <a:endParaRPr kumimoji="0" lang="en-US" sz="1200" b="1" i="0" u="none" strike="noStrike" kern="1200" cap="none" spc="0" normalizeH="0" baseline="0" noProof="0">
              <a:ln>
                <a:noFill/>
              </a:ln>
              <a:solidFill>
                <a:srgbClr val="00A9E0"/>
              </a:solidFill>
              <a:effectLst/>
              <a:uLnTx/>
              <a:uFillTx/>
              <a:latin typeface="Calibri" panose="020F0502020204030204" pitchFamily="34" charset="0"/>
              <a:ea typeface="+mn-ea"/>
              <a:cs typeface="Calibri" panose="020F0502020204030204" pitchFamily="34" charset="0"/>
            </a:endParaRPr>
          </a:p>
        </p:txBody>
      </p:sp>
      <p:sp>
        <p:nvSpPr>
          <p:cNvPr id="10" name="Oval 9">
            <a:extLst>
              <a:ext uri="{FF2B5EF4-FFF2-40B4-BE49-F238E27FC236}">
                <a16:creationId xmlns:a16="http://schemas.microsoft.com/office/drawing/2014/main" id="{25FFFC45-DF33-09A2-A4ED-96D29DB2CC43}"/>
              </a:ext>
            </a:extLst>
          </p:cNvPr>
          <p:cNvSpPr/>
          <p:nvPr/>
        </p:nvSpPr>
        <p:spPr>
          <a:xfrm>
            <a:off x="10018278" y="2985898"/>
            <a:ext cx="1332529" cy="13325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5EB8"/>
              </a:solidFill>
              <a:effectLst/>
              <a:uLnTx/>
              <a:uFillTx/>
              <a:latin typeface="Amadeus"/>
              <a:ea typeface="+mn-ea"/>
              <a:cs typeface="+mn-cs"/>
            </a:endParaRPr>
          </a:p>
        </p:txBody>
      </p:sp>
      <p:sp>
        <p:nvSpPr>
          <p:cNvPr id="11" name="TextBox 10">
            <a:extLst>
              <a:ext uri="{FF2B5EF4-FFF2-40B4-BE49-F238E27FC236}">
                <a16:creationId xmlns:a16="http://schemas.microsoft.com/office/drawing/2014/main" id="{3C9CA9E5-37AB-3FE3-F05D-B8773BFE0DC3}"/>
              </a:ext>
            </a:extLst>
          </p:cNvPr>
          <p:cNvSpPr txBox="1"/>
          <p:nvPr/>
        </p:nvSpPr>
        <p:spPr>
          <a:xfrm>
            <a:off x="7242785" y="3211639"/>
            <a:ext cx="1135619"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7030A0"/>
                </a:solidFill>
                <a:effectLst/>
                <a:uLnTx/>
                <a:uFillTx/>
                <a:latin typeface="Calibri" panose="020F0502020204030204" pitchFamily="34" charset="0"/>
                <a:ea typeface="+mn-ea"/>
                <a:cs typeface="Calibri" panose="020F0502020204030204" pitchFamily="34" charset="0"/>
              </a:rPr>
              <a:t>Viaje</a:t>
            </a:r>
            <a:endParaRPr kumimoji="0" lang="en-US" sz="1200" b="1" i="0" u="none" strike="noStrike" kern="1200" cap="none" spc="0" normalizeH="0" baseline="0" noProof="0">
              <a:ln>
                <a:noFill/>
              </a:ln>
              <a:solidFill>
                <a:srgbClr val="7030A0"/>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8ED85760-14E9-FEEA-93B2-0C5AAB18B62A}"/>
              </a:ext>
            </a:extLst>
          </p:cNvPr>
          <p:cNvSpPr txBox="1"/>
          <p:nvPr/>
        </p:nvSpPr>
        <p:spPr>
          <a:xfrm>
            <a:off x="7304333" y="3593531"/>
            <a:ext cx="1012521" cy="276999"/>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5EB8"/>
                </a:solidFill>
                <a:effectLst/>
                <a:uLnTx/>
                <a:uFillTx/>
                <a:latin typeface="Amadeus"/>
                <a:ea typeface="+mn-ea"/>
                <a:cs typeface="+mn-cs"/>
              </a:rPr>
              <a:t>Tráfico</a:t>
            </a:r>
            <a:r>
              <a:rPr kumimoji="0" lang="en-US" sz="1200" b="0" i="0" u="none" strike="noStrike" kern="1200" cap="none" spc="0" normalizeH="0" baseline="0" noProof="0">
                <a:ln>
                  <a:noFill/>
                </a:ln>
                <a:solidFill>
                  <a:srgbClr val="005EB8"/>
                </a:solidFill>
                <a:effectLst/>
                <a:uLnTx/>
                <a:uFillTx/>
                <a:latin typeface="Amadeus"/>
                <a:ea typeface="+mn-ea"/>
                <a:cs typeface="+mn-cs"/>
              </a:rPr>
              <a:t> </a:t>
            </a:r>
            <a:r>
              <a:rPr kumimoji="0" lang="en-US" sz="1200" b="0" i="0" u="none" strike="noStrike" kern="1200" cap="none" spc="0" normalizeH="0" baseline="0" noProof="0" err="1">
                <a:ln>
                  <a:noFill/>
                </a:ln>
                <a:solidFill>
                  <a:srgbClr val="005EB8"/>
                </a:solidFill>
                <a:effectLst/>
                <a:uLnTx/>
                <a:uFillTx/>
                <a:latin typeface="Amadeus"/>
                <a:ea typeface="+mn-ea"/>
                <a:cs typeface="+mn-cs"/>
              </a:rPr>
              <a:t>Aéreo</a:t>
            </a:r>
            <a:endParaRPr kumimoji="0" lang="en-US" sz="1200" b="0" i="0" u="none" strike="noStrike" kern="1200" cap="none" spc="0" normalizeH="0" baseline="0" noProof="0">
              <a:ln>
                <a:noFill/>
              </a:ln>
              <a:solidFill>
                <a:srgbClr val="005EB8"/>
              </a:solidFill>
              <a:effectLst/>
              <a:uLnTx/>
              <a:uFillTx/>
              <a:latin typeface="Amadeus"/>
              <a:ea typeface="+mn-ea"/>
              <a:cs typeface="+mn-cs"/>
            </a:endParaRPr>
          </a:p>
        </p:txBody>
      </p:sp>
      <p:sp>
        <p:nvSpPr>
          <p:cNvPr id="13" name="TextBox 12">
            <a:extLst>
              <a:ext uri="{FF2B5EF4-FFF2-40B4-BE49-F238E27FC236}">
                <a16:creationId xmlns:a16="http://schemas.microsoft.com/office/drawing/2014/main" id="{7C5C8319-8FB0-877F-3C4B-526D10499A00}"/>
              </a:ext>
            </a:extLst>
          </p:cNvPr>
          <p:cNvSpPr txBox="1"/>
          <p:nvPr/>
        </p:nvSpPr>
        <p:spPr>
          <a:xfrm>
            <a:off x="7338252" y="5024624"/>
            <a:ext cx="1052660" cy="276999"/>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5EB8"/>
                </a:solidFill>
                <a:effectLst/>
                <a:uLnTx/>
                <a:uFillTx/>
                <a:latin typeface="Amadeus"/>
                <a:ea typeface="+mn-ea"/>
                <a:cs typeface="+mn-cs"/>
              </a:rPr>
              <a:t>Programación</a:t>
            </a:r>
            <a:endParaRPr kumimoji="0" lang="en-US" sz="1200" b="0" i="0" u="none" strike="noStrike" kern="1200" cap="none" spc="0" normalizeH="0" baseline="0" noProof="0">
              <a:ln>
                <a:noFill/>
              </a:ln>
              <a:solidFill>
                <a:srgbClr val="005EB8"/>
              </a:solidFill>
              <a:effectLst/>
              <a:uLnTx/>
              <a:uFillTx/>
              <a:latin typeface="Amadeus"/>
              <a:ea typeface="+mn-ea"/>
              <a:cs typeface="+mn-cs"/>
            </a:endParaRPr>
          </a:p>
        </p:txBody>
      </p:sp>
      <p:cxnSp>
        <p:nvCxnSpPr>
          <p:cNvPr id="14" name="Straight Connector 13">
            <a:extLst>
              <a:ext uri="{FF2B5EF4-FFF2-40B4-BE49-F238E27FC236}">
                <a16:creationId xmlns:a16="http://schemas.microsoft.com/office/drawing/2014/main" id="{74C8D752-9DF9-2911-64D6-2A22E35EFD29}"/>
              </a:ext>
            </a:extLst>
          </p:cNvPr>
          <p:cNvCxnSpPr>
            <a:cxnSpLocks/>
          </p:cNvCxnSpPr>
          <p:nvPr/>
        </p:nvCxnSpPr>
        <p:spPr>
          <a:xfrm flipH="1">
            <a:off x="8913355" y="4726295"/>
            <a:ext cx="1512095" cy="0"/>
          </a:xfrm>
          <a:prstGeom prst="line">
            <a:avLst/>
          </a:prstGeom>
          <a:noFill/>
          <a:ln w="76200" cap="rnd">
            <a:noFill/>
            <a:head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DD0C1F7-206E-A22D-8FDF-36E6268259D0}"/>
              </a:ext>
            </a:extLst>
          </p:cNvPr>
          <p:cNvSpPr txBox="1"/>
          <p:nvPr/>
        </p:nvSpPr>
        <p:spPr>
          <a:xfrm>
            <a:off x="8896930" y="3926320"/>
            <a:ext cx="1494143" cy="646331"/>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5EB8"/>
                </a:solidFill>
                <a:effectLst/>
                <a:uLnTx/>
                <a:uFillTx/>
                <a:latin typeface="Amadeus"/>
                <a:ea typeface="+mn-ea"/>
                <a:cs typeface="+mn-cs"/>
              </a:rPr>
              <a:t>Ocupación</a:t>
            </a:r>
            <a:r>
              <a:rPr kumimoji="0" lang="en-US" sz="1200" b="0" i="0" u="none" strike="noStrike" kern="1200" cap="none" spc="0" normalizeH="0" baseline="0" noProof="0" dirty="0">
                <a:ln>
                  <a:noFill/>
                </a:ln>
                <a:solidFill>
                  <a:srgbClr val="005EB8"/>
                </a:solidFill>
                <a:effectLst/>
                <a:uLnTx/>
                <a:uFillTx/>
                <a:latin typeface="Amadeus"/>
                <a:ea typeface="+mn-ea"/>
                <a:cs typeface="+mn-cs"/>
              </a:rPr>
              <a:t> </a:t>
            </a:r>
            <a:r>
              <a:rPr kumimoji="0" lang="en-US" sz="1200" b="0" i="0" u="none" strike="noStrike" kern="1200" cap="none" spc="0" normalizeH="0" baseline="0" noProof="0" dirty="0" err="1">
                <a:ln>
                  <a:noFill/>
                </a:ln>
                <a:solidFill>
                  <a:srgbClr val="005EB8"/>
                </a:solidFill>
                <a:effectLst/>
                <a:uLnTx/>
                <a:uFillTx/>
                <a:latin typeface="Amadeus"/>
                <a:ea typeface="+mn-ea"/>
                <a:cs typeface="+mn-cs"/>
              </a:rPr>
              <a:t>Hotelera</a:t>
            </a:r>
            <a:r>
              <a:rPr kumimoji="0" lang="en-US" sz="1200" b="0" i="0" u="none" strike="noStrike" kern="1200" cap="none" spc="0" normalizeH="0" baseline="0" noProof="0" dirty="0">
                <a:ln>
                  <a:noFill/>
                </a:ln>
                <a:solidFill>
                  <a:srgbClr val="005EB8"/>
                </a:solidFill>
                <a:effectLst/>
                <a:uLnTx/>
                <a:uFillTx/>
                <a:latin typeface="Amadeus"/>
                <a:ea typeface="+mn-ea"/>
                <a:cs typeface="+mn-cs"/>
              </a:rPr>
              <a:t> y </a:t>
            </a:r>
            <a:r>
              <a:rPr kumimoji="0" lang="en-US" sz="1200" b="0" i="0" u="none" strike="noStrike" kern="1200" cap="none" spc="0" normalizeH="0" baseline="0" noProof="0" dirty="0" err="1">
                <a:ln>
                  <a:noFill/>
                </a:ln>
                <a:solidFill>
                  <a:srgbClr val="005EB8"/>
                </a:solidFill>
                <a:effectLst/>
                <a:uLnTx/>
                <a:uFillTx/>
                <a:latin typeface="Amadeus"/>
                <a:ea typeface="+mn-ea"/>
                <a:cs typeface="+mn-cs"/>
              </a:rPr>
              <a:t>Alojamientos</a:t>
            </a:r>
            <a:r>
              <a:rPr kumimoji="0" lang="en-US" sz="1200" b="0" i="0" u="none" strike="noStrike" kern="1200" cap="none" spc="0" normalizeH="0" baseline="0" noProof="0" dirty="0">
                <a:ln>
                  <a:noFill/>
                </a:ln>
                <a:solidFill>
                  <a:srgbClr val="005EB8"/>
                </a:solidFill>
                <a:effectLst/>
                <a:uLnTx/>
                <a:uFillTx/>
                <a:latin typeface="Amadeus"/>
                <a:ea typeface="+mn-ea"/>
                <a:cs typeface="+mn-cs"/>
              </a:rPr>
              <a:t> Alternativos</a:t>
            </a:r>
          </a:p>
        </p:txBody>
      </p:sp>
      <p:sp>
        <p:nvSpPr>
          <p:cNvPr id="16" name="Rectangle 15">
            <a:extLst>
              <a:ext uri="{FF2B5EF4-FFF2-40B4-BE49-F238E27FC236}">
                <a16:creationId xmlns:a16="http://schemas.microsoft.com/office/drawing/2014/main" id="{07D82331-9170-79CB-B56A-B7B421C50AA5}"/>
              </a:ext>
            </a:extLst>
          </p:cNvPr>
          <p:cNvSpPr/>
          <p:nvPr/>
        </p:nvSpPr>
        <p:spPr>
          <a:xfrm>
            <a:off x="7140421" y="5468478"/>
            <a:ext cx="1340350" cy="5082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1,000 </a:t>
            </a: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programas</a:t>
            </a:r>
            <a:r>
              <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 de </a:t>
            </a: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líneas</a:t>
            </a:r>
            <a:r>
              <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aéreas</a:t>
            </a:r>
            <a:endPar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endParaRPr>
          </a:p>
        </p:txBody>
      </p:sp>
      <p:sp>
        <p:nvSpPr>
          <p:cNvPr id="17" name="Rectangle 16">
            <a:extLst>
              <a:ext uri="{FF2B5EF4-FFF2-40B4-BE49-F238E27FC236}">
                <a16:creationId xmlns:a16="http://schemas.microsoft.com/office/drawing/2014/main" id="{540CBF75-8352-3204-7E13-82EF09ABBDD5}"/>
              </a:ext>
            </a:extLst>
          </p:cNvPr>
          <p:cNvSpPr/>
          <p:nvPr/>
        </p:nvSpPr>
        <p:spPr>
          <a:xfrm>
            <a:off x="3580486" y="4021688"/>
            <a:ext cx="1066586" cy="6739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800M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Búsquedas</a:t>
            </a:r>
            <a:r>
              <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aéreas</a:t>
            </a:r>
            <a:r>
              <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err="1">
                <a:ln>
                  <a:noFill/>
                </a:ln>
                <a:solidFill>
                  <a:srgbClr val="005EB8"/>
                </a:solidFill>
                <a:effectLst/>
                <a:uLnTx/>
                <a:uFillTx/>
                <a:latin typeface="Calibri" panose="020F0502020204030204" pitchFamily="34" charset="0"/>
                <a:ea typeface="+mn-ea"/>
                <a:cs typeface="Calibri" panose="020F0502020204030204" pitchFamily="34" charset="0"/>
              </a:rPr>
              <a:t>por</a:t>
            </a:r>
            <a:r>
              <a:rPr kumimoji="0" lang="en-US" sz="1200" b="1" i="0" u="none" strike="noStrike" kern="1200" cap="none" spc="0" normalizeH="0" baseline="0" noProof="0">
                <a:ln>
                  <a:noFill/>
                </a:ln>
                <a:solidFill>
                  <a:srgbClr val="005EB8"/>
                </a:solidFill>
                <a:effectLst/>
                <a:uLnTx/>
                <a:uFillTx/>
                <a:latin typeface="Calibri" panose="020F0502020204030204" pitchFamily="34" charset="0"/>
                <a:ea typeface="+mn-ea"/>
                <a:cs typeface="Calibri" panose="020F0502020204030204" pitchFamily="34" charset="0"/>
              </a:rPr>
              <a:t> día</a:t>
            </a:r>
          </a:p>
        </p:txBody>
      </p:sp>
      <p:sp>
        <p:nvSpPr>
          <p:cNvPr id="18" name="Rectangle 17">
            <a:extLst>
              <a:ext uri="{FF2B5EF4-FFF2-40B4-BE49-F238E27FC236}">
                <a16:creationId xmlns:a16="http://schemas.microsoft.com/office/drawing/2014/main" id="{70D9D3E9-9068-6AC6-89F8-6D8752DBD411}"/>
              </a:ext>
            </a:extLst>
          </p:cNvPr>
          <p:cNvSpPr/>
          <p:nvPr/>
        </p:nvSpPr>
        <p:spPr>
          <a:xfrm>
            <a:off x="7140420" y="4021688"/>
            <a:ext cx="1340351" cy="74099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EB8"/>
                </a:solidFill>
                <a:effectLst/>
                <a:uLnTx/>
                <a:uFillTx/>
                <a:latin typeface="Calibri"/>
                <a:ea typeface="+mn-ea"/>
                <a:cs typeface="Calibri"/>
              </a:rPr>
              <a:t>6 meses de</a:t>
            </a:r>
            <a:r>
              <a:rPr kumimoji="0" lang="en-US" sz="1200" b="1" i="0" u="none" strike="noStrike" kern="1200" cap="none" spc="0" normalizeH="0" baseline="0" noProof="0">
                <a:ln>
                  <a:noFill/>
                </a:ln>
                <a:solidFill>
                  <a:srgbClr val="005EB8"/>
                </a:solidFill>
                <a:effectLst/>
                <a:uLnTx/>
                <a:uFillTx/>
                <a:latin typeface="Calibri"/>
                <a:ea typeface="+mn-ea"/>
                <a:cs typeface="Calibri"/>
              </a:rPr>
              <a:t> </a:t>
            </a:r>
            <a:r>
              <a:rPr kumimoji="0" lang="en-US" sz="1200" b="1" i="0" u="none" strike="noStrike" kern="1200" cap="none" spc="0" normalizeH="0" baseline="0" noProof="0" err="1">
                <a:ln>
                  <a:noFill/>
                </a:ln>
                <a:solidFill>
                  <a:srgbClr val="005EB8"/>
                </a:solidFill>
                <a:effectLst/>
                <a:uLnTx/>
                <a:uFillTx/>
                <a:latin typeface="Calibri"/>
                <a:ea typeface="+mn-ea"/>
                <a:cs typeface="Calibri"/>
              </a:rPr>
              <a:t>visión</a:t>
            </a:r>
            <a:r>
              <a:rPr kumimoji="0" lang="en-US" sz="1200" b="1" i="0" u="none" strike="noStrike" kern="1200" cap="none" spc="0" normalizeH="0" baseline="0" noProof="0">
                <a:ln>
                  <a:noFill/>
                </a:ln>
                <a:solidFill>
                  <a:srgbClr val="005EB8"/>
                </a:solidFill>
                <a:effectLst/>
                <a:uLnTx/>
                <a:uFillTx/>
                <a:latin typeface="Calibri"/>
                <a:ea typeface="+mn-ea"/>
                <a:cs typeface="Calibri"/>
              </a:rPr>
              <a:t> </a:t>
            </a:r>
            <a:r>
              <a:rPr kumimoji="0" lang="en-US" sz="1200" b="1" i="0" u="none" strike="noStrike" kern="1200" cap="none" spc="0" normalizeH="0" baseline="0" noProof="0" err="1">
                <a:ln>
                  <a:noFill/>
                </a:ln>
                <a:solidFill>
                  <a:srgbClr val="005EB8"/>
                </a:solidFill>
                <a:effectLst/>
                <a:uLnTx/>
                <a:uFillTx/>
                <a:latin typeface="Calibri"/>
                <a:ea typeface="+mn-ea"/>
                <a:cs typeface="Calibri"/>
              </a:rPr>
              <a:t>futuro</a:t>
            </a:r>
            <a:r>
              <a:rPr kumimoji="0" lang="en-US" sz="1200" b="1" i="0" u="none" strike="noStrike" kern="1200" cap="none" spc="0" normalizeH="0" baseline="0" noProof="0">
                <a:ln>
                  <a:noFill/>
                </a:ln>
                <a:solidFill>
                  <a:srgbClr val="005EB8"/>
                </a:solidFill>
                <a:effectLst/>
                <a:uLnTx/>
                <a:uFillTx/>
                <a:latin typeface="Calibri"/>
                <a:ea typeface="+mn-ea"/>
                <a:cs typeface="Calibri"/>
              </a:rPr>
              <a:t> para </a:t>
            </a:r>
            <a:r>
              <a:rPr kumimoji="0" lang="en-US" sz="1200" b="1" i="0" u="none" strike="noStrike" kern="1200" cap="none" spc="0" normalizeH="0" baseline="0" noProof="0" err="1">
                <a:ln>
                  <a:noFill/>
                </a:ln>
                <a:solidFill>
                  <a:srgbClr val="005EB8"/>
                </a:solidFill>
                <a:effectLst/>
                <a:uLnTx/>
                <a:uFillTx/>
                <a:latin typeface="Calibri"/>
                <a:ea typeface="+mn-ea"/>
                <a:cs typeface="Calibri"/>
              </a:rPr>
              <a:t>tráfico</a:t>
            </a:r>
            <a:r>
              <a:rPr kumimoji="0" lang="en-US" sz="1200" b="1" i="0" u="none" strike="noStrike" kern="1200" cap="none" spc="0" normalizeH="0" baseline="0" noProof="0">
                <a:ln>
                  <a:noFill/>
                </a:ln>
                <a:solidFill>
                  <a:srgbClr val="005EB8"/>
                </a:solidFill>
                <a:effectLst/>
                <a:uLnTx/>
                <a:uFillTx/>
                <a:latin typeface="Calibri"/>
                <a:ea typeface="+mn-ea"/>
                <a:cs typeface="Calibri"/>
              </a:rPr>
              <a:t> </a:t>
            </a:r>
            <a:r>
              <a:rPr kumimoji="0" lang="en-US" sz="1200" b="1" i="0" u="none" strike="noStrike" kern="1200" cap="none" spc="0" normalizeH="0" baseline="0" noProof="0" err="1">
                <a:ln>
                  <a:noFill/>
                </a:ln>
                <a:solidFill>
                  <a:srgbClr val="005EB8"/>
                </a:solidFill>
                <a:effectLst/>
                <a:uLnTx/>
                <a:uFillTx/>
                <a:latin typeface="Calibri"/>
                <a:ea typeface="+mn-ea"/>
                <a:cs typeface="Calibri"/>
              </a:rPr>
              <a:t>aéreo</a:t>
            </a:r>
            <a:endParaRPr kumimoji="0" lang="en-US" sz="1200" b="1" i="0" u="none" strike="noStrike" kern="1200" cap="none" spc="0" normalizeH="0" baseline="0" noProof="0">
              <a:ln>
                <a:noFill/>
              </a:ln>
              <a:solidFill>
                <a:srgbClr val="005EB8"/>
              </a:solidFill>
              <a:effectLst/>
              <a:uLnTx/>
              <a:uFillTx/>
              <a:latin typeface="Calibri"/>
              <a:ea typeface="+mn-ea"/>
              <a:cs typeface="Calibri"/>
            </a:endParaRPr>
          </a:p>
        </p:txBody>
      </p:sp>
      <p:sp>
        <p:nvSpPr>
          <p:cNvPr id="19" name="Rectangle 18">
            <a:extLst>
              <a:ext uri="{FF2B5EF4-FFF2-40B4-BE49-F238E27FC236}">
                <a16:creationId xmlns:a16="http://schemas.microsoft.com/office/drawing/2014/main" id="{02B2B4D5-71E6-8AD2-59A5-C64EE46B3425}"/>
              </a:ext>
            </a:extLst>
          </p:cNvPr>
          <p:cNvSpPr/>
          <p:nvPr/>
        </p:nvSpPr>
        <p:spPr>
          <a:xfrm>
            <a:off x="8819543" y="4582771"/>
            <a:ext cx="1648918" cy="9655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Datos</a:t>
            </a:r>
            <a:r>
              <a:rPr kumimoji="0" lang="en-US" sz="12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actualizados</a:t>
            </a:r>
            <a:r>
              <a:rPr kumimoji="0" lang="en-US" sz="12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en </a:t>
            </a:r>
            <a:r>
              <a:rPr kumimoji="0" lang="en-US" sz="12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tiempo</a:t>
            </a:r>
            <a:r>
              <a:rPr kumimoji="0" lang="en-US" sz="12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rPr>
              <a:t> real y con </a:t>
            </a:r>
            <a:r>
              <a:rPr kumimoji="0" lang="en-US" sz="1200" b="1" i="0" u="none" strike="noStrike" kern="1200" cap="none" spc="0" normalizeH="0" baseline="0" noProof="0" dirty="0" err="1">
                <a:ln>
                  <a:noFill/>
                </a:ln>
                <a:solidFill>
                  <a:srgbClr val="005EB8"/>
                </a:solidFill>
                <a:effectLst/>
                <a:uLnTx/>
                <a:uFillTx/>
                <a:latin typeface="Calibri" panose="020F0502020204030204" pitchFamily="34" charset="0"/>
                <a:ea typeface="+mn-ea"/>
                <a:cs typeface="Calibri" panose="020F0502020204030204" pitchFamily="34" charset="0"/>
              </a:rPr>
              <a:t>proyección</a:t>
            </a:r>
            <a:endParaRPr kumimoji="0" lang="en-US" sz="1400" b="1" i="0" u="none" strike="noStrike" kern="1200" cap="none" spc="0" normalizeH="0" baseline="0" noProof="0" dirty="0">
              <a:ln>
                <a:noFill/>
              </a:ln>
              <a:solidFill>
                <a:srgbClr val="005EB8"/>
              </a:solidFill>
              <a:effectLst/>
              <a:uLnTx/>
              <a:uFillTx/>
              <a:latin typeface="Calibri" panose="020F0502020204030204" pitchFamily="34" charset="0"/>
              <a:ea typeface="+mn-ea"/>
              <a:cs typeface="Calibri" panose="020F0502020204030204" pitchFamily="34" charset="0"/>
            </a:endParaRPr>
          </a:p>
        </p:txBody>
      </p:sp>
      <p:sp>
        <p:nvSpPr>
          <p:cNvPr id="22" name="Rectangle 21">
            <a:extLst>
              <a:ext uri="{FF2B5EF4-FFF2-40B4-BE49-F238E27FC236}">
                <a16:creationId xmlns:a16="http://schemas.microsoft.com/office/drawing/2014/main" id="{217E6BAD-7C57-EAA0-AFC5-887ACDF0CEB3}"/>
              </a:ext>
            </a:extLst>
          </p:cNvPr>
          <p:cNvSpPr/>
          <p:nvPr/>
        </p:nvSpPr>
        <p:spPr>
          <a:xfrm>
            <a:off x="5345006" y="4020193"/>
            <a:ext cx="1358421" cy="81948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EB8"/>
                </a:solidFill>
                <a:effectLst/>
                <a:uLnTx/>
                <a:uFillTx/>
                <a:latin typeface="Calibri"/>
                <a:ea typeface="+mn-ea"/>
                <a:cs typeface="Calibri"/>
              </a:rPr>
              <a:t>+300M </a:t>
            </a:r>
            <a:r>
              <a:rPr kumimoji="0" lang="en-US" sz="1200" b="1" i="0" u="none" strike="noStrike" kern="1200" cap="none" spc="0" normalizeH="0" baseline="0" noProof="0" err="1">
                <a:ln>
                  <a:noFill/>
                </a:ln>
                <a:solidFill>
                  <a:srgbClr val="005EB8"/>
                </a:solidFill>
                <a:effectLst/>
                <a:uLnTx/>
                <a:uFillTx/>
                <a:latin typeface="Calibri"/>
                <a:ea typeface="+mn-ea"/>
                <a:cs typeface="Calibri"/>
              </a:rPr>
              <a:t>reservas</a:t>
            </a:r>
            <a:r>
              <a:rPr kumimoji="0" lang="en-US" sz="1200" b="1" i="0" u="none" strike="noStrike" kern="1200" cap="none" spc="0" normalizeH="0" baseline="0" noProof="0">
                <a:ln>
                  <a:noFill/>
                </a:ln>
                <a:solidFill>
                  <a:srgbClr val="005EB8"/>
                </a:solidFill>
                <a:effectLst/>
                <a:uLnTx/>
                <a:uFillTx/>
                <a:latin typeface="Calibri"/>
                <a:ea typeface="+mn-ea"/>
                <a:cs typeface="Calibri"/>
              </a:rPr>
              <a:t> a </a:t>
            </a:r>
            <a:r>
              <a:rPr kumimoji="0" lang="en-US" sz="1200" b="1" i="0" u="none" strike="noStrike" kern="1200" cap="none" spc="0" normalizeH="0" baseline="0" noProof="0" err="1">
                <a:ln>
                  <a:noFill/>
                </a:ln>
                <a:solidFill>
                  <a:srgbClr val="005EB8"/>
                </a:solidFill>
                <a:effectLst/>
                <a:uLnTx/>
                <a:uFillTx/>
                <a:latin typeface="Calibri"/>
                <a:ea typeface="+mn-ea"/>
                <a:cs typeface="Calibri"/>
              </a:rPr>
              <a:t>través</a:t>
            </a:r>
            <a:r>
              <a:rPr kumimoji="0" lang="en-US" sz="1200" b="1" i="0" u="none" strike="noStrike" kern="1200" cap="none" spc="0" normalizeH="0" baseline="0" noProof="0">
                <a:ln>
                  <a:noFill/>
                </a:ln>
                <a:solidFill>
                  <a:srgbClr val="005EB8"/>
                </a:solidFill>
                <a:effectLst/>
                <a:uLnTx/>
                <a:uFillTx/>
                <a:latin typeface="Calibri"/>
                <a:ea typeface="+mn-ea"/>
                <a:cs typeface="Calibri"/>
              </a:rPr>
              <a:t> de </a:t>
            </a:r>
            <a:r>
              <a:rPr kumimoji="0" lang="en-US" sz="1200" b="1" i="0" u="none" strike="noStrike" kern="1200" cap="none" spc="0" normalizeH="0" baseline="0" noProof="0" err="1">
                <a:ln>
                  <a:noFill/>
                </a:ln>
                <a:solidFill>
                  <a:srgbClr val="005EB8"/>
                </a:solidFill>
                <a:effectLst/>
                <a:uLnTx/>
                <a:uFillTx/>
                <a:latin typeface="Calibri"/>
                <a:ea typeface="+mn-ea"/>
                <a:cs typeface="Calibri"/>
              </a:rPr>
              <a:t>agentes</a:t>
            </a:r>
            <a:r>
              <a:rPr kumimoji="0" lang="en-US" sz="1200" b="1" i="0" u="none" strike="noStrike" kern="1200" cap="none" spc="0" normalizeH="0" baseline="0" noProof="0">
                <a:ln>
                  <a:noFill/>
                </a:ln>
                <a:solidFill>
                  <a:srgbClr val="005EB8"/>
                </a:solidFill>
                <a:effectLst/>
                <a:uLnTx/>
                <a:uFillTx/>
                <a:latin typeface="Calibri"/>
                <a:ea typeface="+mn-ea"/>
                <a:cs typeface="Calibri"/>
              </a:rPr>
              <a:t> de </a:t>
            </a:r>
            <a:r>
              <a:rPr kumimoji="0" lang="en-US" sz="1200" b="1" i="0" u="none" strike="noStrike" kern="1200" cap="none" spc="0" normalizeH="0" baseline="0" noProof="0" err="1">
                <a:ln>
                  <a:noFill/>
                </a:ln>
                <a:solidFill>
                  <a:srgbClr val="005EB8"/>
                </a:solidFill>
                <a:effectLst/>
                <a:uLnTx/>
                <a:uFillTx/>
                <a:latin typeface="Calibri"/>
                <a:ea typeface="+mn-ea"/>
                <a:cs typeface="Calibri"/>
              </a:rPr>
              <a:t>viaje</a:t>
            </a:r>
            <a:r>
              <a:rPr kumimoji="0" lang="en-US" sz="1200" b="1" i="0" u="none" strike="noStrike" kern="1200" cap="none" spc="0" normalizeH="0" baseline="0" noProof="0">
                <a:ln>
                  <a:noFill/>
                </a:ln>
                <a:solidFill>
                  <a:srgbClr val="005EB8"/>
                </a:solidFill>
                <a:effectLst/>
                <a:uLnTx/>
                <a:uFillTx/>
                <a:latin typeface="Calibri"/>
                <a:ea typeface="+mn-ea"/>
                <a:cs typeface="Calibri"/>
              </a:rPr>
              <a:t> </a:t>
            </a:r>
            <a:r>
              <a:rPr kumimoji="0" lang="en-US" sz="1200" b="1" i="0" u="none" strike="noStrike" kern="1200" cap="none" spc="0" normalizeH="0" baseline="0" noProof="0" err="1">
                <a:ln>
                  <a:noFill/>
                </a:ln>
                <a:solidFill>
                  <a:srgbClr val="005EB8"/>
                </a:solidFill>
                <a:effectLst/>
                <a:uLnTx/>
                <a:uFillTx/>
                <a:latin typeface="Calibri"/>
                <a:ea typeface="+mn-ea"/>
                <a:cs typeface="Calibri"/>
              </a:rPr>
              <a:t>anualmente</a:t>
            </a:r>
            <a:endParaRPr kumimoji="0" lang="en-US" sz="1200" b="1" i="0" u="none" strike="noStrike" kern="1200" cap="none" spc="0" normalizeH="0" baseline="0" noProof="0">
              <a:ln>
                <a:noFill/>
              </a:ln>
              <a:solidFill>
                <a:srgbClr val="005EB8"/>
              </a:solidFill>
              <a:effectLst/>
              <a:uLnTx/>
              <a:uFillTx/>
              <a:latin typeface="Calibri"/>
              <a:ea typeface="+mn-ea"/>
              <a:cs typeface="Calibri"/>
            </a:endParaRPr>
          </a:p>
        </p:txBody>
      </p:sp>
      <p:sp>
        <p:nvSpPr>
          <p:cNvPr id="23" name="Footer Placeholder 5">
            <a:extLst>
              <a:ext uri="{FF2B5EF4-FFF2-40B4-BE49-F238E27FC236}">
                <a16:creationId xmlns:a16="http://schemas.microsoft.com/office/drawing/2014/main" id="{BDB75DA1-E5A1-9370-FB18-CA77080E84C9}"/>
              </a:ext>
            </a:extLst>
          </p:cNvPr>
          <p:cNvSpPr txBox="1">
            <a:spLocks/>
          </p:cNvSpPr>
          <p:nvPr/>
        </p:nvSpPr>
        <p:spPr>
          <a:xfrm rot="16200000">
            <a:off x="10404202" y="4427704"/>
            <a:ext cx="3086100" cy="226487"/>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bg1">
                    <a:lumMod val="65000"/>
                  </a:schemeClr>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5EB8">
                    <a:lumMod val="50000"/>
                  </a:srgbClr>
                </a:solidFill>
                <a:effectLst/>
                <a:uLnTx/>
                <a:uFillTx/>
                <a:latin typeface="Calibri Light" panose="020F0302020204030204" pitchFamily="34" charset="0"/>
                <a:ea typeface="+mn-ea"/>
                <a:cs typeface="Calibri Light" panose="020F0302020204030204" pitchFamily="34" charset="0"/>
              </a:rPr>
              <a:t>© Amadeus IT Group and its affiliates and subsidiaries</a:t>
            </a:r>
          </a:p>
        </p:txBody>
      </p:sp>
      <p:pic>
        <p:nvPicPr>
          <p:cNvPr id="24" name="Picture 23">
            <a:extLst>
              <a:ext uri="{FF2B5EF4-FFF2-40B4-BE49-F238E27FC236}">
                <a16:creationId xmlns:a16="http://schemas.microsoft.com/office/drawing/2014/main" id="{218E6493-460B-D86C-4DA6-3F5FCB73E9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36544" y="6439123"/>
            <a:ext cx="1041424" cy="140733"/>
          </a:xfrm>
          <a:prstGeom prst="rect">
            <a:avLst/>
          </a:prstGeom>
        </p:spPr>
      </p:pic>
      <p:sp>
        <p:nvSpPr>
          <p:cNvPr id="25" name="MSIPCMContentMarking" descr="{&quot;HashCode&quot;:-980460767,&quot;Placement&quot;:&quot;Header&quot;}">
            <a:extLst>
              <a:ext uri="{FF2B5EF4-FFF2-40B4-BE49-F238E27FC236}">
                <a16:creationId xmlns:a16="http://schemas.microsoft.com/office/drawing/2014/main" id="{946B6509-9F0C-93F7-7283-4828671DB5EB}"/>
              </a:ext>
            </a:extLst>
          </p:cNvPr>
          <p:cNvSpPr txBox="1"/>
          <p:nvPr/>
        </p:nvSpPr>
        <p:spPr>
          <a:xfrm>
            <a:off x="10002555" y="0"/>
            <a:ext cx="2189445" cy="296525"/>
          </a:xfrm>
          <a:prstGeom prst="rect">
            <a:avLst/>
          </a:prstGeom>
          <a:noFill/>
        </p:spPr>
        <p:txBody>
          <a:bodyPr vert="horz" wrap="square" lIns="0" tIns="0" rIns="0" bIns="0" rtlCol="0" anchor="ctr" anchorCtr="1">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8C00"/>
                </a:solidFill>
                <a:effectLst/>
                <a:uLnTx/>
                <a:uFillTx/>
                <a:latin typeface="Calibri" panose="020F0502020204030204" pitchFamily="34" charset="0"/>
                <a:ea typeface="+mn-ea"/>
                <a:cs typeface="+mn-cs"/>
              </a:rPr>
              <a:t>CONFIDENTIAL &amp; RESTRICTED</a:t>
            </a:r>
          </a:p>
        </p:txBody>
      </p:sp>
      <p:sp>
        <p:nvSpPr>
          <p:cNvPr id="26" name="Title 2">
            <a:extLst>
              <a:ext uri="{FF2B5EF4-FFF2-40B4-BE49-F238E27FC236}">
                <a16:creationId xmlns:a16="http://schemas.microsoft.com/office/drawing/2014/main" id="{FE852472-69D2-6197-6919-A6CBF88C8939}"/>
              </a:ext>
            </a:extLst>
          </p:cNvPr>
          <p:cNvSpPr txBox="1">
            <a:spLocks/>
          </p:cNvSpPr>
          <p:nvPr/>
        </p:nvSpPr>
        <p:spPr>
          <a:xfrm>
            <a:off x="370419" y="360186"/>
            <a:ext cx="9913454" cy="591177"/>
          </a:xfrm>
          <a:prstGeom prst="rect">
            <a:avLst/>
          </a:prstGeom>
        </p:spPr>
        <p:txBody>
          <a:bodyPr/>
          <a:lst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L"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rPr>
              <a:t>Impulsamos millones de viajes a través de la tecnología</a:t>
            </a:r>
            <a:endParaRPr kumimoji="0" lang="en-US" sz="3200" b="1" i="0" u="none" strike="noStrike" kern="1200" cap="none" spc="0" normalizeH="0" baseline="0" noProof="0" dirty="0">
              <a:ln>
                <a:noFill/>
              </a:ln>
              <a:solidFill>
                <a:srgbClr val="005EB8"/>
              </a:solidFill>
              <a:effectLst/>
              <a:uLnTx/>
              <a:uFillTx/>
              <a:latin typeface="Calibri" panose="020F0502020204030204" pitchFamily="34" charset="0"/>
              <a:ea typeface="+mj-ea"/>
              <a:cs typeface="Calibri" panose="020F0502020204030204" pitchFamily="34" charset="0"/>
            </a:endParaRPr>
          </a:p>
        </p:txBody>
      </p:sp>
      <p:pic>
        <p:nvPicPr>
          <p:cNvPr id="27" name="Picture 26">
            <a:extLst>
              <a:ext uri="{FF2B5EF4-FFF2-40B4-BE49-F238E27FC236}">
                <a16:creationId xmlns:a16="http://schemas.microsoft.com/office/drawing/2014/main" id="{55ECF274-CE1E-DDE6-A4A2-EF35DC101C3F}"/>
              </a:ext>
            </a:extLst>
          </p:cNvPr>
          <p:cNvPicPr>
            <a:picLocks noChangeAspect="1"/>
          </p:cNvPicPr>
          <p:nvPr/>
        </p:nvPicPr>
        <p:blipFill>
          <a:blip r:embed="rId5"/>
          <a:stretch>
            <a:fillRect/>
          </a:stretch>
        </p:blipFill>
        <p:spPr>
          <a:xfrm>
            <a:off x="4824127" y="5181442"/>
            <a:ext cx="1977521" cy="1208667"/>
          </a:xfrm>
          <a:prstGeom prst="rect">
            <a:avLst/>
          </a:prstGeom>
        </p:spPr>
      </p:pic>
    </p:spTree>
    <p:extLst>
      <p:ext uri="{BB962C8B-B14F-4D97-AF65-F5344CB8AC3E}">
        <p14:creationId xmlns:p14="http://schemas.microsoft.com/office/powerpoint/2010/main" val="4037146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n 39">
            <a:extLst>
              <a:ext uri="{FF2B5EF4-FFF2-40B4-BE49-F238E27FC236}">
                <a16:creationId xmlns:a16="http://schemas.microsoft.com/office/drawing/2014/main" id="{1E49C500-2A36-0D46-B839-99CF04DB6D23}"/>
              </a:ext>
            </a:extLst>
          </p:cNvPr>
          <p:cNvPicPr>
            <a:picLocks noChangeAspect="1"/>
          </p:cNvPicPr>
          <p:nvPr/>
        </p:nvPicPr>
        <p:blipFill>
          <a:blip r:embed="rId3"/>
          <a:stretch>
            <a:fillRect/>
          </a:stretch>
        </p:blipFill>
        <p:spPr>
          <a:xfrm>
            <a:off x="403544" y="1143285"/>
            <a:ext cx="11265941" cy="1989949"/>
          </a:xfrm>
          <a:prstGeom prst="rect">
            <a:avLst/>
          </a:prstGeom>
        </p:spPr>
      </p:pic>
      <p:sp>
        <p:nvSpPr>
          <p:cNvPr id="19472" name="Title 6"/>
          <p:cNvSpPr txBox="1">
            <a:spLocks/>
          </p:cNvSpPr>
          <p:nvPr/>
        </p:nvSpPr>
        <p:spPr bwMode="auto">
          <a:xfrm>
            <a:off x="3163888" y="425427"/>
            <a:ext cx="6892652" cy="53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fontAlgn="base">
              <a:spcBef>
                <a:spcPct val="0"/>
              </a:spcBef>
              <a:spcAft>
                <a:spcPct val="0"/>
              </a:spcAft>
              <a:defRPr>
                <a:solidFill>
                  <a:schemeClr val="tx1"/>
                </a:solidFill>
                <a:latin typeface="Calibri" charset="0"/>
                <a:ea typeface="ＭＳ Ｐゴシック" charset="-128"/>
              </a:defRPr>
            </a:lvl6pPr>
            <a:lvl7pPr marL="2971800" indent="-228600" fontAlgn="base">
              <a:spcBef>
                <a:spcPct val="0"/>
              </a:spcBef>
              <a:spcAft>
                <a:spcPct val="0"/>
              </a:spcAft>
              <a:defRPr>
                <a:solidFill>
                  <a:schemeClr val="tx1"/>
                </a:solidFill>
                <a:latin typeface="Calibri" charset="0"/>
                <a:ea typeface="ＭＳ Ｐゴシック" charset="-128"/>
              </a:defRPr>
            </a:lvl7pPr>
            <a:lvl8pPr marL="3429000" indent="-228600" fontAlgn="base">
              <a:spcBef>
                <a:spcPct val="0"/>
              </a:spcBef>
              <a:spcAft>
                <a:spcPct val="0"/>
              </a:spcAft>
              <a:defRPr>
                <a:solidFill>
                  <a:schemeClr val="tx1"/>
                </a:solidFill>
                <a:latin typeface="Calibri" charset="0"/>
                <a:ea typeface="ＭＳ Ｐゴシック" charset="-128"/>
              </a:defRPr>
            </a:lvl8pPr>
            <a:lvl9pPr marL="3886200" indent="-228600" fontAlgn="base">
              <a:spcBef>
                <a:spcPct val="0"/>
              </a:spcBef>
              <a:spcAft>
                <a:spcPct val="0"/>
              </a:spcAft>
              <a:defRPr>
                <a:solidFill>
                  <a:schemeClr val="tx1"/>
                </a:solidFill>
                <a:latin typeface="Calibri" charset="0"/>
                <a:ea typeface="ＭＳ Ｐゴシック" charset="-128"/>
              </a:defRPr>
            </a:lvl9pPr>
          </a:lstStyle>
          <a:p>
            <a:pPr defTabSz="914400"/>
            <a:r>
              <a:rPr lang="en-US" altLang="es-ES_tradnl" sz="3200" b="1" noProof="1">
                <a:solidFill>
                  <a:srgbClr val="005EB8"/>
                </a:solidFill>
                <a:latin typeface="+mn-lt"/>
              </a:rPr>
              <a:t>¿Qué es la Inteligencia Turística? </a:t>
            </a:r>
            <a:endParaRPr altLang="es-ES_tradnl" sz="3200" b="1" noProof="1">
              <a:solidFill>
                <a:srgbClr val="005EB8"/>
              </a:solidFill>
              <a:latin typeface="+mn-lt"/>
            </a:endParaRPr>
          </a:p>
        </p:txBody>
      </p:sp>
      <p:sp>
        <p:nvSpPr>
          <p:cNvPr id="4" name="Slide Number Placeholder 3"/>
          <p:cNvSpPr>
            <a:spLocks noGrp="1"/>
          </p:cNvSpPr>
          <p:nvPr>
            <p:ph type="sldNum" sz="quarter" idx="18"/>
          </p:nvPr>
        </p:nvSpPr>
        <p:spPr/>
        <p:txBody>
          <a:bodyPr/>
          <a:lstStyle/>
          <a:p>
            <a:endParaRPr lang="es-ES" altLang="es-ES_tradnl" dirty="0"/>
          </a:p>
        </p:txBody>
      </p:sp>
      <p:grpSp>
        <p:nvGrpSpPr>
          <p:cNvPr id="27" name="Group 26"/>
          <p:cNvGrpSpPr/>
          <p:nvPr/>
        </p:nvGrpSpPr>
        <p:grpSpPr>
          <a:xfrm>
            <a:off x="11370732" y="823606"/>
            <a:ext cx="576000" cy="639358"/>
            <a:chOff x="10852008" y="253855"/>
            <a:chExt cx="576000" cy="639358"/>
          </a:xfrm>
        </p:grpSpPr>
        <p:cxnSp>
          <p:nvCxnSpPr>
            <p:cNvPr id="28" name="Straight Connector 27"/>
            <p:cNvCxnSpPr/>
            <p:nvPr/>
          </p:nvCxnSpPr>
          <p:spPr>
            <a:xfrm>
              <a:off x="11131913" y="253855"/>
              <a:ext cx="0" cy="639358"/>
            </a:xfrm>
            <a:prstGeom prst="line">
              <a:avLst/>
            </a:prstGeom>
            <a:noFill/>
            <a:ln w="28575">
              <a:solidFill>
                <a:schemeClr val="accent2"/>
              </a:solidFill>
              <a:prstDash val="solid"/>
            </a:ln>
          </p:spPr>
        </p:cxnSp>
        <p:cxnSp>
          <p:nvCxnSpPr>
            <p:cNvPr id="29" name="Straight Connector 28"/>
            <p:cNvCxnSpPr/>
            <p:nvPr/>
          </p:nvCxnSpPr>
          <p:spPr>
            <a:xfrm rot="16200000">
              <a:off x="11140008" y="285532"/>
              <a:ext cx="0" cy="576000"/>
            </a:xfrm>
            <a:prstGeom prst="line">
              <a:avLst/>
            </a:prstGeom>
            <a:noFill/>
            <a:ln w="28575">
              <a:solidFill>
                <a:schemeClr val="accent2"/>
              </a:solidFill>
              <a:prstDash val="solid"/>
            </a:ln>
          </p:spPr>
        </p:cxnSp>
      </p:grpSp>
      <p:sp>
        <p:nvSpPr>
          <p:cNvPr id="42" name="Text Placeholder 27">
            <a:extLst>
              <a:ext uri="{FF2B5EF4-FFF2-40B4-BE49-F238E27FC236}">
                <a16:creationId xmlns:a16="http://schemas.microsoft.com/office/drawing/2014/main" id="{A7D16F14-0FCF-764C-878E-291F06C09DA4}"/>
              </a:ext>
            </a:extLst>
          </p:cNvPr>
          <p:cNvSpPr txBox="1">
            <a:spLocks/>
          </p:cNvSpPr>
          <p:nvPr/>
        </p:nvSpPr>
        <p:spPr>
          <a:xfrm>
            <a:off x="643348" y="1250814"/>
            <a:ext cx="10895507" cy="1989949"/>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lnSpc>
                <a:spcPct val="100000"/>
              </a:lnSpc>
              <a:spcBef>
                <a:spcPts val="2200"/>
              </a:spcBef>
              <a:buNone/>
            </a:pPr>
            <a:r>
              <a:rPr lang="es-CL" altLang="es-ES_tradnl" sz="1800" dirty="0">
                <a:solidFill>
                  <a:srgbClr val="005EB8"/>
                </a:solidFill>
              </a:rPr>
              <a:t>Es Big Data llevado a conocimiento para decisiones estratégicas que me permitan hacer crecer mi organización turística de manera sostenible e inteligente. Se trata de reducir la incertidumbre a través del uso de información obtenida del análisis de una multitud de fuentes de datos, en tiempo real. </a:t>
            </a:r>
          </a:p>
          <a:p>
            <a:pPr marL="0" indent="0" defTabSz="914400">
              <a:lnSpc>
                <a:spcPct val="100000"/>
              </a:lnSpc>
              <a:spcBef>
                <a:spcPts val="2200"/>
              </a:spcBef>
              <a:buNone/>
            </a:pPr>
            <a:r>
              <a:rPr lang="es-CL" altLang="es-ES_tradnl" sz="1800" dirty="0">
                <a:solidFill>
                  <a:srgbClr val="005EB8"/>
                </a:solidFill>
              </a:rPr>
              <a:t>El uso de Big Data y de analítica avanzada de datos para recopilar y transformar la información de los datos de los turistas en conocimiento y patrones de comportamiento tiene básicamente dos finalidades: </a:t>
            </a:r>
            <a:endParaRPr lang="en-US" altLang="es-ES_tradnl" sz="1800" dirty="0">
              <a:solidFill>
                <a:srgbClr val="005EB8"/>
              </a:solidFill>
            </a:endParaRPr>
          </a:p>
        </p:txBody>
      </p:sp>
      <p:grpSp>
        <p:nvGrpSpPr>
          <p:cNvPr id="23" name="Grupo 22">
            <a:extLst>
              <a:ext uri="{FF2B5EF4-FFF2-40B4-BE49-F238E27FC236}">
                <a16:creationId xmlns:a16="http://schemas.microsoft.com/office/drawing/2014/main" id="{CEA28E74-0BDE-A444-A2AB-C7C88B3EBEE1}"/>
              </a:ext>
            </a:extLst>
          </p:cNvPr>
          <p:cNvGrpSpPr/>
          <p:nvPr/>
        </p:nvGrpSpPr>
        <p:grpSpPr>
          <a:xfrm>
            <a:off x="2922595" y="3577053"/>
            <a:ext cx="1996735" cy="2377242"/>
            <a:chOff x="385520" y="3914639"/>
            <a:chExt cx="1996735" cy="2377242"/>
          </a:xfrm>
        </p:grpSpPr>
        <p:sp>
          <p:nvSpPr>
            <p:cNvPr id="32" name="Text Placeholder 27">
              <a:extLst>
                <a:ext uri="{FF2B5EF4-FFF2-40B4-BE49-F238E27FC236}">
                  <a16:creationId xmlns:a16="http://schemas.microsoft.com/office/drawing/2014/main" id="{3F9A418A-C08C-674F-B4D1-4337D032DA20}"/>
                </a:ext>
              </a:extLst>
            </p:cNvPr>
            <p:cNvSpPr txBox="1">
              <a:spLocks/>
            </p:cNvSpPr>
            <p:nvPr/>
          </p:nvSpPr>
          <p:spPr>
            <a:xfrm>
              <a:off x="385520" y="5307710"/>
              <a:ext cx="1996735" cy="984171"/>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400">
                <a:spcBef>
                  <a:spcPts val="2200"/>
                </a:spcBef>
                <a:buNone/>
              </a:pPr>
              <a:r>
                <a:rPr lang="es-CL" altLang="es-ES_tradnl" sz="2000" b="1" dirty="0">
                  <a:solidFill>
                    <a:srgbClr val="005EB8"/>
                  </a:solidFill>
                </a:rPr>
                <a:t>Contribuir y mejorar la calidad del servicio</a:t>
              </a:r>
            </a:p>
            <a:p>
              <a:pPr marL="0" indent="0" algn="ctr" defTabSz="914400">
                <a:spcBef>
                  <a:spcPts val="2200"/>
                </a:spcBef>
                <a:buNone/>
              </a:pPr>
              <a:r>
                <a:rPr lang="en-US" altLang="es-ES_tradnl" b="1" dirty="0" err="1">
                  <a:solidFill>
                    <a:srgbClr val="00B0F0"/>
                  </a:solidFill>
                  <a:cs typeface="Calibri" panose="020F0502020204030204" pitchFamily="34" charset="0"/>
                </a:rPr>
                <a:t>Entendiendo</a:t>
              </a:r>
              <a:r>
                <a:rPr lang="en-US" altLang="es-ES_tradnl" b="1" dirty="0">
                  <a:solidFill>
                    <a:srgbClr val="00B0F0"/>
                  </a:solidFill>
                  <a:cs typeface="Calibri" panose="020F0502020204030204" pitchFamily="34" charset="0"/>
                </a:rPr>
                <a:t> </a:t>
              </a:r>
              <a:r>
                <a:rPr lang="en-US" altLang="es-ES_tradnl" b="1" dirty="0" err="1">
                  <a:solidFill>
                    <a:srgbClr val="00B0F0"/>
                  </a:solidFill>
                  <a:cs typeface="Calibri" panose="020F0502020204030204" pitchFamily="34" charset="0"/>
                </a:rPr>
                <a:t>quién</a:t>
              </a:r>
              <a:r>
                <a:rPr lang="en-US" altLang="es-ES_tradnl" b="1" dirty="0">
                  <a:solidFill>
                    <a:srgbClr val="00B0F0"/>
                  </a:solidFill>
                  <a:cs typeface="Calibri" panose="020F0502020204030204" pitchFamily="34" charset="0"/>
                </a:rPr>
                <a:t> </a:t>
              </a:r>
              <a:r>
                <a:rPr lang="en-US" altLang="es-ES_tradnl" b="1" dirty="0" err="1">
                  <a:solidFill>
                    <a:srgbClr val="00B0F0"/>
                  </a:solidFill>
                  <a:cs typeface="Calibri" panose="020F0502020204030204" pitchFamily="34" charset="0"/>
                </a:rPr>
                <a:t>te</a:t>
              </a:r>
              <a:r>
                <a:rPr lang="en-US" altLang="es-ES_tradnl" b="1" dirty="0">
                  <a:solidFill>
                    <a:srgbClr val="00B0F0"/>
                  </a:solidFill>
                  <a:cs typeface="Calibri" panose="020F0502020204030204" pitchFamily="34" charset="0"/>
                </a:rPr>
                <a:t> </a:t>
              </a:r>
              <a:r>
                <a:rPr lang="en-US" altLang="es-ES_tradnl" b="1" dirty="0" err="1">
                  <a:solidFill>
                    <a:srgbClr val="00B0F0"/>
                  </a:solidFill>
                  <a:cs typeface="Calibri" panose="020F0502020204030204" pitchFamily="34" charset="0"/>
                </a:rPr>
                <a:t>visita</a:t>
              </a:r>
              <a:endParaRPr lang="es-CL" altLang="es-ES_tradnl" b="1" dirty="0">
                <a:solidFill>
                  <a:srgbClr val="00B0F0"/>
                </a:solidFill>
                <a:cs typeface="Calibri" panose="020F0502020204030204" pitchFamily="34" charset="0"/>
              </a:endParaRPr>
            </a:p>
          </p:txBody>
        </p:sp>
        <p:grpSp>
          <p:nvGrpSpPr>
            <p:cNvPr id="35" name="Group 72">
              <a:extLst>
                <a:ext uri="{FF2B5EF4-FFF2-40B4-BE49-F238E27FC236}">
                  <a16:creationId xmlns:a16="http://schemas.microsoft.com/office/drawing/2014/main" id="{1D4A5A23-3E0A-F747-9A9A-8D6546ED1323}"/>
                </a:ext>
              </a:extLst>
            </p:cNvPr>
            <p:cNvGrpSpPr/>
            <p:nvPr/>
          </p:nvGrpSpPr>
          <p:grpSpPr>
            <a:xfrm>
              <a:off x="790326" y="3914639"/>
              <a:ext cx="1187123" cy="1212373"/>
              <a:chOff x="5256257" y="334963"/>
              <a:chExt cx="1373372" cy="1402584"/>
            </a:xfrm>
          </p:grpSpPr>
          <p:sp>
            <p:nvSpPr>
              <p:cNvPr id="36" name="Arc 73">
                <a:extLst>
                  <a:ext uri="{FF2B5EF4-FFF2-40B4-BE49-F238E27FC236}">
                    <a16:creationId xmlns:a16="http://schemas.microsoft.com/office/drawing/2014/main" id="{E9F9150C-A613-4148-8732-6185E991468C}"/>
                  </a:ext>
                </a:extLst>
              </p:cNvPr>
              <p:cNvSpPr/>
              <p:nvPr/>
            </p:nvSpPr>
            <p:spPr>
              <a:xfrm>
                <a:off x="5313739" y="334963"/>
                <a:ext cx="1315890" cy="1315891"/>
              </a:xfrm>
              <a:prstGeom prst="arc">
                <a:avLst>
                  <a:gd name="adj1" fmla="val 15723349"/>
                  <a:gd name="adj2" fmla="val 437989"/>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74">
                <a:extLst>
                  <a:ext uri="{FF2B5EF4-FFF2-40B4-BE49-F238E27FC236}">
                    <a16:creationId xmlns:a16="http://schemas.microsoft.com/office/drawing/2014/main" id="{C850A5DF-F6EC-2C43-9590-66587D764105}"/>
                  </a:ext>
                </a:extLst>
              </p:cNvPr>
              <p:cNvSpPr/>
              <p:nvPr/>
            </p:nvSpPr>
            <p:spPr>
              <a:xfrm rot="9900000">
                <a:off x="5256257" y="421656"/>
                <a:ext cx="1315890" cy="1315891"/>
              </a:xfrm>
              <a:prstGeom prst="arc">
                <a:avLst>
                  <a:gd name="adj1" fmla="val 16834929"/>
                  <a:gd name="adj2" fmla="val 961207"/>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2" name="Grupo 21">
            <a:extLst>
              <a:ext uri="{FF2B5EF4-FFF2-40B4-BE49-F238E27FC236}">
                <a16:creationId xmlns:a16="http://schemas.microsoft.com/office/drawing/2014/main" id="{7485490F-0FA9-A742-B165-29C01161F86E}"/>
              </a:ext>
            </a:extLst>
          </p:cNvPr>
          <p:cNvGrpSpPr/>
          <p:nvPr/>
        </p:nvGrpSpPr>
        <p:grpSpPr>
          <a:xfrm>
            <a:off x="6900664" y="3429000"/>
            <a:ext cx="2393583" cy="2704000"/>
            <a:chOff x="3535002" y="3914639"/>
            <a:chExt cx="2393583" cy="2704000"/>
          </a:xfrm>
        </p:grpSpPr>
        <p:sp>
          <p:nvSpPr>
            <p:cNvPr id="21" name="Text Placeholder 27"/>
            <p:cNvSpPr txBox="1">
              <a:spLocks/>
            </p:cNvSpPr>
            <p:nvPr/>
          </p:nvSpPr>
          <p:spPr>
            <a:xfrm>
              <a:off x="3535002" y="5455763"/>
              <a:ext cx="2393583" cy="1162876"/>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400">
                <a:spcBef>
                  <a:spcPts val="2200"/>
                </a:spcBef>
                <a:buNone/>
              </a:pPr>
              <a:r>
                <a:rPr lang="en-US" altLang="es-ES_tradnl" sz="2000" b="1" dirty="0" err="1">
                  <a:solidFill>
                    <a:srgbClr val="005EB8"/>
                  </a:solidFill>
                </a:rPr>
                <a:t>Anticipar</a:t>
              </a:r>
              <a:r>
                <a:rPr lang="en-US" altLang="es-ES_tradnl" sz="2000" b="1" dirty="0">
                  <a:solidFill>
                    <a:srgbClr val="005EB8"/>
                  </a:solidFill>
                </a:rPr>
                <a:t> y </a:t>
              </a:r>
              <a:r>
                <a:rPr lang="en-US" altLang="es-ES_tradnl" sz="2000" b="1" dirty="0" err="1">
                  <a:solidFill>
                    <a:srgbClr val="005EB8"/>
                  </a:solidFill>
                </a:rPr>
                <a:t>adaptar</a:t>
              </a:r>
              <a:r>
                <a:rPr lang="en-US" altLang="es-ES_tradnl" sz="2000" b="1" dirty="0">
                  <a:solidFill>
                    <a:srgbClr val="005EB8"/>
                  </a:solidFill>
                </a:rPr>
                <a:t> </a:t>
              </a:r>
              <a:r>
                <a:rPr lang="en-US" altLang="es-ES_tradnl" sz="2000" b="1" dirty="0" err="1">
                  <a:solidFill>
                    <a:srgbClr val="005EB8"/>
                  </a:solidFill>
                </a:rPr>
                <a:t>los</a:t>
              </a:r>
              <a:r>
                <a:rPr lang="en-US" altLang="es-ES_tradnl" sz="2000" b="1" dirty="0">
                  <a:solidFill>
                    <a:srgbClr val="005EB8"/>
                  </a:solidFill>
                </a:rPr>
                <a:t> </a:t>
              </a:r>
              <a:r>
                <a:rPr lang="en-US" altLang="es-ES_tradnl" sz="2000" b="1" dirty="0" err="1">
                  <a:solidFill>
                    <a:srgbClr val="005EB8"/>
                  </a:solidFill>
                </a:rPr>
                <a:t>productos</a:t>
              </a:r>
              <a:r>
                <a:rPr lang="en-US" altLang="es-ES_tradnl" sz="2000" b="1" dirty="0">
                  <a:solidFill>
                    <a:srgbClr val="005EB8"/>
                  </a:solidFill>
                </a:rPr>
                <a:t> y </a:t>
              </a:r>
              <a:r>
                <a:rPr lang="en-US" altLang="es-ES_tradnl" sz="2000" b="1" dirty="0" err="1">
                  <a:solidFill>
                    <a:srgbClr val="005EB8"/>
                  </a:solidFill>
                </a:rPr>
                <a:t>servicios</a:t>
              </a:r>
              <a:r>
                <a:rPr lang="en-US" altLang="es-ES_tradnl" sz="2000" b="1" dirty="0">
                  <a:solidFill>
                    <a:srgbClr val="005EB8"/>
                  </a:solidFill>
                </a:rPr>
                <a:t> del </a:t>
              </a:r>
              <a:r>
                <a:rPr lang="en-US" altLang="es-ES_tradnl" sz="2000" b="1" dirty="0" err="1">
                  <a:solidFill>
                    <a:srgbClr val="005EB8"/>
                  </a:solidFill>
                </a:rPr>
                <a:t>destino</a:t>
              </a:r>
              <a:endParaRPr lang="en-US" altLang="es-ES_tradnl" sz="2000" b="1" dirty="0">
                <a:solidFill>
                  <a:srgbClr val="005EB8"/>
                </a:solidFill>
              </a:endParaRPr>
            </a:p>
            <a:p>
              <a:pPr marL="0" indent="0" algn="ctr" defTabSz="914400">
                <a:spcBef>
                  <a:spcPts val="2200"/>
                </a:spcBef>
                <a:buNone/>
              </a:pPr>
              <a:r>
                <a:rPr lang="en-US" altLang="es-ES_tradnl" sz="1600" b="1" dirty="0" err="1">
                  <a:solidFill>
                    <a:srgbClr val="00B0F0"/>
                  </a:solidFill>
                  <a:cs typeface="Calibri" panose="020F0502020204030204" pitchFamily="34" charset="0"/>
                </a:rPr>
                <a:t>Entendiendo</a:t>
              </a:r>
              <a:r>
                <a:rPr lang="en-US" altLang="es-ES_tradnl" sz="1600" b="1" dirty="0">
                  <a:solidFill>
                    <a:srgbClr val="00B0F0"/>
                  </a:solidFill>
                  <a:cs typeface="Calibri" panose="020F0502020204030204" pitchFamily="34" charset="0"/>
                </a:rPr>
                <a:t> </a:t>
              </a:r>
              <a:r>
                <a:rPr lang="en-US" altLang="es-ES_tradnl" sz="1600" b="1" dirty="0" err="1">
                  <a:solidFill>
                    <a:srgbClr val="00B0F0"/>
                  </a:solidFill>
                  <a:cs typeface="Calibri" panose="020F0502020204030204" pitchFamily="34" charset="0"/>
                </a:rPr>
                <a:t>quién</a:t>
              </a:r>
              <a:r>
                <a:rPr lang="en-US" altLang="es-ES_tradnl" sz="1600" b="1" dirty="0">
                  <a:solidFill>
                    <a:srgbClr val="00B0F0"/>
                  </a:solidFill>
                  <a:cs typeface="Calibri" panose="020F0502020204030204" pitchFamily="34" charset="0"/>
                </a:rPr>
                <a:t> </a:t>
              </a:r>
              <a:r>
                <a:rPr lang="en-US" altLang="es-ES_tradnl" sz="1600" b="1" dirty="0" err="1">
                  <a:solidFill>
                    <a:srgbClr val="00B0F0"/>
                  </a:solidFill>
                  <a:cs typeface="Calibri" panose="020F0502020204030204" pitchFamily="34" charset="0"/>
                </a:rPr>
                <a:t>te</a:t>
              </a:r>
              <a:r>
                <a:rPr lang="en-US" altLang="es-ES_tradnl" sz="1600" b="1" dirty="0">
                  <a:solidFill>
                    <a:srgbClr val="00B0F0"/>
                  </a:solidFill>
                  <a:cs typeface="Calibri" panose="020F0502020204030204" pitchFamily="34" charset="0"/>
                </a:rPr>
                <a:t> </a:t>
              </a:r>
              <a:r>
                <a:rPr lang="en-US" altLang="es-ES_tradnl" sz="1600" b="1" dirty="0" err="1">
                  <a:solidFill>
                    <a:srgbClr val="00B0F0"/>
                  </a:solidFill>
                  <a:cs typeface="Calibri" panose="020F0502020204030204" pitchFamily="34" charset="0"/>
                </a:rPr>
                <a:t>visitaría</a:t>
              </a:r>
              <a:endParaRPr lang="es-CL" altLang="es-ES_tradnl" b="1" dirty="0">
                <a:solidFill>
                  <a:srgbClr val="00B0F0"/>
                </a:solidFill>
                <a:cs typeface="Calibri" panose="020F0502020204030204" pitchFamily="34" charset="0"/>
              </a:endParaRPr>
            </a:p>
            <a:p>
              <a:pPr marL="0" indent="0" algn="ctr" defTabSz="914400">
                <a:spcBef>
                  <a:spcPts val="2200"/>
                </a:spcBef>
                <a:buNone/>
              </a:pPr>
              <a:endParaRPr lang="en-US" altLang="es-ES_tradnl" b="1" dirty="0">
                <a:solidFill>
                  <a:srgbClr val="005EB8"/>
                </a:solidFill>
              </a:endParaRPr>
            </a:p>
          </p:txBody>
        </p:sp>
        <p:grpSp>
          <p:nvGrpSpPr>
            <p:cNvPr id="41" name="Group 72">
              <a:extLst>
                <a:ext uri="{FF2B5EF4-FFF2-40B4-BE49-F238E27FC236}">
                  <a16:creationId xmlns:a16="http://schemas.microsoft.com/office/drawing/2014/main" id="{EB743EFF-3AFB-D749-BC11-557A8212FAC7}"/>
                </a:ext>
              </a:extLst>
            </p:cNvPr>
            <p:cNvGrpSpPr/>
            <p:nvPr/>
          </p:nvGrpSpPr>
          <p:grpSpPr>
            <a:xfrm>
              <a:off x="4113390" y="3914639"/>
              <a:ext cx="1187124" cy="1212373"/>
              <a:chOff x="5256257" y="334963"/>
              <a:chExt cx="1373373" cy="1402584"/>
            </a:xfrm>
          </p:grpSpPr>
          <p:sp>
            <p:nvSpPr>
              <p:cNvPr id="45" name="Arc 73">
                <a:extLst>
                  <a:ext uri="{FF2B5EF4-FFF2-40B4-BE49-F238E27FC236}">
                    <a16:creationId xmlns:a16="http://schemas.microsoft.com/office/drawing/2014/main" id="{968BF3AE-DAED-494F-A26E-0A6A87BDE846}"/>
                  </a:ext>
                </a:extLst>
              </p:cNvPr>
              <p:cNvSpPr/>
              <p:nvPr/>
            </p:nvSpPr>
            <p:spPr>
              <a:xfrm>
                <a:off x="5313740" y="334963"/>
                <a:ext cx="1315890" cy="1315891"/>
              </a:xfrm>
              <a:prstGeom prst="arc">
                <a:avLst>
                  <a:gd name="adj1" fmla="val 15723349"/>
                  <a:gd name="adj2" fmla="val 437989"/>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Arc 74">
                <a:extLst>
                  <a:ext uri="{FF2B5EF4-FFF2-40B4-BE49-F238E27FC236}">
                    <a16:creationId xmlns:a16="http://schemas.microsoft.com/office/drawing/2014/main" id="{AEE0BA68-108A-7F49-95F7-32BBF6297AC2}"/>
                  </a:ext>
                </a:extLst>
              </p:cNvPr>
              <p:cNvSpPr/>
              <p:nvPr/>
            </p:nvSpPr>
            <p:spPr>
              <a:xfrm rot="9900000">
                <a:off x="5256257" y="421656"/>
                <a:ext cx="1315890" cy="1315891"/>
              </a:xfrm>
              <a:prstGeom prst="arc">
                <a:avLst>
                  <a:gd name="adj1" fmla="val 16834929"/>
                  <a:gd name="adj2" fmla="val 961207"/>
                </a:avLst>
              </a:prstGeom>
              <a:ln w="28575" cap="rnd">
                <a:solidFill>
                  <a:srgbClr val="00A9E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55" name="Footer Placeholder 1">
            <a:extLst>
              <a:ext uri="{FF2B5EF4-FFF2-40B4-BE49-F238E27FC236}">
                <a16:creationId xmlns:a16="http://schemas.microsoft.com/office/drawing/2014/main" id="{8D35F20D-B3D4-864B-BF6D-6D905D641BB1}"/>
              </a:ext>
            </a:extLst>
          </p:cNvPr>
          <p:cNvSpPr txBox="1">
            <a:spLocks/>
          </p:cNvSpPr>
          <p:nvPr/>
        </p:nvSpPr>
        <p:spPr>
          <a:xfrm rot="16200000">
            <a:off x="10403682" y="4652168"/>
            <a:ext cx="3086100" cy="227013"/>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solidFill>
                <a:latin typeface="Calibri" charset="0"/>
                <a:ea typeface="ＭＳ Ｐゴシック" charset="-128"/>
                <a:cs typeface="+mn-cs"/>
              </a:defRPr>
            </a:lvl1pPr>
            <a:lvl2pPr marL="742950" indent="-285750" algn="l" defTabSz="457200" rtl="0" eaLnBrk="1" latinLnBrk="0" hangingPunct="1">
              <a:defRPr sz="1800" kern="1200">
                <a:solidFill>
                  <a:schemeClr val="tx1"/>
                </a:solidFill>
                <a:latin typeface="Calibri" charset="0"/>
                <a:ea typeface="ＭＳ Ｐゴシック" charset="-128"/>
                <a:cs typeface="+mn-cs"/>
              </a:defRPr>
            </a:lvl2pPr>
            <a:lvl3pPr marL="1143000" indent="-228600" algn="l" defTabSz="457200" rtl="0" eaLnBrk="1" latinLnBrk="0" hangingPunct="1">
              <a:defRPr sz="1800" kern="1200">
                <a:solidFill>
                  <a:schemeClr val="tx1"/>
                </a:solidFill>
                <a:latin typeface="Calibri" charset="0"/>
                <a:ea typeface="ＭＳ Ｐゴシック" charset="-128"/>
                <a:cs typeface="+mn-cs"/>
              </a:defRPr>
            </a:lvl3pPr>
            <a:lvl4pPr marL="1600200" indent="-228600" algn="l" defTabSz="457200" rtl="0" eaLnBrk="1" latinLnBrk="0" hangingPunct="1">
              <a:defRPr sz="1800" kern="1200">
                <a:solidFill>
                  <a:schemeClr val="tx1"/>
                </a:solidFill>
                <a:latin typeface="Calibri" charset="0"/>
                <a:ea typeface="ＭＳ Ｐゴシック" charset="-128"/>
                <a:cs typeface="+mn-cs"/>
              </a:defRPr>
            </a:lvl4pPr>
            <a:lvl5pPr marL="2057400" indent="-228600" algn="l" defTabSz="457200" rtl="0" eaLnBrk="1" latinLnBrk="0" hangingPunct="1">
              <a:defRPr sz="1800" kern="1200">
                <a:solidFill>
                  <a:schemeClr val="tx1"/>
                </a:solidFill>
                <a:latin typeface="Calibri" charset="0"/>
                <a:ea typeface="ＭＳ Ｐゴシック" charset="-128"/>
                <a:cs typeface="+mn-cs"/>
              </a:defRPr>
            </a:lvl5pPr>
            <a:lvl6pPr marL="25146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6pPr>
            <a:lvl7pPr marL="29718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7pPr>
            <a:lvl8pPr marL="34290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8pPr>
            <a:lvl9pPr marL="38862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9pPr>
          </a:lstStyle>
          <a:p>
            <a:r>
              <a:rPr lang="en-US" altLang="es-ES_tradnl" dirty="0">
                <a:solidFill>
                  <a:schemeClr val="bg1"/>
                </a:solidFill>
                <a:latin typeface="Calibri Light" charset="0"/>
              </a:rPr>
              <a:t>© Amadeus IT Group and its affiliates and subsidiaries</a:t>
            </a:r>
            <a:endParaRPr lang="en-GB" altLang="es-ES_tradnl" dirty="0">
              <a:solidFill>
                <a:schemeClr val="bg1"/>
              </a:solidFill>
              <a:latin typeface="Calibri Light" charset="0"/>
            </a:endParaRPr>
          </a:p>
        </p:txBody>
      </p:sp>
      <p:pic>
        <p:nvPicPr>
          <p:cNvPr id="19492" name="Picture 19491">
            <a:extLst>
              <a:ext uri="{FF2B5EF4-FFF2-40B4-BE49-F238E27FC236}">
                <a16:creationId xmlns:a16="http://schemas.microsoft.com/office/drawing/2014/main" id="{6885A7F3-1FB3-BDF4-B650-D1D818E3DC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37087" y="3748999"/>
            <a:ext cx="817438" cy="817438"/>
          </a:xfrm>
          <a:prstGeom prst="rect">
            <a:avLst/>
          </a:prstGeom>
        </p:spPr>
      </p:pic>
      <p:pic>
        <p:nvPicPr>
          <p:cNvPr id="19493" name="Picture 19492">
            <a:extLst>
              <a:ext uri="{FF2B5EF4-FFF2-40B4-BE49-F238E27FC236}">
                <a16:creationId xmlns:a16="http://schemas.microsoft.com/office/drawing/2014/main" id="{3FD462E5-6D55-BA96-5F4E-3ACD83101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64642" y="3639839"/>
            <a:ext cx="865629" cy="865629"/>
          </a:xfrm>
          <a:prstGeom prst="rect">
            <a:avLst/>
          </a:prstGeom>
        </p:spPr>
      </p:pic>
    </p:spTree>
    <p:extLst>
      <p:ext uri="{BB962C8B-B14F-4D97-AF65-F5344CB8AC3E}">
        <p14:creationId xmlns:p14="http://schemas.microsoft.com/office/powerpoint/2010/main" val="19808360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n 39">
            <a:extLst>
              <a:ext uri="{FF2B5EF4-FFF2-40B4-BE49-F238E27FC236}">
                <a16:creationId xmlns:a16="http://schemas.microsoft.com/office/drawing/2014/main" id="{1E49C500-2A36-0D46-B839-99CF04DB6D23}"/>
              </a:ext>
            </a:extLst>
          </p:cNvPr>
          <p:cNvPicPr>
            <a:picLocks noChangeAspect="1"/>
          </p:cNvPicPr>
          <p:nvPr/>
        </p:nvPicPr>
        <p:blipFill>
          <a:blip r:embed="rId3"/>
          <a:stretch>
            <a:fillRect/>
          </a:stretch>
        </p:blipFill>
        <p:spPr>
          <a:xfrm>
            <a:off x="403544" y="1143285"/>
            <a:ext cx="11265941" cy="1989949"/>
          </a:xfrm>
          <a:prstGeom prst="rect">
            <a:avLst/>
          </a:prstGeom>
        </p:spPr>
      </p:pic>
      <p:sp>
        <p:nvSpPr>
          <p:cNvPr id="19472" name="Title 6"/>
          <p:cNvSpPr txBox="1">
            <a:spLocks/>
          </p:cNvSpPr>
          <p:nvPr/>
        </p:nvSpPr>
        <p:spPr bwMode="auto">
          <a:xfrm>
            <a:off x="1338943" y="425427"/>
            <a:ext cx="10199912" cy="53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fontAlgn="base">
              <a:spcBef>
                <a:spcPct val="0"/>
              </a:spcBef>
              <a:spcAft>
                <a:spcPct val="0"/>
              </a:spcAft>
              <a:defRPr>
                <a:solidFill>
                  <a:schemeClr val="tx1"/>
                </a:solidFill>
                <a:latin typeface="Calibri" charset="0"/>
                <a:ea typeface="ＭＳ Ｐゴシック" charset="-128"/>
              </a:defRPr>
            </a:lvl6pPr>
            <a:lvl7pPr marL="2971800" indent="-228600" fontAlgn="base">
              <a:spcBef>
                <a:spcPct val="0"/>
              </a:spcBef>
              <a:spcAft>
                <a:spcPct val="0"/>
              </a:spcAft>
              <a:defRPr>
                <a:solidFill>
                  <a:schemeClr val="tx1"/>
                </a:solidFill>
                <a:latin typeface="Calibri" charset="0"/>
                <a:ea typeface="ＭＳ Ｐゴシック" charset="-128"/>
              </a:defRPr>
            </a:lvl7pPr>
            <a:lvl8pPr marL="3429000" indent="-228600" fontAlgn="base">
              <a:spcBef>
                <a:spcPct val="0"/>
              </a:spcBef>
              <a:spcAft>
                <a:spcPct val="0"/>
              </a:spcAft>
              <a:defRPr>
                <a:solidFill>
                  <a:schemeClr val="tx1"/>
                </a:solidFill>
                <a:latin typeface="Calibri" charset="0"/>
                <a:ea typeface="ＭＳ Ｐゴシック" charset="-128"/>
              </a:defRPr>
            </a:lvl8pPr>
            <a:lvl9pPr marL="3886200" indent="-228600" fontAlgn="base">
              <a:spcBef>
                <a:spcPct val="0"/>
              </a:spcBef>
              <a:spcAft>
                <a:spcPct val="0"/>
              </a:spcAft>
              <a:defRPr>
                <a:solidFill>
                  <a:schemeClr val="tx1"/>
                </a:solidFill>
                <a:latin typeface="Calibri" charset="0"/>
                <a:ea typeface="ＭＳ Ｐゴシック" charset="-128"/>
              </a:defRPr>
            </a:lvl9pPr>
          </a:lstStyle>
          <a:p>
            <a:pPr algn="ctr" defTabSz="914400"/>
            <a:r>
              <a:rPr lang="en-US" altLang="es-ES_tradnl" sz="3200" b="1" noProof="1">
                <a:solidFill>
                  <a:srgbClr val="005EB8"/>
                </a:solidFill>
                <a:latin typeface="+mn-lt"/>
              </a:rPr>
              <a:t>¿Qué es la Inteligencia Turística según ChatGPT? </a:t>
            </a:r>
            <a:endParaRPr altLang="es-ES_tradnl" sz="3200" b="1" noProof="1">
              <a:solidFill>
                <a:srgbClr val="005EB8"/>
              </a:solidFill>
              <a:latin typeface="+mn-lt"/>
            </a:endParaRPr>
          </a:p>
        </p:txBody>
      </p:sp>
      <p:sp>
        <p:nvSpPr>
          <p:cNvPr id="4" name="Slide Number Placeholder 3"/>
          <p:cNvSpPr>
            <a:spLocks noGrp="1"/>
          </p:cNvSpPr>
          <p:nvPr>
            <p:ph type="sldNum" sz="quarter" idx="18"/>
          </p:nvPr>
        </p:nvSpPr>
        <p:spPr/>
        <p:txBody>
          <a:bodyPr/>
          <a:lstStyle/>
          <a:p>
            <a:endParaRPr lang="es-ES" altLang="es-ES_tradnl" dirty="0"/>
          </a:p>
        </p:txBody>
      </p:sp>
      <p:grpSp>
        <p:nvGrpSpPr>
          <p:cNvPr id="27" name="Group 26"/>
          <p:cNvGrpSpPr/>
          <p:nvPr/>
        </p:nvGrpSpPr>
        <p:grpSpPr>
          <a:xfrm>
            <a:off x="11370732" y="823606"/>
            <a:ext cx="576000" cy="639358"/>
            <a:chOff x="10852008" y="253855"/>
            <a:chExt cx="576000" cy="639358"/>
          </a:xfrm>
        </p:grpSpPr>
        <p:cxnSp>
          <p:nvCxnSpPr>
            <p:cNvPr id="28" name="Straight Connector 27"/>
            <p:cNvCxnSpPr/>
            <p:nvPr/>
          </p:nvCxnSpPr>
          <p:spPr>
            <a:xfrm>
              <a:off x="11131913" y="253855"/>
              <a:ext cx="0" cy="639358"/>
            </a:xfrm>
            <a:prstGeom prst="line">
              <a:avLst/>
            </a:prstGeom>
            <a:noFill/>
            <a:ln w="28575">
              <a:solidFill>
                <a:schemeClr val="accent2"/>
              </a:solidFill>
              <a:prstDash val="solid"/>
            </a:ln>
          </p:spPr>
        </p:cxnSp>
        <p:cxnSp>
          <p:nvCxnSpPr>
            <p:cNvPr id="29" name="Straight Connector 28"/>
            <p:cNvCxnSpPr/>
            <p:nvPr/>
          </p:nvCxnSpPr>
          <p:spPr>
            <a:xfrm rot="16200000">
              <a:off x="11140008" y="285532"/>
              <a:ext cx="0" cy="576000"/>
            </a:xfrm>
            <a:prstGeom prst="line">
              <a:avLst/>
            </a:prstGeom>
            <a:noFill/>
            <a:ln w="28575">
              <a:solidFill>
                <a:schemeClr val="accent2"/>
              </a:solidFill>
              <a:prstDash val="solid"/>
            </a:ln>
          </p:spPr>
        </p:cxnSp>
      </p:grpSp>
      <p:sp>
        <p:nvSpPr>
          <p:cNvPr id="42" name="Text Placeholder 27">
            <a:extLst>
              <a:ext uri="{FF2B5EF4-FFF2-40B4-BE49-F238E27FC236}">
                <a16:creationId xmlns:a16="http://schemas.microsoft.com/office/drawing/2014/main" id="{A7D16F14-0FCF-764C-878E-291F06C09DA4}"/>
              </a:ext>
            </a:extLst>
          </p:cNvPr>
          <p:cNvSpPr txBox="1">
            <a:spLocks/>
          </p:cNvSpPr>
          <p:nvPr/>
        </p:nvSpPr>
        <p:spPr>
          <a:xfrm>
            <a:off x="643348" y="1250814"/>
            <a:ext cx="10895507" cy="1989949"/>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00">
              <a:lnSpc>
                <a:spcPct val="100000"/>
              </a:lnSpc>
              <a:spcBef>
                <a:spcPts val="2200"/>
              </a:spcBef>
              <a:buNone/>
            </a:pPr>
            <a:endParaRPr lang="en-US" altLang="es-ES_tradnl" sz="1800" dirty="0">
              <a:solidFill>
                <a:srgbClr val="005EB8"/>
              </a:solidFill>
            </a:endParaRPr>
          </a:p>
        </p:txBody>
      </p:sp>
      <p:sp>
        <p:nvSpPr>
          <p:cNvPr id="32" name="Text Placeholder 27">
            <a:extLst>
              <a:ext uri="{FF2B5EF4-FFF2-40B4-BE49-F238E27FC236}">
                <a16:creationId xmlns:a16="http://schemas.microsoft.com/office/drawing/2014/main" id="{3F9A418A-C08C-674F-B4D1-4337D032DA20}"/>
              </a:ext>
            </a:extLst>
          </p:cNvPr>
          <p:cNvSpPr txBox="1">
            <a:spLocks/>
          </p:cNvSpPr>
          <p:nvPr/>
        </p:nvSpPr>
        <p:spPr>
          <a:xfrm>
            <a:off x="1088571" y="4273588"/>
            <a:ext cx="9722529" cy="984171"/>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400">
              <a:spcBef>
                <a:spcPts val="2200"/>
              </a:spcBef>
              <a:buNone/>
            </a:pPr>
            <a:r>
              <a:rPr lang="es-CL" altLang="es-ES_tradnl" sz="2800" i="1" dirty="0">
                <a:solidFill>
                  <a:srgbClr val="005EB8"/>
                </a:solidFill>
              </a:rPr>
              <a:t>“La Inteligencia Turística es el GPS estratégico de la industria del turismo, guiando a empresas y destinos hacia un futuro más rentable y responsable.”</a:t>
            </a:r>
            <a:endParaRPr lang="en-US" altLang="es-ES_tradnl" sz="2800" i="1" dirty="0">
              <a:solidFill>
                <a:srgbClr val="2C201B"/>
              </a:solidFill>
              <a:cs typeface="Calibri" panose="020F0502020204030204" pitchFamily="34" charset="0"/>
            </a:endParaRPr>
          </a:p>
        </p:txBody>
      </p:sp>
      <p:sp>
        <p:nvSpPr>
          <p:cNvPr id="55" name="Footer Placeholder 1">
            <a:extLst>
              <a:ext uri="{FF2B5EF4-FFF2-40B4-BE49-F238E27FC236}">
                <a16:creationId xmlns:a16="http://schemas.microsoft.com/office/drawing/2014/main" id="{8D35F20D-B3D4-864B-BF6D-6D905D641BB1}"/>
              </a:ext>
            </a:extLst>
          </p:cNvPr>
          <p:cNvSpPr txBox="1">
            <a:spLocks/>
          </p:cNvSpPr>
          <p:nvPr/>
        </p:nvSpPr>
        <p:spPr>
          <a:xfrm rot="16200000">
            <a:off x="10403682" y="4652168"/>
            <a:ext cx="3086100" cy="227013"/>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solidFill>
                <a:latin typeface="Calibri" charset="0"/>
                <a:ea typeface="ＭＳ Ｐゴシック" charset="-128"/>
                <a:cs typeface="+mn-cs"/>
              </a:defRPr>
            </a:lvl1pPr>
            <a:lvl2pPr marL="742950" indent="-285750" algn="l" defTabSz="457200" rtl="0" eaLnBrk="1" latinLnBrk="0" hangingPunct="1">
              <a:defRPr sz="1800" kern="1200">
                <a:solidFill>
                  <a:schemeClr val="tx1"/>
                </a:solidFill>
                <a:latin typeface="Calibri" charset="0"/>
                <a:ea typeface="ＭＳ Ｐゴシック" charset="-128"/>
                <a:cs typeface="+mn-cs"/>
              </a:defRPr>
            </a:lvl2pPr>
            <a:lvl3pPr marL="1143000" indent="-228600" algn="l" defTabSz="457200" rtl="0" eaLnBrk="1" latinLnBrk="0" hangingPunct="1">
              <a:defRPr sz="1800" kern="1200">
                <a:solidFill>
                  <a:schemeClr val="tx1"/>
                </a:solidFill>
                <a:latin typeface="Calibri" charset="0"/>
                <a:ea typeface="ＭＳ Ｐゴシック" charset="-128"/>
                <a:cs typeface="+mn-cs"/>
              </a:defRPr>
            </a:lvl3pPr>
            <a:lvl4pPr marL="1600200" indent="-228600" algn="l" defTabSz="457200" rtl="0" eaLnBrk="1" latinLnBrk="0" hangingPunct="1">
              <a:defRPr sz="1800" kern="1200">
                <a:solidFill>
                  <a:schemeClr val="tx1"/>
                </a:solidFill>
                <a:latin typeface="Calibri" charset="0"/>
                <a:ea typeface="ＭＳ Ｐゴシック" charset="-128"/>
                <a:cs typeface="+mn-cs"/>
              </a:defRPr>
            </a:lvl4pPr>
            <a:lvl5pPr marL="2057400" indent="-228600" algn="l" defTabSz="457200" rtl="0" eaLnBrk="1" latinLnBrk="0" hangingPunct="1">
              <a:defRPr sz="1800" kern="1200">
                <a:solidFill>
                  <a:schemeClr val="tx1"/>
                </a:solidFill>
                <a:latin typeface="Calibri" charset="0"/>
                <a:ea typeface="ＭＳ Ｐゴシック" charset="-128"/>
                <a:cs typeface="+mn-cs"/>
              </a:defRPr>
            </a:lvl5pPr>
            <a:lvl6pPr marL="25146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6pPr>
            <a:lvl7pPr marL="29718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7pPr>
            <a:lvl8pPr marL="34290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8pPr>
            <a:lvl9pPr marL="38862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9pPr>
          </a:lstStyle>
          <a:p>
            <a:r>
              <a:rPr lang="en-US" altLang="es-ES_tradnl" dirty="0">
                <a:solidFill>
                  <a:schemeClr val="bg1"/>
                </a:solidFill>
                <a:latin typeface="Calibri Light" charset="0"/>
              </a:rPr>
              <a:t>© Amadeus IT Group and its affiliates and subsidiaries</a:t>
            </a:r>
            <a:endParaRPr lang="en-GB" altLang="es-ES_tradnl" dirty="0">
              <a:solidFill>
                <a:schemeClr val="bg1"/>
              </a:solidFill>
              <a:latin typeface="Calibri Light" charset="0"/>
            </a:endParaRPr>
          </a:p>
        </p:txBody>
      </p:sp>
      <p:sp>
        <p:nvSpPr>
          <p:cNvPr id="2" name="Text Placeholder 27">
            <a:extLst>
              <a:ext uri="{FF2B5EF4-FFF2-40B4-BE49-F238E27FC236}">
                <a16:creationId xmlns:a16="http://schemas.microsoft.com/office/drawing/2014/main" id="{CCF18E5B-6253-20CA-1E2D-E92FC37C883A}"/>
              </a:ext>
            </a:extLst>
          </p:cNvPr>
          <p:cNvSpPr txBox="1">
            <a:spLocks/>
          </p:cNvSpPr>
          <p:nvPr/>
        </p:nvSpPr>
        <p:spPr>
          <a:xfrm>
            <a:off x="653145" y="1328509"/>
            <a:ext cx="10895507" cy="1608496"/>
          </a:xfrm>
          <a:prstGeom prst="rect">
            <a:avLst/>
          </a:prstGeom>
        </p:spPr>
        <p:txBody>
          <a:bodyPr/>
          <a:lstStyle>
            <a:lvl1pPr marL="228600" indent="-228600" algn="l" rtl="0" fontAlgn="base">
              <a:lnSpc>
                <a:spcPct val="90000"/>
              </a:lnSpc>
              <a:spcBef>
                <a:spcPts val="1000"/>
              </a:spcBef>
              <a:spcAft>
                <a:spcPct val="0"/>
              </a:spcAft>
              <a:buClr>
                <a:schemeClr val="accent2"/>
              </a:buClr>
              <a:buSzPct val="80000"/>
              <a:buFont typeface="Calibri" charset="0"/>
              <a:buChar char="_"/>
              <a:defRPr sz="1600" kern="1200">
                <a:solidFill>
                  <a:srgbClr val="7F7F7F"/>
                </a:solidFill>
                <a:latin typeface="+mj-lt"/>
                <a:ea typeface="ＭＳ Ｐゴシック" charset="-128"/>
                <a:cs typeface="+mn-cs"/>
              </a:defRPr>
            </a:lvl1pPr>
            <a:lvl2pPr marL="685800" indent="-228600" algn="l" rtl="0" fontAlgn="base">
              <a:lnSpc>
                <a:spcPct val="90000"/>
              </a:lnSpc>
              <a:spcBef>
                <a:spcPts val="500"/>
              </a:spcBef>
              <a:spcAft>
                <a:spcPct val="0"/>
              </a:spcAft>
              <a:buClr>
                <a:schemeClr val="accent2"/>
              </a:buClr>
              <a:buFont typeface="Arial" charset="0"/>
              <a:buChar char="•"/>
              <a:defRPr sz="1400" kern="1200">
                <a:solidFill>
                  <a:srgbClr val="7F7F7F"/>
                </a:solidFill>
                <a:latin typeface="+mj-lt"/>
                <a:ea typeface="ＭＳ Ｐゴシック" charset="-128"/>
                <a:cs typeface="+mn-cs"/>
              </a:defRPr>
            </a:lvl2pPr>
            <a:lvl3pPr marL="1143000" indent="-228600" algn="l" rtl="0" fontAlgn="base">
              <a:lnSpc>
                <a:spcPct val="90000"/>
              </a:lnSpc>
              <a:spcBef>
                <a:spcPts val="500"/>
              </a:spcBef>
              <a:spcAft>
                <a:spcPct val="0"/>
              </a:spcAft>
              <a:buClr>
                <a:schemeClr val="accent2"/>
              </a:buClr>
              <a:buFont typeface="Arial" charset="0"/>
              <a:buChar char="•"/>
              <a:defRPr sz="1200" kern="1200">
                <a:solidFill>
                  <a:srgbClr val="7F7F7F"/>
                </a:solidFill>
                <a:latin typeface="+mj-lt"/>
                <a:ea typeface="ＭＳ Ｐゴシック" charset="-128"/>
                <a:cs typeface="+mn-cs"/>
              </a:defRPr>
            </a:lvl3pPr>
            <a:lvl4pPr marL="16002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4pPr>
            <a:lvl5pPr marL="2057400" indent="-228600" algn="l" rtl="0" fontAlgn="base">
              <a:lnSpc>
                <a:spcPct val="90000"/>
              </a:lnSpc>
              <a:spcBef>
                <a:spcPts val="500"/>
              </a:spcBef>
              <a:spcAft>
                <a:spcPct val="0"/>
              </a:spcAft>
              <a:buClr>
                <a:schemeClr val="accent2"/>
              </a:buClr>
              <a:buFont typeface="Arial" charset="0"/>
              <a:buChar char="•"/>
              <a:defRPr sz="1100" kern="1200">
                <a:solidFill>
                  <a:srgbClr val="7F7F7F"/>
                </a:solidFill>
                <a:latin typeface="+mj-lt"/>
                <a:ea typeface="ＭＳ Ｐゴシック"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400">
              <a:lnSpc>
                <a:spcPct val="100000"/>
              </a:lnSpc>
              <a:spcBef>
                <a:spcPts val="2200"/>
              </a:spcBef>
              <a:buNone/>
            </a:pPr>
            <a:r>
              <a:rPr lang="es-CL" altLang="es-ES_tradnl" sz="1800" dirty="0">
                <a:solidFill>
                  <a:srgbClr val="005EB8"/>
                </a:solidFill>
              </a:rPr>
              <a:t>La "Inteligencia Turística" en la industria del turismo se refiere al uso de datos, análisis, tecnologías de la información y habilidades analíticas para tomar decisiones más informadas y estratégicas en la planificación, gestión y marketing del turismo. La inteligencia turística abarca una variedad de métodos y herramientas para recopilar, analizar e interpretar datos sobre viajeros, destinos, tendencias de mercado, comportamientos de consumo y otros factores que afectan la industria del turismo.</a:t>
            </a:r>
            <a:endParaRPr lang="en-US" altLang="es-ES_tradnl" sz="1800" dirty="0">
              <a:solidFill>
                <a:srgbClr val="005EB8"/>
              </a:solidFill>
            </a:endParaRPr>
          </a:p>
        </p:txBody>
      </p:sp>
    </p:spTree>
    <p:extLst>
      <p:ext uri="{BB962C8B-B14F-4D97-AF65-F5344CB8AC3E}">
        <p14:creationId xmlns:p14="http://schemas.microsoft.com/office/powerpoint/2010/main" val="30487324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rowd of people at a beach&#10;&#10;Description automatically generated">
            <a:extLst>
              <a:ext uri="{FF2B5EF4-FFF2-40B4-BE49-F238E27FC236}">
                <a16:creationId xmlns:a16="http://schemas.microsoft.com/office/drawing/2014/main" id="{E4764FD8-7786-C541-B94F-32581963E517}"/>
              </a:ext>
            </a:extLst>
          </p:cNvPr>
          <p:cNvPicPr>
            <a:picLocks noChangeAspect="1"/>
          </p:cNvPicPr>
          <p:nvPr/>
        </p:nvPicPr>
        <p:blipFill rotWithShape="1">
          <a:blip r:embed="rId3"/>
          <a:srcRect l="56496" t="10713" r="4981" b="16551"/>
          <a:stretch/>
        </p:blipFill>
        <p:spPr>
          <a:xfrm>
            <a:off x="6095999" y="0"/>
            <a:ext cx="6096000" cy="6858000"/>
          </a:xfrm>
          <a:prstGeom prst="rect">
            <a:avLst/>
          </a:prstGeom>
        </p:spPr>
      </p:pic>
      <p:pic>
        <p:nvPicPr>
          <p:cNvPr id="3" name="Picture 2" descr="A person flying through the air on a snow covered mountain&#10;&#10;Description automatically generated">
            <a:extLst>
              <a:ext uri="{FF2B5EF4-FFF2-40B4-BE49-F238E27FC236}">
                <a16:creationId xmlns:a16="http://schemas.microsoft.com/office/drawing/2014/main" id="{8C7A8D97-2888-8345-87DE-8C50EA98F9D7}"/>
              </a:ext>
            </a:extLst>
          </p:cNvPr>
          <p:cNvPicPr>
            <a:picLocks noChangeAspect="1"/>
          </p:cNvPicPr>
          <p:nvPr/>
        </p:nvPicPr>
        <p:blipFill rotWithShape="1">
          <a:blip r:embed="rId4"/>
          <a:srcRect r="12752"/>
          <a:stretch/>
        </p:blipFill>
        <p:spPr>
          <a:xfrm>
            <a:off x="0" y="0"/>
            <a:ext cx="6095999" cy="6858000"/>
          </a:xfrm>
          <a:prstGeom prst="rect">
            <a:avLst/>
          </a:prstGeom>
        </p:spPr>
      </p:pic>
      <p:sp>
        <p:nvSpPr>
          <p:cNvPr id="2" name="Freeform 5">
            <a:extLst>
              <a:ext uri="{FF2B5EF4-FFF2-40B4-BE49-F238E27FC236}">
                <a16:creationId xmlns:a16="http://schemas.microsoft.com/office/drawing/2014/main" id="{256256DF-91F4-6DED-B719-5B3B59969EAB}"/>
              </a:ext>
            </a:extLst>
          </p:cNvPr>
          <p:cNvSpPr>
            <a:spLocks noEditPoints="1"/>
          </p:cNvSpPr>
          <p:nvPr/>
        </p:nvSpPr>
        <p:spPr bwMode="auto">
          <a:xfrm>
            <a:off x="10678890" y="325510"/>
            <a:ext cx="1202853" cy="167063"/>
          </a:xfrm>
          <a:custGeom>
            <a:avLst/>
            <a:gdLst>
              <a:gd name="T0" fmla="*/ 502934 w 363"/>
              <a:gd name="T1" fmla="*/ 102870 h 48"/>
              <a:gd name="T2" fmla="*/ 535646 w 363"/>
              <a:gd name="T3" fmla="*/ 83582 h 48"/>
              <a:gd name="T4" fmla="*/ 486579 w 363"/>
              <a:gd name="T5" fmla="*/ 83582 h 48"/>
              <a:gd name="T6" fmla="*/ 529512 w 363"/>
              <a:gd name="T7" fmla="*/ 57864 h 48"/>
              <a:gd name="T8" fmla="*/ 486579 w 363"/>
              <a:gd name="T9" fmla="*/ 40719 h 48"/>
              <a:gd name="T10" fmla="*/ 507023 w 363"/>
              <a:gd name="T11" fmla="*/ 17145 h 48"/>
              <a:gd name="T12" fmla="*/ 533601 w 363"/>
              <a:gd name="T13" fmla="*/ 2143 h 48"/>
              <a:gd name="T14" fmla="*/ 466134 w 363"/>
              <a:gd name="T15" fmla="*/ 4286 h 48"/>
              <a:gd name="T16" fmla="*/ 165600 w 363"/>
              <a:gd name="T17" fmla="*/ 57864 h 48"/>
              <a:gd name="T18" fmla="*/ 161511 w 363"/>
              <a:gd name="T19" fmla="*/ 57864 h 48"/>
              <a:gd name="T20" fmla="*/ 126756 w 363"/>
              <a:gd name="T21" fmla="*/ 0 h 48"/>
              <a:gd name="T22" fmla="*/ 106311 w 363"/>
              <a:gd name="T23" fmla="*/ 100727 h 48"/>
              <a:gd name="T24" fmla="*/ 132889 w 363"/>
              <a:gd name="T25" fmla="*/ 32147 h 48"/>
              <a:gd name="T26" fmla="*/ 163556 w 363"/>
              <a:gd name="T27" fmla="*/ 90011 h 48"/>
              <a:gd name="T28" fmla="*/ 194223 w 363"/>
              <a:gd name="T29" fmla="*/ 32147 h 48"/>
              <a:gd name="T30" fmla="*/ 220800 w 363"/>
              <a:gd name="T31" fmla="*/ 100727 h 48"/>
              <a:gd name="T32" fmla="*/ 200356 w 363"/>
              <a:gd name="T33" fmla="*/ 0 h 48"/>
              <a:gd name="T34" fmla="*/ 165600 w 363"/>
              <a:gd name="T35" fmla="*/ 57864 h 48"/>
              <a:gd name="T36" fmla="*/ 34756 w 363"/>
              <a:gd name="T37" fmla="*/ 85725 h 48"/>
              <a:gd name="T38" fmla="*/ 36800 w 363"/>
              <a:gd name="T39" fmla="*/ 57864 h 48"/>
              <a:gd name="T40" fmla="*/ 59289 w 363"/>
              <a:gd name="T41" fmla="*/ 79296 h 48"/>
              <a:gd name="T42" fmla="*/ 6133 w 363"/>
              <a:gd name="T43" fmla="*/ 6429 h 48"/>
              <a:gd name="T44" fmla="*/ 40889 w 363"/>
              <a:gd name="T45" fmla="*/ 19288 h 48"/>
              <a:gd name="T46" fmla="*/ 59289 w 363"/>
              <a:gd name="T47" fmla="*/ 40719 h 48"/>
              <a:gd name="T48" fmla="*/ 0 w 363"/>
              <a:gd name="T49" fmla="*/ 72866 h 48"/>
              <a:gd name="T50" fmla="*/ 59289 w 363"/>
              <a:gd name="T51" fmla="*/ 94298 h 48"/>
              <a:gd name="T52" fmla="*/ 79734 w 363"/>
              <a:gd name="T53" fmla="*/ 27861 h 48"/>
              <a:gd name="T54" fmla="*/ 300534 w 363"/>
              <a:gd name="T55" fmla="*/ 79296 h 48"/>
              <a:gd name="T56" fmla="*/ 261689 w 363"/>
              <a:gd name="T57" fmla="*/ 72866 h 48"/>
              <a:gd name="T58" fmla="*/ 300534 w 363"/>
              <a:gd name="T59" fmla="*/ 55721 h 48"/>
              <a:gd name="T60" fmla="*/ 288267 w 363"/>
              <a:gd name="T61" fmla="*/ 0 h 48"/>
              <a:gd name="T62" fmla="*/ 253512 w 363"/>
              <a:gd name="T63" fmla="*/ 23574 h 48"/>
              <a:gd name="T64" fmla="*/ 300534 w 363"/>
              <a:gd name="T65" fmla="*/ 34290 h 48"/>
              <a:gd name="T66" fmla="*/ 282134 w 363"/>
              <a:gd name="T67" fmla="*/ 40719 h 48"/>
              <a:gd name="T68" fmla="*/ 271912 w 363"/>
              <a:gd name="T69" fmla="*/ 102870 h 48"/>
              <a:gd name="T70" fmla="*/ 323023 w 363"/>
              <a:gd name="T71" fmla="*/ 98584 h 48"/>
              <a:gd name="T72" fmla="*/ 288267 w 363"/>
              <a:gd name="T73" fmla="*/ 0 h 48"/>
              <a:gd name="T74" fmla="*/ 599024 w 363"/>
              <a:gd name="T75" fmla="*/ 83582 h 48"/>
              <a:gd name="T76" fmla="*/ 580624 w 363"/>
              <a:gd name="T77" fmla="*/ 0 h 48"/>
              <a:gd name="T78" fmla="*/ 560179 w 363"/>
              <a:gd name="T79" fmla="*/ 2143 h 48"/>
              <a:gd name="T80" fmla="*/ 592890 w 363"/>
              <a:gd name="T81" fmla="*/ 102870 h 48"/>
              <a:gd name="T82" fmla="*/ 646046 w 363"/>
              <a:gd name="T83" fmla="*/ 98584 h 48"/>
              <a:gd name="T84" fmla="*/ 629690 w 363"/>
              <a:gd name="T85" fmla="*/ 0 h 48"/>
              <a:gd name="T86" fmla="*/ 623557 w 363"/>
              <a:gd name="T87" fmla="*/ 75009 h 48"/>
              <a:gd name="T88" fmla="*/ 703290 w 363"/>
              <a:gd name="T89" fmla="*/ 102870 h 48"/>
              <a:gd name="T90" fmla="*/ 711468 w 363"/>
              <a:gd name="T91" fmla="*/ 40719 h 48"/>
              <a:gd name="T92" fmla="*/ 709424 w 363"/>
              <a:gd name="T93" fmla="*/ 17145 h 48"/>
              <a:gd name="T94" fmla="*/ 738046 w 363"/>
              <a:gd name="T95" fmla="*/ 6429 h 48"/>
              <a:gd name="T96" fmla="*/ 672624 w 363"/>
              <a:gd name="T97" fmla="*/ 27861 h 48"/>
              <a:gd name="T98" fmla="*/ 719646 w 363"/>
              <a:gd name="T99" fmla="*/ 72866 h 48"/>
              <a:gd name="T100" fmla="*/ 674668 w 363"/>
              <a:gd name="T101" fmla="*/ 81439 h 48"/>
              <a:gd name="T102" fmla="*/ 374134 w 363"/>
              <a:gd name="T103" fmla="*/ 19288 h 48"/>
              <a:gd name="T104" fmla="*/ 419112 w 363"/>
              <a:gd name="T105" fmla="*/ 49292 h 48"/>
              <a:gd name="T106" fmla="*/ 374134 w 363"/>
              <a:gd name="T107" fmla="*/ 83582 h 48"/>
              <a:gd name="T108" fmla="*/ 392534 w 363"/>
              <a:gd name="T109" fmla="*/ 0 h 48"/>
              <a:gd name="T110" fmla="*/ 353690 w 363"/>
              <a:gd name="T111" fmla="*/ 98584 h 48"/>
              <a:gd name="T112" fmla="*/ 441601 w 363"/>
              <a:gd name="T113" fmla="*/ 49292 h 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5EB8"/>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127465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A5B9BF-9169-4BA3-9AD8-B9630501B08D}"/>
              </a:ext>
            </a:extLst>
          </p:cNvPr>
          <p:cNvSpPr>
            <a:spLocks noGrp="1"/>
          </p:cNvSpPr>
          <p:nvPr>
            <p:ph type="title"/>
          </p:nvPr>
        </p:nvSpPr>
        <p:spPr>
          <a:xfrm>
            <a:off x="641701" y="244422"/>
            <a:ext cx="10908597" cy="468000"/>
          </a:xfrm>
        </p:spPr>
        <p:txBody>
          <a:bodyPr/>
          <a:lstStyle/>
          <a:p>
            <a:pPr algn="ctr"/>
            <a:r>
              <a:rPr lang="en-US" sz="3200" dirty="0" err="1">
                <a:solidFill>
                  <a:srgbClr val="005EB8"/>
                </a:solidFill>
                <a:latin typeface="+mn-lt"/>
                <a:ea typeface="ＭＳ Ｐゴシック" charset="-128"/>
                <a:cs typeface="+mn-cs"/>
              </a:rPr>
              <a:t>Desarrollando</a:t>
            </a:r>
            <a:r>
              <a:rPr lang="en-US" sz="3200" dirty="0">
                <a:solidFill>
                  <a:srgbClr val="005EB8"/>
                </a:solidFill>
                <a:latin typeface="+mn-lt"/>
                <a:ea typeface="ＭＳ Ｐゴシック" charset="-128"/>
                <a:cs typeface="+mn-cs"/>
              </a:rPr>
              <a:t> </a:t>
            </a:r>
            <a:r>
              <a:rPr lang="en-US" sz="3200" dirty="0" err="1">
                <a:solidFill>
                  <a:srgbClr val="005EB8"/>
                </a:solidFill>
                <a:latin typeface="+mn-lt"/>
                <a:ea typeface="ＭＳ Ｐゴシック" charset="-128"/>
                <a:cs typeface="+mn-cs"/>
              </a:rPr>
              <a:t>estrategias</a:t>
            </a:r>
            <a:r>
              <a:rPr lang="en-US" sz="3200" dirty="0">
                <a:solidFill>
                  <a:srgbClr val="005EB8"/>
                </a:solidFill>
                <a:latin typeface="+mn-lt"/>
                <a:ea typeface="ＭＳ Ｐゴシック" charset="-128"/>
                <a:cs typeface="+mn-cs"/>
              </a:rPr>
              <a:t> </a:t>
            </a:r>
            <a:r>
              <a:rPr lang="en-US" sz="3200" dirty="0" err="1">
                <a:solidFill>
                  <a:srgbClr val="005EB8"/>
                </a:solidFill>
                <a:latin typeface="+mn-lt"/>
                <a:ea typeface="ＭＳ Ｐゴシック" charset="-128"/>
                <a:cs typeface="+mn-cs"/>
              </a:rPr>
              <a:t>aplicando</a:t>
            </a:r>
            <a:r>
              <a:rPr lang="en-US" sz="3200" dirty="0">
                <a:solidFill>
                  <a:srgbClr val="005EB8"/>
                </a:solidFill>
                <a:latin typeface="+mn-lt"/>
                <a:ea typeface="ＭＳ Ｐゴシック" charset="-128"/>
                <a:cs typeface="+mn-cs"/>
              </a:rPr>
              <a:t> </a:t>
            </a:r>
            <a:r>
              <a:rPr lang="en-US" sz="3200" dirty="0" err="1">
                <a:solidFill>
                  <a:srgbClr val="005EB8"/>
                </a:solidFill>
                <a:latin typeface="+mn-lt"/>
                <a:ea typeface="ＭＳ Ｐゴシック" charset="-128"/>
                <a:cs typeface="+mn-cs"/>
              </a:rPr>
              <a:t>inteligencia</a:t>
            </a:r>
            <a:r>
              <a:rPr lang="en-US" sz="3200" dirty="0">
                <a:solidFill>
                  <a:srgbClr val="005EB8"/>
                </a:solidFill>
                <a:latin typeface="+mn-lt"/>
                <a:ea typeface="ＭＳ Ｐゴシック" charset="-128"/>
                <a:cs typeface="+mn-cs"/>
              </a:rPr>
              <a:t> </a:t>
            </a:r>
            <a:r>
              <a:rPr lang="en-US" sz="3200" dirty="0" err="1">
                <a:solidFill>
                  <a:srgbClr val="005EB8"/>
                </a:solidFill>
                <a:latin typeface="+mn-lt"/>
                <a:ea typeface="ＭＳ Ｐゴシック" charset="-128"/>
                <a:cs typeface="+mn-cs"/>
              </a:rPr>
              <a:t>turística</a:t>
            </a:r>
            <a:endParaRPr lang="en-US" sz="3200" dirty="0">
              <a:solidFill>
                <a:srgbClr val="005EB8"/>
              </a:solidFill>
              <a:latin typeface="+mn-lt"/>
              <a:ea typeface="ＭＳ Ｐゴシック" charset="-128"/>
              <a:cs typeface="+mn-cs"/>
            </a:endParaRPr>
          </a:p>
        </p:txBody>
      </p:sp>
      <p:cxnSp>
        <p:nvCxnSpPr>
          <p:cNvPr id="5" name="Straight Connector 4">
            <a:extLst>
              <a:ext uri="{FF2B5EF4-FFF2-40B4-BE49-F238E27FC236}">
                <a16:creationId xmlns:a16="http://schemas.microsoft.com/office/drawing/2014/main" id="{0941B132-75B1-4A23-B092-433472FD8EDC}"/>
              </a:ext>
            </a:extLst>
          </p:cNvPr>
          <p:cNvCxnSpPr>
            <a:cxnSpLocks/>
          </p:cNvCxnSpPr>
          <p:nvPr/>
        </p:nvCxnSpPr>
        <p:spPr>
          <a:xfrm>
            <a:off x="2093159" y="1485015"/>
            <a:ext cx="2937629" cy="0"/>
          </a:xfrm>
          <a:prstGeom prst="line">
            <a:avLst/>
          </a:prstGeom>
          <a:ln w="381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Down Arrow 58">
            <a:extLst>
              <a:ext uri="{FF2B5EF4-FFF2-40B4-BE49-F238E27FC236}">
                <a16:creationId xmlns:a16="http://schemas.microsoft.com/office/drawing/2014/main" id="{79F31A96-2CD1-4B1F-8374-9DC063FCA583}"/>
              </a:ext>
            </a:extLst>
          </p:cNvPr>
          <p:cNvSpPr/>
          <p:nvPr/>
        </p:nvSpPr>
        <p:spPr>
          <a:xfrm>
            <a:off x="4866285" y="2161084"/>
            <a:ext cx="359671" cy="1165119"/>
          </a:xfrm>
          <a:prstGeom prst="downArrow">
            <a:avLst/>
          </a:prstGeom>
          <a:solidFill>
            <a:srgbClr val="0F2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7" name="Down Arrow 59">
            <a:extLst>
              <a:ext uri="{FF2B5EF4-FFF2-40B4-BE49-F238E27FC236}">
                <a16:creationId xmlns:a16="http://schemas.microsoft.com/office/drawing/2014/main" id="{E7E70365-A010-4385-9F30-CEF8CAE802F6}"/>
              </a:ext>
            </a:extLst>
          </p:cNvPr>
          <p:cNvSpPr/>
          <p:nvPr/>
        </p:nvSpPr>
        <p:spPr>
          <a:xfrm flipV="1">
            <a:off x="4866285" y="1571359"/>
            <a:ext cx="359671" cy="589726"/>
          </a:xfrm>
          <a:prstGeom prst="downArrow">
            <a:avLst/>
          </a:prstGeom>
          <a:solidFill>
            <a:srgbClr val="0F2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8" name="Down Arrow 60">
            <a:extLst>
              <a:ext uri="{FF2B5EF4-FFF2-40B4-BE49-F238E27FC236}">
                <a16:creationId xmlns:a16="http://schemas.microsoft.com/office/drawing/2014/main" id="{B7779B8C-0AA5-4FA3-8876-D8761D299C7C}"/>
              </a:ext>
            </a:extLst>
          </p:cNvPr>
          <p:cNvSpPr/>
          <p:nvPr/>
        </p:nvSpPr>
        <p:spPr>
          <a:xfrm>
            <a:off x="4866285" y="4161208"/>
            <a:ext cx="359671" cy="2365722"/>
          </a:xfrm>
          <a:prstGeom prst="downArrow">
            <a:avLst/>
          </a:prstGeom>
          <a:solidFill>
            <a:srgbClr val="355F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9" name="Down Arrow 61">
            <a:extLst>
              <a:ext uri="{FF2B5EF4-FFF2-40B4-BE49-F238E27FC236}">
                <a16:creationId xmlns:a16="http://schemas.microsoft.com/office/drawing/2014/main" id="{F553D717-CA80-4F14-AF31-12BC11729F09}"/>
              </a:ext>
            </a:extLst>
          </p:cNvPr>
          <p:cNvSpPr/>
          <p:nvPr/>
        </p:nvSpPr>
        <p:spPr>
          <a:xfrm flipV="1">
            <a:off x="4866285" y="3359515"/>
            <a:ext cx="359671" cy="1388905"/>
          </a:xfrm>
          <a:prstGeom prst="downArrow">
            <a:avLst/>
          </a:prstGeom>
          <a:solidFill>
            <a:srgbClr val="355F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10" name="TextBox 9">
            <a:extLst>
              <a:ext uri="{FF2B5EF4-FFF2-40B4-BE49-F238E27FC236}">
                <a16:creationId xmlns:a16="http://schemas.microsoft.com/office/drawing/2014/main" id="{7B0C6FBE-C91D-476F-9A8A-9ACB81734565}"/>
              </a:ext>
            </a:extLst>
          </p:cNvPr>
          <p:cNvSpPr txBox="1"/>
          <p:nvPr/>
        </p:nvSpPr>
        <p:spPr>
          <a:xfrm>
            <a:off x="5584981" y="1954369"/>
            <a:ext cx="4518416" cy="1015663"/>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1F497D"/>
                </a:solidFill>
                <a:latin typeface="+mj-lt"/>
                <a:ea typeface="Open Sans" panose="020B0606030504020204" pitchFamily="34" charset="0"/>
                <a:cs typeface="Poppins" panose="00000500000000000000" pitchFamily="2" charset="0"/>
              </a:rPr>
              <a:t>COMPORTAMIENTO DE MI ORGANIZACIÓN</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1F497D"/>
                </a:solidFill>
                <a:latin typeface="+mj-lt"/>
                <a:ea typeface="Open Sans" panose="020B0606030504020204" pitchFamily="34" charset="0"/>
                <a:cs typeface="Poppins" panose="00000500000000000000" pitchFamily="2"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1F497D"/>
                </a:solidFill>
                <a:latin typeface="+mj-lt"/>
                <a:ea typeface="Open Sans" panose="020B0606030504020204" pitchFamily="34" charset="0"/>
                <a:cs typeface="Poppins" panose="00000500000000000000" pitchFamily="2" charset="0"/>
              </a:rPr>
              <a:t>RESERVAS – TURISTAS</a:t>
            </a:r>
            <a:endParaRPr kumimoji="0" lang="en-US" sz="2000" b="1" i="0" u="none" strike="noStrike" kern="1200" cap="none" spc="0" normalizeH="0" baseline="0" noProof="0" dirty="0">
              <a:ln>
                <a:noFill/>
              </a:ln>
              <a:solidFill>
                <a:srgbClr val="1F497D"/>
              </a:solidFill>
              <a:effectLst/>
              <a:uLnTx/>
              <a:uFillTx/>
              <a:latin typeface="+mj-lt"/>
              <a:ea typeface="Open Sans" panose="020B0606030504020204" pitchFamily="34" charset="0"/>
              <a:cs typeface="Poppins" panose="00000500000000000000" pitchFamily="2" charset="0"/>
            </a:endParaRPr>
          </a:p>
        </p:txBody>
      </p:sp>
      <p:sp>
        <p:nvSpPr>
          <p:cNvPr id="12" name="TextBox 11">
            <a:extLst>
              <a:ext uri="{FF2B5EF4-FFF2-40B4-BE49-F238E27FC236}">
                <a16:creationId xmlns:a16="http://schemas.microsoft.com/office/drawing/2014/main" id="{77E07CAE-9438-463B-B7FC-D5FA2E48136C}"/>
              </a:ext>
            </a:extLst>
          </p:cNvPr>
          <p:cNvSpPr txBox="1"/>
          <p:nvPr/>
        </p:nvSpPr>
        <p:spPr>
          <a:xfrm>
            <a:off x="5626675" y="3790214"/>
            <a:ext cx="1891865" cy="338554"/>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Poppins" panose="00000500000000000000" pitchFamily="2" charset="0"/>
                <a:ea typeface="Open Sans" panose="020B0606030504020204" pitchFamily="34" charset="0"/>
                <a:cs typeface="Poppins" panose="00000500000000000000" pitchFamily="2" charset="0"/>
              </a:rPr>
              <a:t>WE  SEE DEMAND</a:t>
            </a:r>
          </a:p>
        </p:txBody>
      </p:sp>
      <p:sp>
        <p:nvSpPr>
          <p:cNvPr id="13" name="Subtitle 2">
            <a:extLst>
              <a:ext uri="{FF2B5EF4-FFF2-40B4-BE49-F238E27FC236}">
                <a16:creationId xmlns:a16="http://schemas.microsoft.com/office/drawing/2014/main" id="{0DCDFAE4-AAD3-423E-9E23-147A1B94124C}"/>
              </a:ext>
            </a:extLst>
          </p:cNvPr>
          <p:cNvSpPr txBox="1">
            <a:spLocks/>
          </p:cNvSpPr>
          <p:nvPr/>
        </p:nvSpPr>
        <p:spPr>
          <a:xfrm>
            <a:off x="5584981" y="4101304"/>
            <a:ext cx="5844586" cy="204880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We provide search capabilities to travel websites around the world. The information we see is based on Online Search data, compiling information from tens of millions of search transactions in our system each d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his data provides key information to helping our partners understand potential demand, online shopping behavior and identify market trends allowing to effectively plan marketing campaigns.</a:t>
            </a:r>
          </a:p>
        </p:txBody>
      </p:sp>
      <p:grpSp>
        <p:nvGrpSpPr>
          <p:cNvPr id="15" name="Group 14">
            <a:extLst>
              <a:ext uri="{FF2B5EF4-FFF2-40B4-BE49-F238E27FC236}">
                <a16:creationId xmlns:a16="http://schemas.microsoft.com/office/drawing/2014/main" id="{2B712F57-2784-4F6D-8576-BAF691DD7A20}"/>
              </a:ext>
            </a:extLst>
          </p:cNvPr>
          <p:cNvGrpSpPr/>
          <p:nvPr/>
        </p:nvGrpSpPr>
        <p:grpSpPr>
          <a:xfrm>
            <a:off x="692467" y="1485015"/>
            <a:ext cx="2912331" cy="5104593"/>
            <a:chOff x="12700" y="20638"/>
            <a:chExt cx="1585913" cy="2779712"/>
          </a:xfrm>
          <a:scene3d>
            <a:camera prst="orthographicFront">
              <a:rot lat="0" lon="0" rev="0"/>
            </a:camera>
            <a:lightRig rig="glow" dir="t">
              <a:rot lat="0" lon="0" rev="4800000"/>
            </a:lightRig>
          </a:scene3d>
        </p:grpSpPr>
        <p:sp>
          <p:nvSpPr>
            <p:cNvPr id="16" name="Freeform 5">
              <a:extLst>
                <a:ext uri="{FF2B5EF4-FFF2-40B4-BE49-F238E27FC236}">
                  <a16:creationId xmlns:a16="http://schemas.microsoft.com/office/drawing/2014/main" id="{E1727C47-A79E-466F-AFDA-0B6440B511C3}"/>
                </a:ext>
              </a:extLst>
            </p:cNvPr>
            <p:cNvSpPr>
              <a:spLocks/>
            </p:cNvSpPr>
            <p:nvPr/>
          </p:nvSpPr>
          <p:spPr bwMode="auto">
            <a:xfrm>
              <a:off x="1168400" y="2182813"/>
              <a:ext cx="188912" cy="315912"/>
            </a:xfrm>
            <a:custGeom>
              <a:avLst/>
              <a:gdLst>
                <a:gd name="T0" fmla="*/ 90 w 119"/>
                <a:gd name="T1" fmla="*/ 80 h 199"/>
                <a:gd name="T2" fmla="*/ 119 w 119"/>
                <a:gd name="T3" fmla="*/ 199 h 199"/>
                <a:gd name="T4" fmla="*/ 0 w 119"/>
                <a:gd name="T5" fmla="*/ 0 h 199"/>
                <a:gd name="T6" fmla="*/ 90 w 119"/>
                <a:gd name="T7" fmla="*/ 80 h 199"/>
              </a:gdLst>
              <a:ahLst/>
              <a:cxnLst>
                <a:cxn ang="0">
                  <a:pos x="T0" y="T1"/>
                </a:cxn>
                <a:cxn ang="0">
                  <a:pos x="T2" y="T3"/>
                </a:cxn>
                <a:cxn ang="0">
                  <a:pos x="T4" y="T5"/>
                </a:cxn>
                <a:cxn ang="0">
                  <a:pos x="T6" y="T7"/>
                </a:cxn>
              </a:cxnLst>
              <a:rect l="0" t="0" r="r" b="b"/>
              <a:pathLst>
                <a:path w="119" h="199">
                  <a:moveTo>
                    <a:pt x="90" y="80"/>
                  </a:moveTo>
                  <a:lnTo>
                    <a:pt x="119" y="199"/>
                  </a:lnTo>
                  <a:lnTo>
                    <a:pt x="0" y="0"/>
                  </a:lnTo>
                  <a:lnTo>
                    <a:pt x="90" y="80"/>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17" name="Freeform 6">
              <a:extLst>
                <a:ext uri="{FF2B5EF4-FFF2-40B4-BE49-F238E27FC236}">
                  <a16:creationId xmlns:a16="http://schemas.microsoft.com/office/drawing/2014/main" id="{20FD2543-A211-4912-89B0-DBAB1FE9D529}"/>
                </a:ext>
              </a:extLst>
            </p:cNvPr>
            <p:cNvSpPr>
              <a:spLocks/>
            </p:cNvSpPr>
            <p:nvPr/>
          </p:nvSpPr>
          <p:spPr bwMode="auto">
            <a:xfrm>
              <a:off x="806450" y="163513"/>
              <a:ext cx="217487" cy="307975"/>
            </a:xfrm>
            <a:custGeom>
              <a:avLst/>
              <a:gdLst>
                <a:gd name="T0" fmla="*/ 58 w 58"/>
                <a:gd name="T1" fmla="*/ 48 h 82"/>
                <a:gd name="T2" fmla="*/ 44 w 58"/>
                <a:gd name="T3" fmla="*/ 70 h 82"/>
                <a:gd name="T4" fmla="*/ 0 w 58"/>
                <a:gd name="T5" fmla="*/ 82 h 82"/>
                <a:gd name="T6" fmla="*/ 10 w 58"/>
                <a:gd name="T7" fmla="*/ 0 h 82"/>
                <a:gd name="T8" fmla="*/ 58 w 58"/>
                <a:gd name="T9" fmla="*/ 48 h 82"/>
              </a:gdLst>
              <a:ahLst/>
              <a:cxnLst>
                <a:cxn ang="0">
                  <a:pos x="T0" y="T1"/>
                </a:cxn>
                <a:cxn ang="0">
                  <a:pos x="T2" y="T3"/>
                </a:cxn>
                <a:cxn ang="0">
                  <a:pos x="T4" y="T5"/>
                </a:cxn>
                <a:cxn ang="0">
                  <a:pos x="T6" y="T7"/>
                </a:cxn>
                <a:cxn ang="0">
                  <a:pos x="T8" y="T9"/>
                </a:cxn>
              </a:cxnLst>
              <a:rect l="0" t="0" r="r" b="b"/>
              <a:pathLst>
                <a:path w="58" h="82">
                  <a:moveTo>
                    <a:pt x="58" y="48"/>
                  </a:moveTo>
                  <a:cubicBezTo>
                    <a:pt x="44" y="70"/>
                    <a:pt x="44" y="70"/>
                    <a:pt x="44" y="70"/>
                  </a:cubicBezTo>
                  <a:cubicBezTo>
                    <a:pt x="0" y="82"/>
                    <a:pt x="0" y="82"/>
                    <a:pt x="0" y="82"/>
                  </a:cubicBezTo>
                  <a:cubicBezTo>
                    <a:pt x="10" y="0"/>
                    <a:pt x="10" y="0"/>
                    <a:pt x="10" y="0"/>
                  </a:cubicBezTo>
                  <a:cubicBezTo>
                    <a:pt x="30" y="26"/>
                    <a:pt x="58" y="48"/>
                    <a:pt x="58" y="48"/>
                  </a:cubicBez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18" name="Freeform 7">
              <a:extLst>
                <a:ext uri="{FF2B5EF4-FFF2-40B4-BE49-F238E27FC236}">
                  <a16:creationId xmlns:a16="http://schemas.microsoft.com/office/drawing/2014/main" id="{16BAF476-374F-4B26-B60E-4BF13956C98D}"/>
                </a:ext>
              </a:extLst>
            </p:cNvPr>
            <p:cNvSpPr>
              <a:spLocks/>
            </p:cNvSpPr>
            <p:nvPr/>
          </p:nvSpPr>
          <p:spPr bwMode="auto">
            <a:xfrm>
              <a:off x="806450" y="427038"/>
              <a:ext cx="452437" cy="474662"/>
            </a:xfrm>
            <a:custGeom>
              <a:avLst/>
              <a:gdLst>
                <a:gd name="T0" fmla="*/ 285 w 285"/>
                <a:gd name="T1" fmla="*/ 237 h 299"/>
                <a:gd name="T2" fmla="*/ 178 w 285"/>
                <a:gd name="T3" fmla="*/ 214 h 299"/>
                <a:gd name="T4" fmla="*/ 59 w 285"/>
                <a:gd name="T5" fmla="*/ 299 h 299"/>
                <a:gd name="T6" fmla="*/ 0 w 285"/>
                <a:gd name="T7" fmla="*/ 263 h 299"/>
                <a:gd name="T8" fmla="*/ 0 w 285"/>
                <a:gd name="T9" fmla="*/ 28 h 299"/>
                <a:gd name="T10" fmla="*/ 104 w 285"/>
                <a:gd name="T11" fmla="*/ 0 h 299"/>
                <a:gd name="T12" fmla="*/ 185 w 285"/>
                <a:gd name="T13" fmla="*/ 47 h 299"/>
                <a:gd name="T14" fmla="*/ 190 w 285"/>
                <a:gd name="T15" fmla="*/ 147 h 299"/>
                <a:gd name="T16" fmla="*/ 285 w 285"/>
                <a:gd name="T17" fmla="*/ 23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299">
                  <a:moveTo>
                    <a:pt x="285" y="237"/>
                  </a:moveTo>
                  <a:lnTo>
                    <a:pt x="178" y="214"/>
                  </a:lnTo>
                  <a:lnTo>
                    <a:pt x="59" y="299"/>
                  </a:lnTo>
                  <a:lnTo>
                    <a:pt x="0" y="263"/>
                  </a:lnTo>
                  <a:lnTo>
                    <a:pt x="0" y="28"/>
                  </a:lnTo>
                  <a:lnTo>
                    <a:pt x="104" y="0"/>
                  </a:lnTo>
                  <a:lnTo>
                    <a:pt x="185" y="47"/>
                  </a:lnTo>
                  <a:lnTo>
                    <a:pt x="190" y="147"/>
                  </a:lnTo>
                  <a:lnTo>
                    <a:pt x="285" y="237"/>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19" name="Freeform 8">
              <a:extLst>
                <a:ext uri="{FF2B5EF4-FFF2-40B4-BE49-F238E27FC236}">
                  <a16:creationId xmlns:a16="http://schemas.microsoft.com/office/drawing/2014/main" id="{4F4DD3FC-4BA5-422B-B7EC-723B54AA9427}"/>
                </a:ext>
              </a:extLst>
            </p:cNvPr>
            <p:cNvSpPr>
              <a:spLocks/>
            </p:cNvSpPr>
            <p:nvPr/>
          </p:nvSpPr>
          <p:spPr bwMode="auto">
            <a:xfrm>
              <a:off x="763588" y="766763"/>
              <a:ext cx="509587" cy="549275"/>
            </a:xfrm>
            <a:custGeom>
              <a:avLst/>
              <a:gdLst>
                <a:gd name="T0" fmla="*/ 312 w 321"/>
                <a:gd name="T1" fmla="*/ 23 h 346"/>
                <a:gd name="T2" fmla="*/ 321 w 321"/>
                <a:gd name="T3" fmla="*/ 151 h 346"/>
                <a:gd name="T4" fmla="*/ 210 w 321"/>
                <a:gd name="T5" fmla="*/ 334 h 346"/>
                <a:gd name="T6" fmla="*/ 207 w 321"/>
                <a:gd name="T7" fmla="*/ 346 h 346"/>
                <a:gd name="T8" fmla="*/ 0 w 321"/>
                <a:gd name="T9" fmla="*/ 275 h 346"/>
                <a:gd name="T10" fmla="*/ 86 w 321"/>
                <a:gd name="T11" fmla="*/ 85 h 346"/>
                <a:gd name="T12" fmla="*/ 205 w 321"/>
                <a:gd name="T13" fmla="*/ 0 h 346"/>
                <a:gd name="T14" fmla="*/ 312 w 321"/>
                <a:gd name="T15" fmla="*/ 23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 h="346">
                  <a:moveTo>
                    <a:pt x="312" y="23"/>
                  </a:moveTo>
                  <a:lnTo>
                    <a:pt x="321" y="151"/>
                  </a:lnTo>
                  <a:lnTo>
                    <a:pt x="210" y="334"/>
                  </a:lnTo>
                  <a:lnTo>
                    <a:pt x="207" y="346"/>
                  </a:lnTo>
                  <a:lnTo>
                    <a:pt x="0" y="275"/>
                  </a:lnTo>
                  <a:lnTo>
                    <a:pt x="86" y="85"/>
                  </a:lnTo>
                  <a:lnTo>
                    <a:pt x="205" y="0"/>
                  </a:lnTo>
                  <a:lnTo>
                    <a:pt x="312" y="23"/>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0" name="Freeform 9">
              <a:extLst>
                <a:ext uri="{FF2B5EF4-FFF2-40B4-BE49-F238E27FC236}">
                  <a16:creationId xmlns:a16="http://schemas.microsoft.com/office/drawing/2014/main" id="{56EFC43B-4477-476B-B9E6-A6A60F4FD9B7}"/>
                </a:ext>
              </a:extLst>
            </p:cNvPr>
            <p:cNvSpPr>
              <a:spLocks/>
            </p:cNvSpPr>
            <p:nvPr/>
          </p:nvSpPr>
          <p:spPr bwMode="auto">
            <a:xfrm>
              <a:off x="1092200" y="1006475"/>
              <a:ext cx="369887" cy="309562"/>
            </a:xfrm>
            <a:custGeom>
              <a:avLst/>
              <a:gdLst>
                <a:gd name="T0" fmla="*/ 233 w 233"/>
                <a:gd name="T1" fmla="*/ 29 h 195"/>
                <a:gd name="T2" fmla="*/ 228 w 233"/>
                <a:gd name="T3" fmla="*/ 152 h 195"/>
                <a:gd name="T4" fmla="*/ 3 w 233"/>
                <a:gd name="T5" fmla="*/ 195 h 195"/>
                <a:gd name="T6" fmla="*/ 0 w 233"/>
                <a:gd name="T7" fmla="*/ 195 h 195"/>
                <a:gd name="T8" fmla="*/ 3 w 233"/>
                <a:gd name="T9" fmla="*/ 183 h 195"/>
                <a:gd name="T10" fmla="*/ 114 w 233"/>
                <a:gd name="T11" fmla="*/ 0 h 195"/>
                <a:gd name="T12" fmla="*/ 233 w 233"/>
                <a:gd name="T13" fmla="*/ 29 h 195"/>
              </a:gdLst>
              <a:ahLst/>
              <a:cxnLst>
                <a:cxn ang="0">
                  <a:pos x="T0" y="T1"/>
                </a:cxn>
                <a:cxn ang="0">
                  <a:pos x="T2" y="T3"/>
                </a:cxn>
                <a:cxn ang="0">
                  <a:pos x="T4" y="T5"/>
                </a:cxn>
                <a:cxn ang="0">
                  <a:pos x="T6" y="T7"/>
                </a:cxn>
                <a:cxn ang="0">
                  <a:pos x="T8" y="T9"/>
                </a:cxn>
                <a:cxn ang="0">
                  <a:pos x="T10" y="T11"/>
                </a:cxn>
                <a:cxn ang="0">
                  <a:pos x="T12" y="T13"/>
                </a:cxn>
              </a:cxnLst>
              <a:rect l="0" t="0" r="r" b="b"/>
              <a:pathLst>
                <a:path w="233" h="195">
                  <a:moveTo>
                    <a:pt x="233" y="29"/>
                  </a:moveTo>
                  <a:lnTo>
                    <a:pt x="228" y="152"/>
                  </a:lnTo>
                  <a:lnTo>
                    <a:pt x="3" y="195"/>
                  </a:lnTo>
                  <a:lnTo>
                    <a:pt x="0" y="195"/>
                  </a:lnTo>
                  <a:lnTo>
                    <a:pt x="3" y="183"/>
                  </a:lnTo>
                  <a:lnTo>
                    <a:pt x="114" y="0"/>
                  </a:lnTo>
                  <a:lnTo>
                    <a:pt x="233" y="29"/>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1" name="Freeform 10">
              <a:extLst>
                <a:ext uri="{FF2B5EF4-FFF2-40B4-BE49-F238E27FC236}">
                  <a16:creationId xmlns:a16="http://schemas.microsoft.com/office/drawing/2014/main" id="{6BEFFFB9-B758-48EF-8711-20F36812555D}"/>
                </a:ext>
              </a:extLst>
            </p:cNvPr>
            <p:cNvSpPr>
              <a:spLocks/>
            </p:cNvSpPr>
            <p:nvPr/>
          </p:nvSpPr>
          <p:spPr bwMode="auto">
            <a:xfrm>
              <a:off x="1096963" y="1247775"/>
              <a:ext cx="501650" cy="520700"/>
            </a:xfrm>
            <a:custGeom>
              <a:avLst/>
              <a:gdLst>
                <a:gd name="T0" fmla="*/ 316 w 316"/>
                <a:gd name="T1" fmla="*/ 81 h 328"/>
                <a:gd name="T2" fmla="*/ 164 w 316"/>
                <a:gd name="T3" fmla="*/ 328 h 328"/>
                <a:gd name="T4" fmla="*/ 40 w 316"/>
                <a:gd name="T5" fmla="*/ 178 h 328"/>
                <a:gd name="T6" fmla="*/ 0 w 316"/>
                <a:gd name="T7" fmla="*/ 43 h 328"/>
                <a:gd name="T8" fmla="*/ 225 w 316"/>
                <a:gd name="T9" fmla="*/ 0 h 328"/>
                <a:gd name="T10" fmla="*/ 316 w 316"/>
                <a:gd name="T11" fmla="*/ 81 h 328"/>
              </a:gdLst>
              <a:ahLst/>
              <a:cxnLst>
                <a:cxn ang="0">
                  <a:pos x="T0" y="T1"/>
                </a:cxn>
                <a:cxn ang="0">
                  <a:pos x="T2" y="T3"/>
                </a:cxn>
                <a:cxn ang="0">
                  <a:pos x="T4" y="T5"/>
                </a:cxn>
                <a:cxn ang="0">
                  <a:pos x="T6" y="T7"/>
                </a:cxn>
                <a:cxn ang="0">
                  <a:pos x="T8" y="T9"/>
                </a:cxn>
                <a:cxn ang="0">
                  <a:pos x="T10" y="T11"/>
                </a:cxn>
              </a:cxnLst>
              <a:rect l="0" t="0" r="r" b="b"/>
              <a:pathLst>
                <a:path w="316" h="328">
                  <a:moveTo>
                    <a:pt x="316" y="81"/>
                  </a:moveTo>
                  <a:lnTo>
                    <a:pt x="164" y="328"/>
                  </a:lnTo>
                  <a:lnTo>
                    <a:pt x="40" y="178"/>
                  </a:lnTo>
                  <a:lnTo>
                    <a:pt x="0" y="43"/>
                  </a:lnTo>
                  <a:lnTo>
                    <a:pt x="225" y="0"/>
                  </a:lnTo>
                  <a:lnTo>
                    <a:pt x="316" y="81"/>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2" name="Freeform 11">
              <a:extLst>
                <a:ext uri="{FF2B5EF4-FFF2-40B4-BE49-F238E27FC236}">
                  <a16:creationId xmlns:a16="http://schemas.microsoft.com/office/drawing/2014/main" id="{C2DF50DB-1915-4B24-8B46-79B9455F313C}"/>
                </a:ext>
              </a:extLst>
            </p:cNvPr>
            <p:cNvSpPr>
              <a:spLocks/>
            </p:cNvSpPr>
            <p:nvPr/>
          </p:nvSpPr>
          <p:spPr bwMode="auto">
            <a:xfrm>
              <a:off x="946150" y="1530350"/>
              <a:ext cx="411162" cy="652462"/>
            </a:xfrm>
            <a:custGeom>
              <a:avLst/>
              <a:gdLst>
                <a:gd name="T0" fmla="*/ 135 w 259"/>
                <a:gd name="T1" fmla="*/ 0 h 411"/>
                <a:gd name="T2" fmla="*/ 259 w 259"/>
                <a:gd name="T3" fmla="*/ 150 h 411"/>
                <a:gd name="T4" fmla="*/ 140 w 259"/>
                <a:gd name="T5" fmla="*/ 411 h 411"/>
                <a:gd name="T6" fmla="*/ 135 w 259"/>
                <a:gd name="T7" fmla="*/ 401 h 411"/>
                <a:gd name="T8" fmla="*/ 0 w 259"/>
                <a:gd name="T9" fmla="*/ 176 h 411"/>
                <a:gd name="T10" fmla="*/ 135 w 259"/>
                <a:gd name="T11" fmla="*/ 0 h 411"/>
              </a:gdLst>
              <a:ahLst/>
              <a:cxnLst>
                <a:cxn ang="0">
                  <a:pos x="T0" y="T1"/>
                </a:cxn>
                <a:cxn ang="0">
                  <a:pos x="T2" y="T3"/>
                </a:cxn>
                <a:cxn ang="0">
                  <a:pos x="T4" y="T5"/>
                </a:cxn>
                <a:cxn ang="0">
                  <a:pos x="T6" y="T7"/>
                </a:cxn>
                <a:cxn ang="0">
                  <a:pos x="T8" y="T9"/>
                </a:cxn>
                <a:cxn ang="0">
                  <a:pos x="T10" y="T11"/>
                </a:cxn>
              </a:cxnLst>
              <a:rect l="0" t="0" r="r" b="b"/>
              <a:pathLst>
                <a:path w="259" h="411">
                  <a:moveTo>
                    <a:pt x="135" y="0"/>
                  </a:moveTo>
                  <a:lnTo>
                    <a:pt x="259" y="150"/>
                  </a:lnTo>
                  <a:lnTo>
                    <a:pt x="140" y="411"/>
                  </a:lnTo>
                  <a:lnTo>
                    <a:pt x="135" y="401"/>
                  </a:lnTo>
                  <a:lnTo>
                    <a:pt x="0" y="176"/>
                  </a:lnTo>
                  <a:lnTo>
                    <a:pt x="135" y="0"/>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3" name="Freeform 12">
              <a:extLst>
                <a:ext uri="{FF2B5EF4-FFF2-40B4-BE49-F238E27FC236}">
                  <a16:creationId xmlns:a16="http://schemas.microsoft.com/office/drawing/2014/main" id="{7E5CBE9F-B19A-4BFA-B96D-B0468011C255}"/>
                </a:ext>
              </a:extLst>
            </p:cNvPr>
            <p:cNvSpPr>
              <a:spLocks/>
            </p:cNvSpPr>
            <p:nvPr/>
          </p:nvSpPr>
          <p:spPr bwMode="auto">
            <a:xfrm>
              <a:off x="1168400" y="1768475"/>
              <a:ext cx="255587" cy="541337"/>
            </a:xfrm>
            <a:custGeom>
              <a:avLst/>
              <a:gdLst>
                <a:gd name="T0" fmla="*/ 161 w 161"/>
                <a:gd name="T1" fmla="*/ 75 h 341"/>
                <a:gd name="T2" fmla="*/ 161 w 161"/>
                <a:gd name="T3" fmla="*/ 261 h 341"/>
                <a:gd name="T4" fmla="*/ 90 w 161"/>
                <a:gd name="T5" fmla="*/ 341 h 341"/>
                <a:gd name="T6" fmla="*/ 0 w 161"/>
                <a:gd name="T7" fmla="*/ 261 h 341"/>
                <a:gd name="T8" fmla="*/ 0 w 161"/>
                <a:gd name="T9" fmla="*/ 261 h 341"/>
                <a:gd name="T10" fmla="*/ 119 w 161"/>
                <a:gd name="T11" fmla="*/ 0 h 341"/>
                <a:gd name="T12" fmla="*/ 161 w 161"/>
                <a:gd name="T13" fmla="*/ 75 h 341"/>
              </a:gdLst>
              <a:ahLst/>
              <a:cxnLst>
                <a:cxn ang="0">
                  <a:pos x="T0" y="T1"/>
                </a:cxn>
                <a:cxn ang="0">
                  <a:pos x="T2" y="T3"/>
                </a:cxn>
                <a:cxn ang="0">
                  <a:pos x="T4" y="T5"/>
                </a:cxn>
                <a:cxn ang="0">
                  <a:pos x="T6" y="T7"/>
                </a:cxn>
                <a:cxn ang="0">
                  <a:pos x="T8" y="T9"/>
                </a:cxn>
                <a:cxn ang="0">
                  <a:pos x="T10" y="T11"/>
                </a:cxn>
                <a:cxn ang="0">
                  <a:pos x="T12" y="T13"/>
                </a:cxn>
              </a:cxnLst>
              <a:rect l="0" t="0" r="r" b="b"/>
              <a:pathLst>
                <a:path w="161" h="341">
                  <a:moveTo>
                    <a:pt x="161" y="75"/>
                  </a:moveTo>
                  <a:lnTo>
                    <a:pt x="161" y="261"/>
                  </a:lnTo>
                  <a:lnTo>
                    <a:pt x="90" y="341"/>
                  </a:lnTo>
                  <a:lnTo>
                    <a:pt x="0" y="261"/>
                  </a:lnTo>
                  <a:lnTo>
                    <a:pt x="0" y="261"/>
                  </a:lnTo>
                  <a:lnTo>
                    <a:pt x="119" y="0"/>
                  </a:lnTo>
                  <a:lnTo>
                    <a:pt x="161" y="75"/>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4" name="Freeform 13">
              <a:extLst>
                <a:ext uri="{FF2B5EF4-FFF2-40B4-BE49-F238E27FC236}">
                  <a16:creationId xmlns:a16="http://schemas.microsoft.com/office/drawing/2014/main" id="{E2B3555B-D0EF-4763-AB13-F3A753BF75E2}"/>
                </a:ext>
              </a:extLst>
            </p:cNvPr>
            <p:cNvSpPr>
              <a:spLocks/>
            </p:cNvSpPr>
            <p:nvPr/>
          </p:nvSpPr>
          <p:spPr bwMode="auto">
            <a:xfrm>
              <a:off x="708025" y="2166938"/>
              <a:ext cx="649287" cy="573087"/>
            </a:xfrm>
            <a:custGeom>
              <a:avLst/>
              <a:gdLst>
                <a:gd name="T0" fmla="*/ 290 w 409"/>
                <a:gd name="T1" fmla="*/ 10 h 361"/>
                <a:gd name="T2" fmla="*/ 409 w 409"/>
                <a:gd name="T3" fmla="*/ 209 h 361"/>
                <a:gd name="T4" fmla="*/ 299 w 409"/>
                <a:gd name="T5" fmla="*/ 361 h 361"/>
                <a:gd name="T6" fmla="*/ 0 w 409"/>
                <a:gd name="T7" fmla="*/ 157 h 361"/>
                <a:gd name="T8" fmla="*/ 285 w 409"/>
                <a:gd name="T9" fmla="*/ 0 h 361"/>
                <a:gd name="T10" fmla="*/ 290 w 409"/>
                <a:gd name="T11" fmla="*/ 10 h 361"/>
                <a:gd name="T12" fmla="*/ 290 w 409"/>
                <a:gd name="T13" fmla="*/ 10 h 361"/>
              </a:gdLst>
              <a:ahLst/>
              <a:cxnLst>
                <a:cxn ang="0">
                  <a:pos x="T0" y="T1"/>
                </a:cxn>
                <a:cxn ang="0">
                  <a:pos x="T2" y="T3"/>
                </a:cxn>
                <a:cxn ang="0">
                  <a:pos x="T4" y="T5"/>
                </a:cxn>
                <a:cxn ang="0">
                  <a:pos x="T6" y="T7"/>
                </a:cxn>
                <a:cxn ang="0">
                  <a:pos x="T8" y="T9"/>
                </a:cxn>
                <a:cxn ang="0">
                  <a:pos x="T10" y="T11"/>
                </a:cxn>
                <a:cxn ang="0">
                  <a:pos x="T12" y="T13"/>
                </a:cxn>
              </a:cxnLst>
              <a:rect l="0" t="0" r="r" b="b"/>
              <a:pathLst>
                <a:path w="409" h="361">
                  <a:moveTo>
                    <a:pt x="290" y="10"/>
                  </a:moveTo>
                  <a:lnTo>
                    <a:pt x="409" y="209"/>
                  </a:lnTo>
                  <a:lnTo>
                    <a:pt x="299" y="361"/>
                  </a:lnTo>
                  <a:lnTo>
                    <a:pt x="0" y="157"/>
                  </a:lnTo>
                  <a:lnTo>
                    <a:pt x="285" y="0"/>
                  </a:lnTo>
                  <a:lnTo>
                    <a:pt x="290" y="10"/>
                  </a:lnTo>
                  <a:lnTo>
                    <a:pt x="290" y="10"/>
                  </a:lnTo>
                  <a:close/>
                </a:path>
              </a:pathLst>
            </a:custGeom>
            <a:solidFill>
              <a:srgbClr val="6CCDE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5" name="Freeform 14">
              <a:extLst>
                <a:ext uri="{FF2B5EF4-FFF2-40B4-BE49-F238E27FC236}">
                  <a16:creationId xmlns:a16="http://schemas.microsoft.com/office/drawing/2014/main" id="{4F66DDF2-FFC5-445A-B7A1-41ED56D1CA69}"/>
                </a:ext>
              </a:extLst>
            </p:cNvPr>
            <p:cNvSpPr>
              <a:spLocks/>
            </p:cNvSpPr>
            <p:nvPr/>
          </p:nvSpPr>
          <p:spPr bwMode="auto">
            <a:xfrm>
              <a:off x="631825" y="20638"/>
              <a:ext cx="211137" cy="255587"/>
            </a:xfrm>
            <a:custGeom>
              <a:avLst/>
              <a:gdLst>
                <a:gd name="T0" fmla="*/ 56 w 56"/>
                <a:gd name="T1" fmla="*/ 38 h 68"/>
                <a:gd name="T2" fmla="*/ 0 w 56"/>
                <a:gd name="T3" fmla="*/ 68 h 68"/>
                <a:gd name="T4" fmla="*/ 38 w 56"/>
                <a:gd name="T5" fmla="*/ 0 h 68"/>
                <a:gd name="T6" fmla="*/ 56 w 56"/>
                <a:gd name="T7" fmla="*/ 38 h 68"/>
              </a:gdLst>
              <a:ahLst/>
              <a:cxnLst>
                <a:cxn ang="0">
                  <a:pos x="T0" y="T1"/>
                </a:cxn>
                <a:cxn ang="0">
                  <a:pos x="T2" y="T3"/>
                </a:cxn>
                <a:cxn ang="0">
                  <a:pos x="T4" y="T5"/>
                </a:cxn>
                <a:cxn ang="0">
                  <a:pos x="T6" y="T7"/>
                </a:cxn>
              </a:cxnLst>
              <a:rect l="0" t="0" r="r" b="b"/>
              <a:pathLst>
                <a:path w="56" h="68">
                  <a:moveTo>
                    <a:pt x="56" y="38"/>
                  </a:moveTo>
                  <a:cubicBezTo>
                    <a:pt x="0" y="68"/>
                    <a:pt x="0" y="68"/>
                    <a:pt x="0" y="68"/>
                  </a:cubicBezTo>
                  <a:cubicBezTo>
                    <a:pt x="38" y="0"/>
                    <a:pt x="38" y="0"/>
                    <a:pt x="38" y="0"/>
                  </a:cubicBezTo>
                  <a:cubicBezTo>
                    <a:pt x="39" y="12"/>
                    <a:pt x="47" y="26"/>
                    <a:pt x="56" y="38"/>
                  </a:cubicBezTo>
                  <a:close/>
                </a:path>
              </a:pathLst>
            </a:custGeom>
            <a:solidFill>
              <a:srgbClr val="15739D"/>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6" name="Freeform 15">
              <a:extLst>
                <a:ext uri="{FF2B5EF4-FFF2-40B4-BE49-F238E27FC236}">
                  <a16:creationId xmlns:a16="http://schemas.microsoft.com/office/drawing/2014/main" id="{368BB540-56EB-4013-A0A2-958CFAA1F1BA}"/>
                </a:ext>
              </a:extLst>
            </p:cNvPr>
            <p:cNvSpPr>
              <a:spLocks/>
            </p:cNvSpPr>
            <p:nvPr/>
          </p:nvSpPr>
          <p:spPr bwMode="auto">
            <a:xfrm>
              <a:off x="442913" y="2416175"/>
              <a:ext cx="739775" cy="384175"/>
            </a:xfrm>
            <a:custGeom>
              <a:avLst/>
              <a:gdLst>
                <a:gd name="T0" fmla="*/ 466 w 466"/>
                <a:gd name="T1" fmla="*/ 204 h 242"/>
                <a:gd name="T2" fmla="*/ 152 w 466"/>
                <a:gd name="T3" fmla="*/ 242 h 242"/>
                <a:gd name="T4" fmla="*/ 5 w 466"/>
                <a:gd name="T5" fmla="*/ 95 h 242"/>
                <a:gd name="T6" fmla="*/ 0 w 466"/>
                <a:gd name="T7" fmla="*/ 92 h 242"/>
                <a:gd name="T8" fmla="*/ 167 w 466"/>
                <a:gd name="T9" fmla="*/ 0 h 242"/>
                <a:gd name="T10" fmla="*/ 466 w 466"/>
                <a:gd name="T11" fmla="*/ 204 h 242"/>
              </a:gdLst>
              <a:ahLst/>
              <a:cxnLst>
                <a:cxn ang="0">
                  <a:pos x="T0" y="T1"/>
                </a:cxn>
                <a:cxn ang="0">
                  <a:pos x="T2" y="T3"/>
                </a:cxn>
                <a:cxn ang="0">
                  <a:pos x="T4" y="T5"/>
                </a:cxn>
                <a:cxn ang="0">
                  <a:pos x="T6" y="T7"/>
                </a:cxn>
                <a:cxn ang="0">
                  <a:pos x="T8" y="T9"/>
                </a:cxn>
                <a:cxn ang="0">
                  <a:pos x="T10" y="T11"/>
                </a:cxn>
              </a:cxnLst>
              <a:rect l="0" t="0" r="r" b="b"/>
              <a:pathLst>
                <a:path w="466" h="242">
                  <a:moveTo>
                    <a:pt x="466" y="204"/>
                  </a:moveTo>
                  <a:lnTo>
                    <a:pt x="152" y="242"/>
                  </a:lnTo>
                  <a:lnTo>
                    <a:pt x="5" y="95"/>
                  </a:lnTo>
                  <a:lnTo>
                    <a:pt x="0" y="92"/>
                  </a:lnTo>
                  <a:lnTo>
                    <a:pt x="167" y="0"/>
                  </a:lnTo>
                  <a:lnTo>
                    <a:pt x="466" y="204"/>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7" name="Freeform 16">
              <a:extLst>
                <a:ext uri="{FF2B5EF4-FFF2-40B4-BE49-F238E27FC236}">
                  <a16:creationId xmlns:a16="http://schemas.microsoft.com/office/drawing/2014/main" id="{946AAEFF-9B6E-4589-8055-5B58839AE220}"/>
                </a:ext>
              </a:extLst>
            </p:cNvPr>
            <p:cNvSpPr>
              <a:spLocks/>
            </p:cNvSpPr>
            <p:nvPr/>
          </p:nvSpPr>
          <p:spPr bwMode="auto">
            <a:xfrm>
              <a:off x="420688" y="1203325"/>
              <a:ext cx="739775" cy="606425"/>
            </a:xfrm>
            <a:custGeom>
              <a:avLst/>
              <a:gdLst>
                <a:gd name="T0" fmla="*/ 426 w 466"/>
                <a:gd name="T1" fmla="*/ 71 h 382"/>
                <a:gd name="T2" fmla="*/ 466 w 466"/>
                <a:gd name="T3" fmla="*/ 206 h 382"/>
                <a:gd name="T4" fmla="*/ 331 w 466"/>
                <a:gd name="T5" fmla="*/ 382 h 382"/>
                <a:gd name="T6" fmla="*/ 48 w 466"/>
                <a:gd name="T7" fmla="*/ 367 h 382"/>
                <a:gd name="T8" fmla="*/ 0 w 466"/>
                <a:gd name="T9" fmla="*/ 175 h 382"/>
                <a:gd name="T10" fmla="*/ 216 w 466"/>
                <a:gd name="T11" fmla="*/ 0 h 382"/>
                <a:gd name="T12" fmla="*/ 423 w 466"/>
                <a:gd name="T13" fmla="*/ 71 h 382"/>
                <a:gd name="T14" fmla="*/ 426 w 466"/>
                <a:gd name="T15" fmla="*/ 71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382">
                  <a:moveTo>
                    <a:pt x="426" y="71"/>
                  </a:moveTo>
                  <a:lnTo>
                    <a:pt x="466" y="206"/>
                  </a:lnTo>
                  <a:lnTo>
                    <a:pt x="331" y="382"/>
                  </a:lnTo>
                  <a:lnTo>
                    <a:pt x="48" y="367"/>
                  </a:lnTo>
                  <a:lnTo>
                    <a:pt x="0" y="175"/>
                  </a:lnTo>
                  <a:lnTo>
                    <a:pt x="216" y="0"/>
                  </a:lnTo>
                  <a:lnTo>
                    <a:pt x="423" y="71"/>
                  </a:lnTo>
                  <a:lnTo>
                    <a:pt x="426" y="71"/>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8" name="Freeform 17">
              <a:extLst>
                <a:ext uri="{FF2B5EF4-FFF2-40B4-BE49-F238E27FC236}">
                  <a16:creationId xmlns:a16="http://schemas.microsoft.com/office/drawing/2014/main" id="{C4761E91-033E-4E21-976C-CF262AD04E50}"/>
                </a:ext>
              </a:extLst>
            </p:cNvPr>
            <p:cNvSpPr>
              <a:spLocks/>
            </p:cNvSpPr>
            <p:nvPr/>
          </p:nvSpPr>
          <p:spPr bwMode="auto">
            <a:xfrm>
              <a:off x="179388" y="1785938"/>
              <a:ext cx="981075" cy="630237"/>
            </a:xfrm>
            <a:custGeom>
              <a:avLst/>
              <a:gdLst>
                <a:gd name="T0" fmla="*/ 618 w 618"/>
                <a:gd name="T1" fmla="*/ 240 h 397"/>
                <a:gd name="T2" fmla="*/ 333 w 618"/>
                <a:gd name="T3" fmla="*/ 397 h 397"/>
                <a:gd name="T4" fmla="*/ 0 w 618"/>
                <a:gd name="T5" fmla="*/ 174 h 397"/>
                <a:gd name="T6" fmla="*/ 200 w 618"/>
                <a:gd name="T7" fmla="*/ 0 h 397"/>
                <a:gd name="T8" fmla="*/ 483 w 618"/>
                <a:gd name="T9" fmla="*/ 15 h 397"/>
                <a:gd name="T10" fmla="*/ 618 w 618"/>
                <a:gd name="T11" fmla="*/ 240 h 397"/>
              </a:gdLst>
              <a:ahLst/>
              <a:cxnLst>
                <a:cxn ang="0">
                  <a:pos x="T0" y="T1"/>
                </a:cxn>
                <a:cxn ang="0">
                  <a:pos x="T2" y="T3"/>
                </a:cxn>
                <a:cxn ang="0">
                  <a:pos x="T4" y="T5"/>
                </a:cxn>
                <a:cxn ang="0">
                  <a:pos x="T6" y="T7"/>
                </a:cxn>
                <a:cxn ang="0">
                  <a:pos x="T8" y="T9"/>
                </a:cxn>
                <a:cxn ang="0">
                  <a:pos x="T10" y="T11"/>
                </a:cxn>
              </a:cxnLst>
              <a:rect l="0" t="0" r="r" b="b"/>
              <a:pathLst>
                <a:path w="618" h="397">
                  <a:moveTo>
                    <a:pt x="618" y="240"/>
                  </a:moveTo>
                  <a:lnTo>
                    <a:pt x="333" y="397"/>
                  </a:lnTo>
                  <a:lnTo>
                    <a:pt x="0" y="174"/>
                  </a:lnTo>
                  <a:lnTo>
                    <a:pt x="200" y="0"/>
                  </a:lnTo>
                  <a:lnTo>
                    <a:pt x="483" y="15"/>
                  </a:lnTo>
                  <a:lnTo>
                    <a:pt x="618" y="240"/>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29" name="Freeform 18">
              <a:extLst>
                <a:ext uri="{FF2B5EF4-FFF2-40B4-BE49-F238E27FC236}">
                  <a16:creationId xmlns:a16="http://schemas.microsoft.com/office/drawing/2014/main" id="{9E74F96D-0EA7-4EB7-95DD-7316FF412872}"/>
                </a:ext>
              </a:extLst>
            </p:cNvPr>
            <p:cNvSpPr>
              <a:spLocks/>
            </p:cNvSpPr>
            <p:nvPr/>
          </p:nvSpPr>
          <p:spPr bwMode="auto">
            <a:xfrm>
              <a:off x="708025" y="901700"/>
              <a:ext cx="192087" cy="301625"/>
            </a:xfrm>
            <a:custGeom>
              <a:avLst/>
              <a:gdLst>
                <a:gd name="T0" fmla="*/ 121 w 121"/>
                <a:gd name="T1" fmla="*/ 0 h 190"/>
                <a:gd name="T2" fmla="*/ 35 w 121"/>
                <a:gd name="T3" fmla="*/ 190 h 190"/>
                <a:gd name="T4" fmla="*/ 0 w 121"/>
                <a:gd name="T5" fmla="*/ 147 h 190"/>
                <a:gd name="T6" fmla="*/ 121 w 121"/>
                <a:gd name="T7" fmla="*/ 0 h 190"/>
              </a:gdLst>
              <a:ahLst/>
              <a:cxnLst>
                <a:cxn ang="0">
                  <a:pos x="T0" y="T1"/>
                </a:cxn>
                <a:cxn ang="0">
                  <a:pos x="T2" y="T3"/>
                </a:cxn>
                <a:cxn ang="0">
                  <a:pos x="T4" y="T5"/>
                </a:cxn>
                <a:cxn ang="0">
                  <a:pos x="T6" y="T7"/>
                </a:cxn>
              </a:cxnLst>
              <a:rect l="0" t="0" r="r" b="b"/>
              <a:pathLst>
                <a:path w="121" h="190">
                  <a:moveTo>
                    <a:pt x="121" y="0"/>
                  </a:moveTo>
                  <a:lnTo>
                    <a:pt x="35" y="190"/>
                  </a:lnTo>
                  <a:lnTo>
                    <a:pt x="0" y="147"/>
                  </a:lnTo>
                  <a:lnTo>
                    <a:pt x="121" y="0"/>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0" name="Freeform 19">
              <a:extLst>
                <a:ext uri="{FF2B5EF4-FFF2-40B4-BE49-F238E27FC236}">
                  <a16:creationId xmlns:a16="http://schemas.microsoft.com/office/drawing/2014/main" id="{990B37DC-C3C7-4879-B246-2FC4AAE463BD}"/>
                </a:ext>
              </a:extLst>
            </p:cNvPr>
            <p:cNvSpPr>
              <a:spLocks/>
            </p:cNvSpPr>
            <p:nvPr/>
          </p:nvSpPr>
          <p:spPr bwMode="auto">
            <a:xfrm>
              <a:off x="631825" y="844550"/>
              <a:ext cx="268287" cy="290512"/>
            </a:xfrm>
            <a:custGeom>
              <a:avLst/>
              <a:gdLst>
                <a:gd name="T0" fmla="*/ 169 w 169"/>
                <a:gd name="T1" fmla="*/ 36 h 183"/>
                <a:gd name="T2" fmla="*/ 48 w 169"/>
                <a:gd name="T3" fmla="*/ 183 h 183"/>
                <a:gd name="T4" fmla="*/ 0 w 169"/>
                <a:gd name="T5" fmla="*/ 124 h 183"/>
                <a:gd name="T6" fmla="*/ 110 w 169"/>
                <a:gd name="T7" fmla="*/ 0 h 183"/>
                <a:gd name="T8" fmla="*/ 169 w 169"/>
                <a:gd name="T9" fmla="*/ 36 h 183"/>
              </a:gdLst>
              <a:ahLst/>
              <a:cxnLst>
                <a:cxn ang="0">
                  <a:pos x="T0" y="T1"/>
                </a:cxn>
                <a:cxn ang="0">
                  <a:pos x="T2" y="T3"/>
                </a:cxn>
                <a:cxn ang="0">
                  <a:pos x="T4" y="T5"/>
                </a:cxn>
                <a:cxn ang="0">
                  <a:pos x="T6" y="T7"/>
                </a:cxn>
                <a:cxn ang="0">
                  <a:pos x="T8" y="T9"/>
                </a:cxn>
              </a:cxnLst>
              <a:rect l="0" t="0" r="r" b="b"/>
              <a:pathLst>
                <a:path w="169" h="183">
                  <a:moveTo>
                    <a:pt x="169" y="36"/>
                  </a:moveTo>
                  <a:lnTo>
                    <a:pt x="48" y="183"/>
                  </a:lnTo>
                  <a:lnTo>
                    <a:pt x="0" y="124"/>
                  </a:lnTo>
                  <a:lnTo>
                    <a:pt x="110" y="0"/>
                  </a:lnTo>
                  <a:lnTo>
                    <a:pt x="169" y="36"/>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1" name="Freeform 20">
              <a:extLst>
                <a:ext uri="{FF2B5EF4-FFF2-40B4-BE49-F238E27FC236}">
                  <a16:creationId xmlns:a16="http://schemas.microsoft.com/office/drawing/2014/main" id="{63F86F57-C4ED-4DE9-A73C-3543113AE789}"/>
                </a:ext>
              </a:extLst>
            </p:cNvPr>
            <p:cNvSpPr>
              <a:spLocks/>
            </p:cNvSpPr>
            <p:nvPr/>
          </p:nvSpPr>
          <p:spPr bwMode="auto">
            <a:xfrm>
              <a:off x="631825" y="163513"/>
              <a:ext cx="211137" cy="307975"/>
            </a:xfrm>
            <a:custGeom>
              <a:avLst/>
              <a:gdLst>
                <a:gd name="T0" fmla="*/ 133 w 133"/>
                <a:gd name="T1" fmla="*/ 0 h 194"/>
                <a:gd name="T2" fmla="*/ 110 w 133"/>
                <a:gd name="T3" fmla="*/ 194 h 194"/>
                <a:gd name="T4" fmla="*/ 24 w 133"/>
                <a:gd name="T5" fmla="*/ 194 h 194"/>
                <a:gd name="T6" fmla="*/ 0 w 133"/>
                <a:gd name="T7" fmla="*/ 71 h 194"/>
                <a:gd name="T8" fmla="*/ 133 w 133"/>
                <a:gd name="T9" fmla="*/ 0 h 194"/>
              </a:gdLst>
              <a:ahLst/>
              <a:cxnLst>
                <a:cxn ang="0">
                  <a:pos x="T0" y="T1"/>
                </a:cxn>
                <a:cxn ang="0">
                  <a:pos x="T2" y="T3"/>
                </a:cxn>
                <a:cxn ang="0">
                  <a:pos x="T4" y="T5"/>
                </a:cxn>
                <a:cxn ang="0">
                  <a:pos x="T6" y="T7"/>
                </a:cxn>
                <a:cxn ang="0">
                  <a:pos x="T8" y="T9"/>
                </a:cxn>
              </a:cxnLst>
              <a:rect l="0" t="0" r="r" b="b"/>
              <a:pathLst>
                <a:path w="133" h="194">
                  <a:moveTo>
                    <a:pt x="133" y="0"/>
                  </a:moveTo>
                  <a:lnTo>
                    <a:pt x="110" y="194"/>
                  </a:lnTo>
                  <a:lnTo>
                    <a:pt x="24" y="194"/>
                  </a:lnTo>
                  <a:lnTo>
                    <a:pt x="0" y="71"/>
                  </a:lnTo>
                  <a:lnTo>
                    <a:pt x="133" y="0"/>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2" name="Freeform 21">
              <a:extLst>
                <a:ext uri="{FF2B5EF4-FFF2-40B4-BE49-F238E27FC236}">
                  <a16:creationId xmlns:a16="http://schemas.microsoft.com/office/drawing/2014/main" id="{68F1B3A2-9D43-443C-BCDF-557BEF0C8D93}"/>
                </a:ext>
              </a:extLst>
            </p:cNvPr>
            <p:cNvSpPr>
              <a:spLocks/>
            </p:cNvSpPr>
            <p:nvPr/>
          </p:nvSpPr>
          <p:spPr bwMode="auto">
            <a:xfrm>
              <a:off x="593725" y="471488"/>
              <a:ext cx="212725" cy="569912"/>
            </a:xfrm>
            <a:custGeom>
              <a:avLst/>
              <a:gdLst>
                <a:gd name="T0" fmla="*/ 134 w 134"/>
                <a:gd name="T1" fmla="*/ 0 h 359"/>
                <a:gd name="T2" fmla="*/ 134 w 134"/>
                <a:gd name="T3" fmla="*/ 235 h 359"/>
                <a:gd name="T4" fmla="*/ 24 w 134"/>
                <a:gd name="T5" fmla="*/ 359 h 359"/>
                <a:gd name="T6" fmla="*/ 0 w 134"/>
                <a:gd name="T7" fmla="*/ 221 h 359"/>
                <a:gd name="T8" fmla="*/ 0 w 134"/>
                <a:gd name="T9" fmla="*/ 79 h 359"/>
                <a:gd name="T10" fmla="*/ 48 w 134"/>
                <a:gd name="T11" fmla="*/ 0 h 359"/>
                <a:gd name="T12" fmla="*/ 134 w 134"/>
                <a:gd name="T13" fmla="*/ 0 h 359"/>
              </a:gdLst>
              <a:ahLst/>
              <a:cxnLst>
                <a:cxn ang="0">
                  <a:pos x="T0" y="T1"/>
                </a:cxn>
                <a:cxn ang="0">
                  <a:pos x="T2" y="T3"/>
                </a:cxn>
                <a:cxn ang="0">
                  <a:pos x="T4" y="T5"/>
                </a:cxn>
                <a:cxn ang="0">
                  <a:pos x="T6" y="T7"/>
                </a:cxn>
                <a:cxn ang="0">
                  <a:pos x="T8" y="T9"/>
                </a:cxn>
                <a:cxn ang="0">
                  <a:pos x="T10" y="T11"/>
                </a:cxn>
                <a:cxn ang="0">
                  <a:pos x="T12" y="T13"/>
                </a:cxn>
              </a:cxnLst>
              <a:rect l="0" t="0" r="r" b="b"/>
              <a:pathLst>
                <a:path w="134" h="359">
                  <a:moveTo>
                    <a:pt x="134" y="0"/>
                  </a:moveTo>
                  <a:lnTo>
                    <a:pt x="134" y="235"/>
                  </a:lnTo>
                  <a:lnTo>
                    <a:pt x="24" y="359"/>
                  </a:lnTo>
                  <a:lnTo>
                    <a:pt x="0" y="221"/>
                  </a:lnTo>
                  <a:lnTo>
                    <a:pt x="0" y="79"/>
                  </a:lnTo>
                  <a:lnTo>
                    <a:pt x="48" y="0"/>
                  </a:lnTo>
                  <a:lnTo>
                    <a:pt x="134" y="0"/>
                  </a:lnTo>
                  <a:close/>
                </a:path>
              </a:pathLst>
            </a:custGeom>
            <a:solidFill>
              <a:srgbClr val="15739D"/>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3" name="Freeform 22">
              <a:extLst>
                <a:ext uri="{FF2B5EF4-FFF2-40B4-BE49-F238E27FC236}">
                  <a16:creationId xmlns:a16="http://schemas.microsoft.com/office/drawing/2014/main" id="{8256E5FF-091C-444A-A65C-96E51E7A668F}"/>
                </a:ext>
              </a:extLst>
            </p:cNvPr>
            <p:cNvSpPr>
              <a:spLocks/>
            </p:cNvSpPr>
            <p:nvPr/>
          </p:nvSpPr>
          <p:spPr bwMode="auto">
            <a:xfrm>
              <a:off x="420688" y="1135063"/>
              <a:ext cx="342900" cy="346075"/>
            </a:xfrm>
            <a:custGeom>
              <a:avLst/>
              <a:gdLst>
                <a:gd name="T0" fmla="*/ 181 w 216"/>
                <a:gd name="T1" fmla="*/ 0 h 218"/>
                <a:gd name="T2" fmla="*/ 216 w 216"/>
                <a:gd name="T3" fmla="*/ 43 h 218"/>
                <a:gd name="T4" fmla="*/ 0 w 216"/>
                <a:gd name="T5" fmla="*/ 218 h 218"/>
                <a:gd name="T6" fmla="*/ 0 w 216"/>
                <a:gd name="T7" fmla="*/ 216 h 218"/>
                <a:gd name="T8" fmla="*/ 181 w 216"/>
                <a:gd name="T9" fmla="*/ 0 h 218"/>
              </a:gdLst>
              <a:ahLst/>
              <a:cxnLst>
                <a:cxn ang="0">
                  <a:pos x="T0" y="T1"/>
                </a:cxn>
                <a:cxn ang="0">
                  <a:pos x="T2" y="T3"/>
                </a:cxn>
                <a:cxn ang="0">
                  <a:pos x="T4" y="T5"/>
                </a:cxn>
                <a:cxn ang="0">
                  <a:pos x="T6" y="T7"/>
                </a:cxn>
                <a:cxn ang="0">
                  <a:pos x="T8" y="T9"/>
                </a:cxn>
              </a:cxnLst>
              <a:rect l="0" t="0" r="r" b="b"/>
              <a:pathLst>
                <a:path w="216" h="218">
                  <a:moveTo>
                    <a:pt x="181" y="0"/>
                  </a:moveTo>
                  <a:lnTo>
                    <a:pt x="216" y="43"/>
                  </a:lnTo>
                  <a:lnTo>
                    <a:pt x="0" y="218"/>
                  </a:lnTo>
                  <a:lnTo>
                    <a:pt x="0" y="216"/>
                  </a:lnTo>
                  <a:lnTo>
                    <a:pt x="181" y="0"/>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4" name="Freeform 23">
              <a:extLst>
                <a:ext uri="{FF2B5EF4-FFF2-40B4-BE49-F238E27FC236}">
                  <a16:creationId xmlns:a16="http://schemas.microsoft.com/office/drawing/2014/main" id="{43B4D0E0-9C99-4B05-9F17-E83A403C6CCE}"/>
                </a:ext>
              </a:extLst>
            </p:cNvPr>
            <p:cNvSpPr>
              <a:spLocks/>
            </p:cNvSpPr>
            <p:nvPr/>
          </p:nvSpPr>
          <p:spPr bwMode="auto">
            <a:xfrm>
              <a:off x="171450" y="2062163"/>
              <a:ext cx="536575" cy="500062"/>
            </a:xfrm>
            <a:custGeom>
              <a:avLst/>
              <a:gdLst>
                <a:gd name="T0" fmla="*/ 338 w 338"/>
                <a:gd name="T1" fmla="*/ 223 h 315"/>
                <a:gd name="T2" fmla="*/ 171 w 338"/>
                <a:gd name="T3" fmla="*/ 315 h 315"/>
                <a:gd name="T4" fmla="*/ 0 w 338"/>
                <a:gd name="T5" fmla="*/ 232 h 315"/>
                <a:gd name="T6" fmla="*/ 5 w 338"/>
                <a:gd name="T7" fmla="*/ 0 h 315"/>
                <a:gd name="T8" fmla="*/ 338 w 338"/>
                <a:gd name="T9" fmla="*/ 223 h 315"/>
              </a:gdLst>
              <a:ahLst/>
              <a:cxnLst>
                <a:cxn ang="0">
                  <a:pos x="T0" y="T1"/>
                </a:cxn>
                <a:cxn ang="0">
                  <a:pos x="T2" y="T3"/>
                </a:cxn>
                <a:cxn ang="0">
                  <a:pos x="T4" y="T5"/>
                </a:cxn>
                <a:cxn ang="0">
                  <a:pos x="T6" y="T7"/>
                </a:cxn>
                <a:cxn ang="0">
                  <a:pos x="T8" y="T9"/>
                </a:cxn>
              </a:cxnLst>
              <a:rect l="0" t="0" r="r" b="b"/>
              <a:pathLst>
                <a:path w="338" h="315">
                  <a:moveTo>
                    <a:pt x="338" y="223"/>
                  </a:moveTo>
                  <a:lnTo>
                    <a:pt x="171" y="315"/>
                  </a:lnTo>
                  <a:lnTo>
                    <a:pt x="0" y="232"/>
                  </a:lnTo>
                  <a:lnTo>
                    <a:pt x="5" y="0"/>
                  </a:lnTo>
                  <a:lnTo>
                    <a:pt x="338" y="223"/>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5" name="Freeform 24">
              <a:extLst>
                <a:ext uri="{FF2B5EF4-FFF2-40B4-BE49-F238E27FC236}">
                  <a16:creationId xmlns:a16="http://schemas.microsoft.com/office/drawing/2014/main" id="{6948E408-82D4-468D-83D2-0093BBE8E9C6}"/>
                </a:ext>
              </a:extLst>
            </p:cNvPr>
            <p:cNvSpPr>
              <a:spLocks/>
            </p:cNvSpPr>
            <p:nvPr/>
          </p:nvSpPr>
          <p:spPr bwMode="auto">
            <a:xfrm>
              <a:off x="420688" y="1041400"/>
              <a:ext cx="287337" cy="436562"/>
            </a:xfrm>
            <a:custGeom>
              <a:avLst/>
              <a:gdLst>
                <a:gd name="T0" fmla="*/ 133 w 181"/>
                <a:gd name="T1" fmla="*/ 0 h 275"/>
                <a:gd name="T2" fmla="*/ 181 w 181"/>
                <a:gd name="T3" fmla="*/ 59 h 275"/>
                <a:gd name="T4" fmla="*/ 0 w 181"/>
                <a:gd name="T5" fmla="*/ 275 h 275"/>
                <a:gd name="T6" fmla="*/ 0 w 181"/>
                <a:gd name="T7" fmla="*/ 275 h 275"/>
                <a:gd name="T8" fmla="*/ 133 w 181"/>
                <a:gd name="T9" fmla="*/ 0 h 275"/>
              </a:gdLst>
              <a:ahLst/>
              <a:cxnLst>
                <a:cxn ang="0">
                  <a:pos x="T0" y="T1"/>
                </a:cxn>
                <a:cxn ang="0">
                  <a:pos x="T2" y="T3"/>
                </a:cxn>
                <a:cxn ang="0">
                  <a:pos x="T4" y="T5"/>
                </a:cxn>
                <a:cxn ang="0">
                  <a:pos x="T6" y="T7"/>
                </a:cxn>
                <a:cxn ang="0">
                  <a:pos x="T8" y="T9"/>
                </a:cxn>
              </a:cxnLst>
              <a:rect l="0" t="0" r="r" b="b"/>
              <a:pathLst>
                <a:path w="181" h="275">
                  <a:moveTo>
                    <a:pt x="133" y="0"/>
                  </a:moveTo>
                  <a:lnTo>
                    <a:pt x="181" y="59"/>
                  </a:lnTo>
                  <a:lnTo>
                    <a:pt x="0" y="275"/>
                  </a:lnTo>
                  <a:lnTo>
                    <a:pt x="0" y="275"/>
                  </a:lnTo>
                  <a:lnTo>
                    <a:pt x="133" y="0"/>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6" name="Freeform 25">
              <a:extLst>
                <a:ext uri="{FF2B5EF4-FFF2-40B4-BE49-F238E27FC236}">
                  <a16:creationId xmlns:a16="http://schemas.microsoft.com/office/drawing/2014/main" id="{39332BBA-E90C-437B-9130-539AA004C7A3}"/>
                </a:ext>
              </a:extLst>
            </p:cNvPr>
            <p:cNvSpPr>
              <a:spLocks/>
            </p:cNvSpPr>
            <p:nvPr/>
          </p:nvSpPr>
          <p:spPr bwMode="auto">
            <a:xfrm>
              <a:off x="496888" y="276225"/>
              <a:ext cx="173037" cy="320675"/>
            </a:xfrm>
            <a:custGeom>
              <a:avLst/>
              <a:gdLst>
                <a:gd name="T0" fmla="*/ 85 w 109"/>
                <a:gd name="T1" fmla="*/ 0 h 202"/>
                <a:gd name="T2" fmla="*/ 109 w 109"/>
                <a:gd name="T3" fmla="*/ 123 h 202"/>
                <a:gd name="T4" fmla="*/ 61 w 109"/>
                <a:gd name="T5" fmla="*/ 202 h 202"/>
                <a:gd name="T6" fmla="*/ 0 w 109"/>
                <a:gd name="T7" fmla="*/ 166 h 202"/>
                <a:gd name="T8" fmla="*/ 0 w 109"/>
                <a:gd name="T9" fmla="*/ 81 h 202"/>
                <a:gd name="T10" fmla="*/ 76 w 109"/>
                <a:gd name="T11" fmla="*/ 14 h 202"/>
                <a:gd name="T12" fmla="*/ 85 w 109"/>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09" h="202">
                  <a:moveTo>
                    <a:pt x="85" y="0"/>
                  </a:moveTo>
                  <a:lnTo>
                    <a:pt x="109" y="123"/>
                  </a:lnTo>
                  <a:lnTo>
                    <a:pt x="61" y="202"/>
                  </a:lnTo>
                  <a:lnTo>
                    <a:pt x="0" y="166"/>
                  </a:lnTo>
                  <a:lnTo>
                    <a:pt x="0" y="81"/>
                  </a:lnTo>
                  <a:lnTo>
                    <a:pt x="76" y="14"/>
                  </a:lnTo>
                  <a:lnTo>
                    <a:pt x="85" y="0"/>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7" name="Freeform 26">
              <a:extLst>
                <a:ext uri="{FF2B5EF4-FFF2-40B4-BE49-F238E27FC236}">
                  <a16:creationId xmlns:a16="http://schemas.microsoft.com/office/drawing/2014/main" id="{AA37B5D7-6D19-45A7-A5D1-B8276ADC7481}"/>
                </a:ext>
              </a:extLst>
            </p:cNvPr>
            <p:cNvSpPr>
              <a:spLocks/>
            </p:cNvSpPr>
            <p:nvPr/>
          </p:nvSpPr>
          <p:spPr bwMode="auto">
            <a:xfrm>
              <a:off x="360363" y="742950"/>
              <a:ext cx="271462" cy="298450"/>
            </a:xfrm>
            <a:custGeom>
              <a:avLst/>
              <a:gdLst>
                <a:gd name="T0" fmla="*/ 147 w 171"/>
                <a:gd name="T1" fmla="*/ 50 h 188"/>
                <a:gd name="T2" fmla="*/ 171 w 171"/>
                <a:gd name="T3" fmla="*/ 188 h 188"/>
                <a:gd name="T4" fmla="*/ 0 w 171"/>
                <a:gd name="T5" fmla="*/ 76 h 188"/>
                <a:gd name="T6" fmla="*/ 52 w 171"/>
                <a:gd name="T7" fmla="*/ 0 h 188"/>
                <a:gd name="T8" fmla="*/ 147 w 171"/>
                <a:gd name="T9" fmla="*/ 50 h 188"/>
              </a:gdLst>
              <a:ahLst/>
              <a:cxnLst>
                <a:cxn ang="0">
                  <a:pos x="T0" y="T1"/>
                </a:cxn>
                <a:cxn ang="0">
                  <a:pos x="T2" y="T3"/>
                </a:cxn>
                <a:cxn ang="0">
                  <a:pos x="T4" y="T5"/>
                </a:cxn>
                <a:cxn ang="0">
                  <a:pos x="T6" y="T7"/>
                </a:cxn>
                <a:cxn ang="0">
                  <a:pos x="T8" y="T9"/>
                </a:cxn>
              </a:cxnLst>
              <a:rect l="0" t="0" r="r" b="b"/>
              <a:pathLst>
                <a:path w="171" h="188">
                  <a:moveTo>
                    <a:pt x="147" y="50"/>
                  </a:moveTo>
                  <a:lnTo>
                    <a:pt x="171" y="188"/>
                  </a:lnTo>
                  <a:lnTo>
                    <a:pt x="0" y="76"/>
                  </a:lnTo>
                  <a:lnTo>
                    <a:pt x="52" y="0"/>
                  </a:lnTo>
                  <a:lnTo>
                    <a:pt x="147" y="50"/>
                  </a:lnTo>
                  <a:close/>
                </a:path>
              </a:pathLst>
            </a:custGeom>
            <a:solidFill>
              <a:srgbClr val="15739D"/>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8" name="Freeform 27">
              <a:extLst>
                <a:ext uri="{FF2B5EF4-FFF2-40B4-BE49-F238E27FC236}">
                  <a16:creationId xmlns:a16="http://schemas.microsoft.com/office/drawing/2014/main" id="{DF938AE6-805D-47C9-8C2A-DB28BDD744B3}"/>
                </a:ext>
              </a:extLst>
            </p:cNvPr>
            <p:cNvSpPr>
              <a:spLocks/>
            </p:cNvSpPr>
            <p:nvPr/>
          </p:nvSpPr>
          <p:spPr bwMode="auto">
            <a:xfrm>
              <a:off x="201613" y="1041400"/>
              <a:ext cx="430212" cy="444500"/>
            </a:xfrm>
            <a:custGeom>
              <a:avLst/>
              <a:gdLst>
                <a:gd name="T0" fmla="*/ 138 w 271"/>
                <a:gd name="T1" fmla="*/ 275 h 280"/>
                <a:gd name="T2" fmla="*/ 136 w 271"/>
                <a:gd name="T3" fmla="*/ 280 h 280"/>
                <a:gd name="T4" fmla="*/ 0 w 271"/>
                <a:gd name="T5" fmla="*/ 201 h 280"/>
                <a:gd name="T6" fmla="*/ 271 w 271"/>
                <a:gd name="T7" fmla="*/ 0 h 280"/>
                <a:gd name="T8" fmla="*/ 138 w 271"/>
                <a:gd name="T9" fmla="*/ 275 h 280"/>
              </a:gdLst>
              <a:ahLst/>
              <a:cxnLst>
                <a:cxn ang="0">
                  <a:pos x="T0" y="T1"/>
                </a:cxn>
                <a:cxn ang="0">
                  <a:pos x="T2" y="T3"/>
                </a:cxn>
                <a:cxn ang="0">
                  <a:pos x="T4" y="T5"/>
                </a:cxn>
                <a:cxn ang="0">
                  <a:pos x="T6" y="T7"/>
                </a:cxn>
                <a:cxn ang="0">
                  <a:pos x="T8" y="T9"/>
                </a:cxn>
              </a:cxnLst>
              <a:rect l="0" t="0" r="r" b="b"/>
              <a:pathLst>
                <a:path w="271" h="280">
                  <a:moveTo>
                    <a:pt x="138" y="275"/>
                  </a:moveTo>
                  <a:lnTo>
                    <a:pt x="136" y="280"/>
                  </a:lnTo>
                  <a:lnTo>
                    <a:pt x="0" y="201"/>
                  </a:lnTo>
                  <a:lnTo>
                    <a:pt x="271" y="0"/>
                  </a:lnTo>
                  <a:lnTo>
                    <a:pt x="138" y="275"/>
                  </a:lnTo>
                  <a:close/>
                </a:path>
              </a:pathLst>
            </a:custGeom>
            <a:solidFill>
              <a:srgbClr val="0F587C"/>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39" name="Freeform 28">
              <a:extLst>
                <a:ext uri="{FF2B5EF4-FFF2-40B4-BE49-F238E27FC236}">
                  <a16:creationId xmlns:a16="http://schemas.microsoft.com/office/drawing/2014/main" id="{06A208C7-308C-4149-8E27-C920A4834029}"/>
                </a:ext>
              </a:extLst>
            </p:cNvPr>
            <p:cNvSpPr>
              <a:spLocks/>
            </p:cNvSpPr>
            <p:nvPr/>
          </p:nvSpPr>
          <p:spPr bwMode="auto">
            <a:xfrm>
              <a:off x="201613" y="1000125"/>
              <a:ext cx="430212" cy="360362"/>
            </a:xfrm>
            <a:custGeom>
              <a:avLst/>
              <a:gdLst>
                <a:gd name="T0" fmla="*/ 271 w 271"/>
                <a:gd name="T1" fmla="*/ 26 h 227"/>
                <a:gd name="T2" fmla="*/ 0 w 271"/>
                <a:gd name="T3" fmla="*/ 227 h 227"/>
                <a:gd name="T4" fmla="*/ 0 w 271"/>
                <a:gd name="T5" fmla="*/ 113 h 227"/>
                <a:gd name="T6" fmla="*/ 100 w 271"/>
                <a:gd name="T7" fmla="*/ 0 h 227"/>
                <a:gd name="T8" fmla="*/ 271 w 271"/>
                <a:gd name="T9" fmla="*/ 26 h 227"/>
              </a:gdLst>
              <a:ahLst/>
              <a:cxnLst>
                <a:cxn ang="0">
                  <a:pos x="T0" y="T1"/>
                </a:cxn>
                <a:cxn ang="0">
                  <a:pos x="T2" y="T3"/>
                </a:cxn>
                <a:cxn ang="0">
                  <a:pos x="T4" y="T5"/>
                </a:cxn>
                <a:cxn ang="0">
                  <a:pos x="T6" y="T7"/>
                </a:cxn>
                <a:cxn ang="0">
                  <a:pos x="T8" y="T9"/>
                </a:cxn>
              </a:cxnLst>
              <a:rect l="0" t="0" r="r" b="b"/>
              <a:pathLst>
                <a:path w="271" h="227">
                  <a:moveTo>
                    <a:pt x="271" y="26"/>
                  </a:moveTo>
                  <a:lnTo>
                    <a:pt x="0" y="227"/>
                  </a:lnTo>
                  <a:lnTo>
                    <a:pt x="0" y="113"/>
                  </a:lnTo>
                  <a:lnTo>
                    <a:pt x="100" y="0"/>
                  </a:lnTo>
                  <a:lnTo>
                    <a:pt x="271" y="26"/>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0" name="Freeform 29">
              <a:extLst>
                <a:ext uri="{FF2B5EF4-FFF2-40B4-BE49-F238E27FC236}">
                  <a16:creationId xmlns:a16="http://schemas.microsoft.com/office/drawing/2014/main" id="{3F78223E-27CA-40B9-ADAD-5F5689130490}"/>
                </a:ext>
              </a:extLst>
            </p:cNvPr>
            <p:cNvSpPr>
              <a:spLocks/>
            </p:cNvSpPr>
            <p:nvPr/>
          </p:nvSpPr>
          <p:spPr bwMode="auto">
            <a:xfrm>
              <a:off x="360363" y="863600"/>
              <a:ext cx="271462" cy="177800"/>
            </a:xfrm>
            <a:custGeom>
              <a:avLst/>
              <a:gdLst>
                <a:gd name="T0" fmla="*/ 171 w 171"/>
                <a:gd name="T1" fmla="*/ 112 h 112"/>
                <a:gd name="T2" fmla="*/ 0 w 171"/>
                <a:gd name="T3" fmla="*/ 86 h 112"/>
                <a:gd name="T4" fmla="*/ 0 w 171"/>
                <a:gd name="T5" fmla="*/ 0 h 112"/>
                <a:gd name="T6" fmla="*/ 171 w 171"/>
                <a:gd name="T7" fmla="*/ 112 h 112"/>
              </a:gdLst>
              <a:ahLst/>
              <a:cxnLst>
                <a:cxn ang="0">
                  <a:pos x="T0" y="T1"/>
                </a:cxn>
                <a:cxn ang="0">
                  <a:pos x="T2" y="T3"/>
                </a:cxn>
                <a:cxn ang="0">
                  <a:pos x="T4" y="T5"/>
                </a:cxn>
                <a:cxn ang="0">
                  <a:pos x="T6" y="T7"/>
                </a:cxn>
              </a:cxnLst>
              <a:rect l="0" t="0" r="r" b="b"/>
              <a:pathLst>
                <a:path w="171" h="112">
                  <a:moveTo>
                    <a:pt x="171" y="112"/>
                  </a:moveTo>
                  <a:lnTo>
                    <a:pt x="0" y="86"/>
                  </a:lnTo>
                  <a:lnTo>
                    <a:pt x="0" y="0"/>
                  </a:lnTo>
                  <a:lnTo>
                    <a:pt x="171" y="112"/>
                  </a:lnTo>
                  <a:close/>
                </a:path>
              </a:pathLst>
            </a:custGeom>
            <a:solidFill>
              <a:srgbClr val="15739D"/>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1" name="Freeform 30">
              <a:extLst>
                <a:ext uri="{FF2B5EF4-FFF2-40B4-BE49-F238E27FC236}">
                  <a16:creationId xmlns:a16="http://schemas.microsoft.com/office/drawing/2014/main" id="{8589BD33-8A09-45DD-8A1A-666482BFF036}"/>
                </a:ext>
              </a:extLst>
            </p:cNvPr>
            <p:cNvSpPr>
              <a:spLocks/>
            </p:cNvSpPr>
            <p:nvPr/>
          </p:nvSpPr>
          <p:spPr bwMode="auto">
            <a:xfrm>
              <a:off x="398463" y="539750"/>
              <a:ext cx="195262" cy="282575"/>
            </a:xfrm>
            <a:custGeom>
              <a:avLst/>
              <a:gdLst>
                <a:gd name="T0" fmla="*/ 123 w 123"/>
                <a:gd name="T1" fmla="*/ 36 h 178"/>
                <a:gd name="T2" fmla="*/ 123 w 123"/>
                <a:gd name="T3" fmla="*/ 178 h 178"/>
                <a:gd name="T4" fmla="*/ 28 w 123"/>
                <a:gd name="T5" fmla="*/ 128 h 178"/>
                <a:gd name="T6" fmla="*/ 0 w 123"/>
                <a:gd name="T7" fmla="*/ 57 h 178"/>
                <a:gd name="T8" fmla="*/ 62 w 123"/>
                <a:gd name="T9" fmla="*/ 0 h 178"/>
                <a:gd name="T10" fmla="*/ 123 w 123"/>
                <a:gd name="T11" fmla="*/ 36 h 178"/>
              </a:gdLst>
              <a:ahLst/>
              <a:cxnLst>
                <a:cxn ang="0">
                  <a:pos x="T0" y="T1"/>
                </a:cxn>
                <a:cxn ang="0">
                  <a:pos x="T2" y="T3"/>
                </a:cxn>
                <a:cxn ang="0">
                  <a:pos x="T4" y="T5"/>
                </a:cxn>
                <a:cxn ang="0">
                  <a:pos x="T6" y="T7"/>
                </a:cxn>
                <a:cxn ang="0">
                  <a:pos x="T8" y="T9"/>
                </a:cxn>
                <a:cxn ang="0">
                  <a:pos x="T10" y="T11"/>
                </a:cxn>
              </a:cxnLst>
              <a:rect l="0" t="0" r="r" b="b"/>
              <a:pathLst>
                <a:path w="123" h="178">
                  <a:moveTo>
                    <a:pt x="123" y="36"/>
                  </a:moveTo>
                  <a:lnTo>
                    <a:pt x="123" y="178"/>
                  </a:lnTo>
                  <a:lnTo>
                    <a:pt x="28" y="128"/>
                  </a:lnTo>
                  <a:lnTo>
                    <a:pt x="0" y="57"/>
                  </a:lnTo>
                  <a:lnTo>
                    <a:pt x="62" y="0"/>
                  </a:lnTo>
                  <a:lnTo>
                    <a:pt x="123" y="36"/>
                  </a:lnTo>
                  <a:close/>
                </a:path>
              </a:pathLst>
            </a:custGeom>
            <a:solidFill>
              <a:srgbClr val="15739D"/>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2" name="Freeform 31">
              <a:extLst>
                <a:ext uri="{FF2B5EF4-FFF2-40B4-BE49-F238E27FC236}">
                  <a16:creationId xmlns:a16="http://schemas.microsoft.com/office/drawing/2014/main" id="{7525F452-2F9B-43AF-85DB-AFA5DCC221B8}"/>
                </a:ext>
              </a:extLst>
            </p:cNvPr>
            <p:cNvSpPr>
              <a:spLocks/>
            </p:cNvSpPr>
            <p:nvPr/>
          </p:nvSpPr>
          <p:spPr bwMode="auto">
            <a:xfrm>
              <a:off x="12700" y="1481138"/>
              <a:ext cx="484187" cy="581025"/>
            </a:xfrm>
            <a:custGeom>
              <a:avLst/>
              <a:gdLst>
                <a:gd name="T0" fmla="*/ 257 w 305"/>
                <a:gd name="T1" fmla="*/ 0 h 366"/>
                <a:gd name="T2" fmla="*/ 305 w 305"/>
                <a:gd name="T3" fmla="*/ 192 h 366"/>
                <a:gd name="T4" fmla="*/ 105 w 305"/>
                <a:gd name="T5" fmla="*/ 366 h 366"/>
                <a:gd name="T6" fmla="*/ 34 w 305"/>
                <a:gd name="T7" fmla="*/ 366 h 366"/>
                <a:gd name="T8" fmla="*/ 0 w 305"/>
                <a:gd name="T9" fmla="*/ 304 h 366"/>
                <a:gd name="T10" fmla="*/ 91 w 305"/>
                <a:gd name="T11" fmla="*/ 157 h 366"/>
                <a:gd name="T12" fmla="*/ 255 w 305"/>
                <a:gd name="T13" fmla="*/ 3 h 366"/>
                <a:gd name="T14" fmla="*/ 257 w 305"/>
                <a:gd name="T15" fmla="*/ 0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66">
                  <a:moveTo>
                    <a:pt x="257" y="0"/>
                  </a:moveTo>
                  <a:lnTo>
                    <a:pt x="305" y="192"/>
                  </a:lnTo>
                  <a:lnTo>
                    <a:pt x="105" y="366"/>
                  </a:lnTo>
                  <a:lnTo>
                    <a:pt x="34" y="366"/>
                  </a:lnTo>
                  <a:lnTo>
                    <a:pt x="0" y="304"/>
                  </a:lnTo>
                  <a:lnTo>
                    <a:pt x="91" y="157"/>
                  </a:lnTo>
                  <a:lnTo>
                    <a:pt x="255" y="3"/>
                  </a:lnTo>
                  <a:lnTo>
                    <a:pt x="257" y="0"/>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3" name="Freeform 32">
              <a:extLst>
                <a:ext uri="{FF2B5EF4-FFF2-40B4-BE49-F238E27FC236}">
                  <a16:creationId xmlns:a16="http://schemas.microsoft.com/office/drawing/2014/main" id="{C303E802-CD87-4CAA-927C-3ADF63781516}"/>
                </a:ext>
              </a:extLst>
            </p:cNvPr>
            <p:cNvSpPr>
              <a:spLocks/>
            </p:cNvSpPr>
            <p:nvPr/>
          </p:nvSpPr>
          <p:spPr bwMode="auto">
            <a:xfrm>
              <a:off x="50800" y="1360488"/>
              <a:ext cx="366712" cy="369887"/>
            </a:xfrm>
            <a:custGeom>
              <a:avLst/>
              <a:gdLst>
                <a:gd name="T0" fmla="*/ 231 w 231"/>
                <a:gd name="T1" fmla="*/ 79 h 233"/>
                <a:gd name="T2" fmla="*/ 67 w 231"/>
                <a:gd name="T3" fmla="*/ 233 h 233"/>
                <a:gd name="T4" fmla="*/ 0 w 231"/>
                <a:gd name="T5" fmla="*/ 157 h 233"/>
                <a:gd name="T6" fmla="*/ 95 w 231"/>
                <a:gd name="T7" fmla="*/ 0 h 233"/>
                <a:gd name="T8" fmla="*/ 231 w 231"/>
                <a:gd name="T9" fmla="*/ 79 h 233"/>
              </a:gdLst>
              <a:ahLst/>
              <a:cxnLst>
                <a:cxn ang="0">
                  <a:pos x="T0" y="T1"/>
                </a:cxn>
                <a:cxn ang="0">
                  <a:pos x="T2" y="T3"/>
                </a:cxn>
                <a:cxn ang="0">
                  <a:pos x="T4" y="T5"/>
                </a:cxn>
                <a:cxn ang="0">
                  <a:pos x="T6" y="T7"/>
                </a:cxn>
                <a:cxn ang="0">
                  <a:pos x="T8" y="T9"/>
                </a:cxn>
              </a:cxnLst>
              <a:rect l="0" t="0" r="r" b="b"/>
              <a:pathLst>
                <a:path w="231" h="233">
                  <a:moveTo>
                    <a:pt x="231" y="79"/>
                  </a:moveTo>
                  <a:lnTo>
                    <a:pt x="67" y="233"/>
                  </a:lnTo>
                  <a:lnTo>
                    <a:pt x="0" y="157"/>
                  </a:lnTo>
                  <a:lnTo>
                    <a:pt x="95" y="0"/>
                  </a:lnTo>
                  <a:lnTo>
                    <a:pt x="231" y="79"/>
                  </a:lnTo>
                  <a:close/>
                </a:path>
              </a:pathLst>
            </a:custGeom>
            <a:solidFill>
              <a:srgbClr val="0F2A4B"/>
            </a:solidFill>
            <a:ln>
              <a:noFill/>
            </a:ln>
            <a:effectLst>
              <a:outerShdw blurRad="190500" dist="228600" dir="2700000" algn="ctr">
                <a:srgbClr val="000000">
                  <a:alpha val="30000"/>
                </a:srgbClr>
              </a:outerShdw>
            </a:effectLst>
            <a:sp3d prstMaterial="matte">
              <a:bevelT w="1270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4" name="Freeform 33">
              <a:extLst>
                <a:ext uri="{FF2B5EF4-FFF2-40B4-BE49-F238E27FC236}">
                  <a16:creationId xmlns:a16="http://schemas.microsoft.com/office/drawing/2014/main" id="{C8D9FF68-215C-4CDD-8B63-5E45C90E8642}"/>
                </a:ext>
              </a:extLst>
            </p:cNvPr>
            <p:cNvSpPr>
              <a:spLocks/>
            </p:cNvSpPr>
            <p:nvPr/>
          </p:nvSpPr>
          <p:spPr bwMode="auto">
            <a:xfrm>
              <a:off x="12700" y="20638"/>
              <a:ext cx="1585912" cy="2779712"/>
            </a:xfrm>
            <a:custGeom>
              <a:avLst/>
              <a:gdLst>
                <a:gd name="T0" fmla="*/ 220 w 420"/>
                <a:gd name="T1" fmla="*/ 38 h 738"/>
                <a:gd name="T2" fmla="*/ 202 w 420"/>
                <a:gd name="T3" fmla="*/ 0 h 738"/>
                <a:gd name="T4" fmla="*/ 164 w 420"/>
                <a:gd name="T5" fmla="*/ 68 h 738"/>
                <a:gd name="T6" fmla="*/ 160 w 420"/>
                <a:gd name="T7" fmla="*/ 74 h 738"/>
                <a:gd name="T8" fmla="*/ 128 w 420"/>
                <a:gd name="T9" fmla="*/ 102 h 738"/>
                <a:gd name="T10" fmla="*/ 128 w 420"/>
                <a:gd name="T11" fmla="*/ 138 h 738"/>
                <a:gd name="T12" fmla="*/ 102 w 420"/>
                <a:gd name="T13" fmla="*/ 162 h 738"/>
                <a:gd name="T14" fmla="*/ 114 w 420"/>
                <a:gd name="T15" fmla="*/ 192 h 738"/>
                <a:gd name="T16" fmla="*/ 92 w 420"/>
                <a:gd name="T17" fmla="*/ 224 h 738"/>
                <a:gd name="T18" fmla="*/ 92 w 420"/>
                <a:gd name="T19" fmla="*/ 260 h 738"/>
                <a:gd name="T20" fmla="*/ 50 w 420"/>
                <a:gd name="T21" fmla="*/ 308 h 738"/>
                <a:gd name="T22" fmla="*/ 50 w 420"/>
                <a:gd name="T23" fmla="*/ 356 h 738"/>
                <a:gd name="T24" fmla="*/ 10 w 420"/>
                <a:gd name="T25" fmla="*/ 422 h 738"/>
                <a:gd name="T26" fmla="*/ 38 w 420"/>
                <a:gd name="T27" fmla="*/ 454 h 738"/>
                <a:gd name="T28" fmla="*/ 0 w 420"/>
                <a:gd name="T29" fmla="*/ 516 h 738"/>
                <a:gd name="T30" fmla="*/ 14 w 420"/>
                <a:gd name="T31" fmla="*/ 542 h 738"/>
                <a:gd name="T32" fmla="*/ 44 w 420"/>
                <a:gd name="T33" fmla="*/ 542 h 738"/>
                <a:gd name="T34" fmla="*/ 42 w 420"/>
                <a:gd name="T35" fmla="*/ 640 h 738"/>
                <a:gd name="T36" fmla="*/ 114 w 420"/>
                <a:gd name="T37" fmla="*/ 675 h 738"/>
                <a:gd name="T38" fmla="*/ 116 w 420"/>
                <a:gd name="T39" fmla="*/ 676 h 738"/>
                <a:gd name="T40" fmla="*/ 178 w 420"/>
                <a:gd name="T41" fmla="*/ 738 h 738"/>
                <a:gd name="T42" fmla="*/ 310 w 420"/>
                <a:gd name="T43" fmla="*/ 722 h 738"/>
                <a:gd name="T44" fmla="*/ 356 w 420"/>
                <a:gd name="T45" fmla="*/ 658 h 738"/>
                <a:gd name="T46" fmla="*/ 344 w 420"/>
                <a:gd name="T47" fmla="*/ 608 h 738"/>
                <a:gd name="T48" fmla="*/ 374 w 420"/>
                <a:gd name="T49" fmla="*/ 574 h 738"/>
                <a:gd name="T50" fmla="*/ 374 w 420"/>
                <a:gd name="T51" fmla="*/ 496 h 738"/>
                <a:gd name="T52" fmla="*/ 356 w 420"/>
                <a:gd name="T53" fmla="*/ 464 h 738"/>
                <a:gd name="T54" fmla="*/ 420 w 420"/>
                <a:gd name="T55" fmla="*/ 360 h 738"/>
                <a:gd name="T56" fmla="*/ 382 w 420"/>
                <a:gd name="T57" fmla="*/ 326 h 738"/>
                <a:gd name="T58" fmla="*/ 384 w 420"/>
                <a:gd name="T59" fmla="*/ 274 h 738"/>
                <a:gd name="T60" fmla="*/ 334 w 420"/>
                <a:gd name="T61" fmla="*/ 262 h 738"/>
                <a:gd name="T62" fmla="*/ 330 w 420"/>
                <a:gd name="T63" fmla="*/ 208 h 738"/>
                <a:gd name="T64" fmla="*/ 290 w 420"/>
                <a:gd name="T65" fmla="*/ 170 h 738"/>
                <a:gd name="T66" fmla="*/ 288 w 420"/>
                <a:gd name="T67" fmla="*/ 128 h 738"/>
                <a:gd name="T68" fmla="*/ 254 w 420"/>
                <a:gd name="T69" fmla="*/ 108 h 738"/>
                <a:gd name="T70" fmla="*/ 268 w 420"/>
                <a:gd name="T71" fmla="*/ 86 h 738"/>
                <a:gd name="T72" fmla="*/ 220 w 420"/>
                <a:gd name="T73" fmla="*/ 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0" h="738">
                  <a:moveTo>
                    <a:pt x="220" y="38"/>
                  </a:moveTo>
                  <a:cubicBezTo>
                    <a:pt x="211" y="26"/>
                    <a:pt x="203" y="12"/>
                    <a:pt x="202" y="0"/>
                  </a:cubicBezTo>
                  <a:cubicBezTo>
                    <a:pt x="164" y="68"/>
                    <a:pt x="164" y="68"/>
                    <a:pt x="164" y="68"/>
                  </a:cubicBezTo>
                  <a:cubicBezTo>
                    <a:pt x="160" y="74"/>
                    <a:pt x="160" y="74"/>
                    <a:pt x="160" y="74"/>
                  </a:cubicBezTo>
                  <a:cubicBezTo>
                    <a:pt x="128" y="102"/>
                    <a:pt x="128" y="102"/>
                    <a:pt x="128" y="102"/>
                  </a:cubicBezTo>
                  <a:cubicBezTo>
                    <a:pt x="128" y="138"/>
                    <a:pt x="128" y="138"/>
                    <a:pt x="128" y="138"/>
                  </a:cubicBezTo>
                  <a:cubicBezTo>
                    <a:pt x="102" y="162"/>
                    <a:pt x="102" y="162"/>
                    <a:pt x="102" y="162"/>
                  </a:cubicBezTo>
                  <a:cubicBezTo>
                    <a:pt x="114" y="192"/>
                    <a:pt x="114" y="192"/>
                    <a:pt x="114" y="192"/>
                  </a:cubicBezTo>
                  <a:cubicBezTo>
                    <a:pt x="92" y="224"/>
                    <a:pt x="92" y="224"/>
                    <a:pt x="92" y="224"/>
                  </a:cubicBezTo>
                  <a:cubicBezTo>
                    <a:pt x="92" y="260"/>
                    <a:pt x="92" y="260"/>
                    <a:pt x="92" y="260"/>
                  </a:cubicBezTo>
                  <a:cubicBezTo>
                    <a:pt x="50" y="308"/>
                    <a:pt x="50" y="308"/>
                    <a:pt x="50" y="308"/>
                  </a:cubicBezTo>
                  <a:cubicBezTo>
                    <a:pt x="50" y="356"/>
                    <a:pt x="50" y="356"/>
                    <a:pt x="50" y="356"/>
                  </a:cubicBezTo>
                  <a:cubicBezTo>
                    <a:pt x="10" y="422"/>
                    <a:pt x="10" y="422"/>
                    <a:pt x="10" y="422"/>
                  </a:cubicBezTo>
                  <a:cubicBezTo>
                    <a:pt x="38" y="454"/>
                    <a:pt x="38" y="454"/>
                    <a:pt x="38" y="454"/>
                  </a:cubicBezTo>
                  <a:cubicBezTo>
                    <a:pt x="0" y="516"/>
                    <a:pt x="0" y="516"/>
                    <a:pt x="0" y="516"/>
                  </a:cubicBezTo>
                  <a:cubicBezTo>
                    <a:pt x="14" y="542"/>
                    <a:pt x="14" y="542"/>
                    <a:pt x="14" y="542"/>
                  </a:cubicBezTo>
                  <a:cubicBezTo>
                    <a:pt x="44" y="542"/>
                    <a:pt x="44" y="542"/>
                    <a:pt x="44" y="542"/>
                  </a:cubicBezTo>
                  <a:cubicBezTo>
                    <a:pt x="42" y="640"/>
                    <a:pt x="42" y="640"/>
                    <a:pt x="42" y="640"/>
                  </a:cubicBezTo>
                  <a:cubicBezTo>
                    <a:pt x="114" y="675"/>
                    <a:pt x="114" y="675"/>
                    <a:pt x="114" y="675"/>
                  </a:cubicBezTo>
                  <a:cubicBezTo>
                    <a:pt x="116" y="676"/>
                    <a:pt x="116" y="676"/>
                    <a:pt x="116" y="676"/>
                  </a:cubicBezTo>
                  <a:cubicBezTo>
                    <a:pt x="178" y="738"/>
                    <a:pt x="178" y="738"/>
                    <a:pt x="178" y="738"/>
                  </a:cubicBezTo>
                  <a:cubicBezTo>
                    <a:pt x="310" y="722"/>
                    <a:pt x="310" y="722"/>
                    <a:pt x="310" y="722"/>
                  </a:cubicBezTo>
                  <a:cubicBezTo>
                    <a:pt x="356" y="658"/>
                    <a:pt x="356" y="658"/>
                    <a:pt x="356" y="658"/>
                  </a:cubicBezTo>
                  <a:cubicBezTo>
                    <a:pt x="344" y="608"/>
                    <a:pt x="344" y="608"/>
                    <a:pt x="344" y="608"/>
                  </a:cubicBezTo>
                  <a:cubicBezTo>
                    <a:pt x="374" y="574"/>
                    <a:pt x="374" y="574"/>
                    <a:pt x="374" y="574"/>
                  </a:cubicBezTo>
                  <a:cubicBezTo>
                    <a:pt x="374" y="496"/>
                    <a:pt x="374" y="496"/>
                    <a:pt x="374" y="496"/>
                  </a:cubicBezTo>
                  <a:cubicBezTo>
                    <a:pt x="356" y="464"/>
                    <a:pt x="356" y="464"/>
                    <a:pt x="356" y="464"/>
                  </a:cubicBezTo>
                  <a:cubicBezTo>
                    <a:pt x="420" y="360"/>
                    <a:pt x="420" y="360"/>
                    <a:pt x="420" y="360"/>
                  </a:cubicBezTo>
                  <a:cubicBezTo>
                    <a:pt x="382" y="326"/>
                    <a:pt x="382" y="326"/>
                    <a:pt x="382" y="326"/>
                  </a:cubicBezTo>
                  <a:cubicBezTo>
                    <a:pt x="384" y="274"/>
                    <a:pt x="384" y="274"/>
                    <a:pt x="384" y="274"/>
                  </a:cubicBezTo>
                  <a:cubicBezTo>
                    <a:pt x="334" y="262"/>
                    <a:pt x="334" y="262"/>
                    <a:pt x="334" y="262"/>
                  </a:cubicBezTo>
                  <a:cubicBezTo>
                    <a:pt x="330" y="208"/>
                    <a:pt x="330" y="208"/>
                    <a:pt x="330" y="208"/>
                  </a:cubicBezTo>
                  <a:cubicBezTo>
                    <a:pt x="290" y="170"/>
                    <a:pt x="290" y="170"/>
                    <a:pt x="290" y="170"/>
                  </a:cubicBezTo>
                  <a:cubicBezTo>
                    <a:pt x="288" y="128"/>
                    <a:pt x="288" y="128"/>
                    <a:pt x="288" y="128"/>
                  </a:cubicBezTo>
                  <a:cubicBezTo>
                    <a:pt x="254" y="108"/>
                    <a:pt x="254" y="108"/>
                    <a:pt x="254" y="108"/>
                  </a:cubicBezTo>
                  <a:cubicBezTo>
                    <a:pt x="268" y="86"/>
                    <a:pt x="268" y="86"/>
                    <a:pt x="268" y="86"/>
                  </a:cubicBezTo>
                  <a:cubicBezTo>
                    <a:pt x="268" y="86"/>
                    <a:pt x="240" y="64"/>
                    <a:pt x="220" y="38"/>
                  </a:cubicBezTo>
                  <a:close/>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dirty="0">
                <a:ln>
                  <a:noFill/>
                </a:ln>
                <a:solidFill>
                  <a:prstClr val="black"/>
                </a:solidFill>
                <a:effectLst/>
                <a:uLnTx/>
                <a:uFillTx/>
                <a:latin typeface="Open Sans Light" panose="020B0306030504020204" pitchFamily="34" charset="0"/>
                <a:ea typeface="+mn-ea"/>
                <a:cs typeface="+mn-cs"/>
              </a:endParaRPr>
            </a:p>
          </p:txBody>
        </p:sp>
        <p:sp>
          <p:nvSpPr>
            <p:cNvPr id="45" name="Freeform 34">
              <a:extLst>
                <a:ext uri="{FF2B5EF4-FFF2-40B4-BE49-F238E27FC236}">
                  <a16:creationId xmlns:a16="http://schemas.microsoft.com/office/drawing/2014/main" id="{B32A16B1-E2E8-4990-9423-F20401BBA226}"/>
                </a:ext>
              </a:extLst>
            </p:cNvPr>
            <p:cNvSpPr>
              <a:spLocks/>
            </p:cNvSpPr>
            <p:nvPr/>
          </p:nvSpPr>
          <p:spPr bwMode="auto">
            <a:xfrm>
              <a:off x="631825" y="163513"/>
              <a:ext cx="627062" cy="738187"/>
            </a:xfrm>
            <a:custGeom>
              <a:avLst/>
              <a:gdLst>
                <a:gd name="T0" fmla="*/ 395 w 395"/>
                <a:gd name="T1" fmla="*/ 403 h 465"/>
                <a:gd name="T2" fmla="*/ 288 w 395"/>
                <a:gd name="T3" fmla="*/ 380 h 465"/>
                <a:gd name="T4" fmla="*/ 169 w 395"/>
                <a:gd name="T5" fmla="*/ 465 h 465"/>
                <a:gd name="T6" fmla="*/ 110 w 395"/>
                <a:gd name="T7" fmla="*/ 429 h 465"/>
                <a:gd name="T8" fmla="*/ 110 w 395"/>
                <a:gd name="T9" fmla="*/ 194 h 465"/>
                <a:gd name="T10" fmla="*/ 133 w 395"/>
                <a:gd name="T11" fmla="*/ 0 h 465"/>
                <a:gd name="T12" fmla="*/ 0 w 395"/>
                <a:gd name="T13" fmla="*/ 71 h 465"/>
                <a:gd name="T14" fmla="*/ 24 w 395"/>
                <a:gd name="T15" fmla="*/ 194 h 465"/>
                <a:gd name="T16" fmla="*/ 110 w 395"/>
                <a:gd name="T17" fmla="*/ 194 h 465"/>
                <a:gd name="T18" fmla="*/ 214 w 395"/>
                <a:gd name="T19" fmla="*/ 166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465">
                  <a:moveTo>
                    <a:pt x="395" y="403"/>
                  </a:moveTo>
                  <a:lnTo>
                    <a:pt x="288" y="380"/>
                  </a:lnTo>
                  <a:lnTo>
                    <a:pt x="169" y="465"/>
                  </a:lnTo>
                  <a:lnTo>
                    <a:pt x="110" y="429"/>
                  </a:lnTo>
                  <a:lnTo>
                    <a:pt x="110" y="194"/>
                  </a:lnTo>
                  <a:lnTo>
                    <a:pt x="133" y="0"/>
                  </a:lnTo>
                  <a:lnTo>
                    <a:pt x="0" y="71"/>
                  </a:lnTo>
                  <a:lnTo>
                    <a:pt x="24" y="194"/>
                  </a:lnTo>
                  <a:lnTo>
                    <a:pt x="110" y="194"/>
                  </a:lnTo>
                  <a:lnTo>
                    <a:pt x="214" y="166"/>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6" name="Freeform 35">
              <a:extLst>
                <a:ext uri="{FF2B5EF4-FFF2-40B4-BE49-F238E27FC236}">
                  <a16:creationId xmlns:a16="http://schemas.microsoft.com/office/drawing/2014/main" id="{73AC7A27-EAEF-4EC8-8EF7-E10D8431E04F}"/>
                </a:ext>
              </a:extLst>
            </p:cNvPr>
            <p:cNvSpPr>
              <a:spLocks/>
            </p:cNvSpPr>
            <p:nvPr/>
          </p:nvSpPr>
          <p:spPr bwMode="auto">
            <a:xfrm>
              <a:off x="496888" y="471488"/>
              <a:ext cx="173037" cy="125412"/>
            </a:xfrm>
            <a:custGeom>
              <a:avLst/>
              <a:gdLst>
                <a:gd name="T0" fmla="*/ 0 w 109"/>
                <a:gd name="T1" fmla="*/ 43 h 79"/>
                <a:gd name="T2" fmla="*/ 61 w 109"/>
                <a:gd name="T3" fmla="*/ 79 h 79"/>
                <a:gd name="T4" fmla="*/ 109 w 109"/>
                <a:gd name="T5" fmla="*/ 0 h 79"/>
              </a:gdLst>
              <a:ahLst/>
              <a:cxnLst>
                <a:cxn ang="0">
                  <a:pos x="T0" y="T1"/>
                </a:cxn>
                <a:cxn ang="0">
                  <a:pos x="T2" y="T3"/>
                </a:cxn>
                <a:cxn ang="0">
                  <a:pos x="T4" y="T5"/>
                </a:cxn>
              </a:cxnLst>
              <a:rect l="0" t="0" r="r" b="b"/>
              <a:pathLst>
                <a:path w="109" h="79">
                  <a:moveTo>
                    <a:pt x="0" y="43"/>
                  </a:moveTo>
                  <a:lnTo>
                    <a:pt x="61" y="79"/>
                  </a:lnTo>
                  <a:lnTo>
                    <a:pt x="109" y="0"/>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7" name="Freeform 36">
              <a:extLst>
                <a:ext uri="{FF2B5EF4-FFF2-40B4-BE49-F238E27FC236}">
                  <a16:creationId xmlns:a16="http://schemas.microsoft.com/office/drawing/2014/main" id="{66315AD7-4329-4E86-95D5-57613995C982}"/>
                </a:ext>
              </a:extLst>
            </p:cNvPr>
            <p:cNvSpPr>
              <a:spLocks/>
            </p:cNvSpPr>
            <p:nvPr/>
          </p:nvSpPr>
          <p:spPr bwMode="auto">
            <a:xfrm>
              <a:off x="442913" y="596900"/>
              <a:ext cx="150812" cy="225425"/>
            </a:xfrm>
            <a:custGeom>
              <a:avLst/>
              <a:gdLst>
                <a:gd name="T0" fmla="*/ 95 w 95"/>
                <a:gd name="T1" fmla="*/ 0 h 142"/>
                <a:gd name="T2" fmla="*/ 95 w 95"/>
                <a:gd name="T3" fmla="*/ 142 h 142"/>
                <a:gd name="T4" fmla="*/ 0 w 95"/>
                <a:gd name="T5" fmla="*/ 92 h 142"/>
              </a:gdLst>
              <a:ahLst/>
              <a:cxnLst>
                <a:cxn ang="0">
                  <a:pos x="T0" y="T1"/>
                </a:cxn>
                <a:cxn ang="0">
                  <a:pos x="T2" y="T3"/>
                </a:cxn>
                <a:cxn ang="0">
                  <a:pos x="T4" y="T5"/>
                </a:cxn>
              </a:cxnLst>
              <a:rect l="0" t="0" r="r" b="b"/>
              <a:pathLst>
                <a:path w="95" h="142">
                  <a:moveTo>
                    <a:pt x="95" y="0"/>
                  </a:moveTo>
                  <a:lnTo>
                    <a:pt x="95" y="142"/>
                  </a:lnTo>
                  <a:lnTo>
                    <a:pt x="0" y="92"/>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8" name="Freeform 37">
              <a:extLst>
                <a:ext uri="{FF2B5EF4-FFF2-40B4-BE49-F238E27FC236}">
                  <a16:creationId xmlns:a16="http://schemas.microsoft.com/office/drawing/2014/main" id="{C56DFE10-7A35-4BE7-8A2F-A815A866C716}"/>
                </a:ext>
              </a:extLst>
            </p:cNvPr>
            <p:cNvSpPr>
              <a:spLocks/>
            </p:cNvSpPr>
            <p:nvPr/>
          </p:nvSpPr>
          <p:spPr bwMode="auto">
            <a:xfrm>
              <a:off x="360363" y="822325"/>
              <a:ext cx="271462" cy="219075"/>
            </a:xfrm>
            <a:custGeom>
              <a:avLst/>
              <a:gdLst>
                <a:gd name="T0" fmla="*/ 147 w 171"/>
                <a:gd name="T1" fmla="*/ 0 h 138"/>
                <a:gd name="T2" fmla="*/ 171 w 171"/>
                <a:gd name="T3" fmla="*/ 138 h 138"/>
                <a:gd name="T4" fmla="*/ 0 w 171"/>
                <a:gd name="T5" fmla="*/ 26 h 138"/>
              </a:gdLst>
              <a:ahLst/>
              <a:cxnLst>
                <a:cxn ang="0">
                  <a:pos x="T0" y="T1"/>
                </a:cxn>
                <a:cxn ang="0">
                  <a:pos x="T2" y="T3"/>
                </a:cxn>
                <a:cxn ang="0">
                  <a:pos x="T4" y="T5"/>
                </a:cxn>
              </a:cxnLst>
              <a:rect l="0" t="0" r="r" b="b"/>
              <a:pathLst>
                <a:path w="171" h="138">
                  <a:moveTo>
                    <a:pt x="147" y="0"/>
                  </a:moveTo>
                  <a:lnTo>
                    <a:pt x="171" y="138"/>
                  </a:lnTo>
                  <a:lnTo>
                    <a:pt x="0" y="26"/>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49" name="Freeform 38">
              <a:extLst>
                <a:ext uri="{FF2B5EF4-FFF2-40B4-BE49-F238E27FC236}">
                  <a16:creationId xmlns:a16="http://schemas.microsoft.com/office/drawing/2014/main" id="{F525A67A-C152-4FB5-99B5-40B0B52A5703}"/>
                </a:ext>
              </a:extLst>
            </p:cNvPr>
            <p:cNvSpPr>
              <a:spLocks/>
            </p:cNvSpPr>
            <p:nvPr/>
          </p:nvSpPr>
          <p:spPr bwMode="auto">
            <a:xfrm>
              <a:off x="360363" y="844550"/>
              <a:ext cx="446087" cy="196850"/>
            </a:xfrm>
            <a:custGeom>
              <a:avLst/>
              <a:gdLst>
                <a:gd name="T0" fmla="*/ 0 w 281"/>
                <a:gd name="T1" fmla="*/ 98 h 124"/>
                <a:gd name="T2" fmla="*/ 171 w 281"/>
                <a:gd name="T3" fmla="*/ 124 h 124"/>
                <a:gd name="T4" fmla="*/ 281 w 281"/>
                <a:gd name="T5" fmla="*/ 0 h 124"/>
              </a:gdLst>
              <a:ahLst/>
              <a:cxnLst>
                <a:cxn ang="0">
                  <a:pos x="T0" y="T1"/>
                </a:cxn>
                <a:cxn ang="0">
                  <a:pos x="T2" y="T3"/>
                </a:cxn>
                <a:cxn ang="0">
                  <a:pos x="T4" y="T5"/>
                </a:cxn>
              </a:cxnLst>
              <a:rect l="0" t="0" r="r" b="b"/>
              <a:pathLst>
                <a:path w="281" h="124">
                  <a:moveTo>
                    <a:pt x="0" y="98"/>
                  </a:moveTo>
                  <a:lnTo>
                    <a:pt x="171" y="124"/>
                  </a:lnTo>
                  <a:lnTo>
                    <a:pt x="281" y="0"/>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0" name="Freeform 39">
              <a:extLst>
                <a:ext uri="{FF2B5EF4-FFF2-40B4-BE49-F238E27FC236}">
                  <a16:creationId xmlns:a16="http://schemas.microsoft.com/office/drawing/2014/main" id="{FB09BA18-55B6-41C4-B1B9-F7DA1D40C42C}"/>
                </a:ext>
              </a:extLst>
            </p:cNvPr>
            <p:cNvSpPr>
              <a:spLocks/>
            </p:cNvSpPr>
            <p:nvPr/>
          </p:nvSpPr>
          <p:spPr bwMode="auto">
            <a:xfrm>
              <a:off x="157163" y="901700"/>
              <a:ext cx="742950" cy="828675"/>
            </a:xfrm>
            <a:custGeom>
              <a:avLst/>
              <a:gdLst>
                <a:gd name="T0" fmla="*/ 299 w 468"/>
                <a:gd name="T1" fmla="*/ 88 h 522"/>
                <a:gd name="T2" fmla="*/ 347 w 468"/>
                <a:gd name="T3" fmla="*/ 147 h 522"/>
                <a:gd name="T4" fmla="*/ 382 w 468"/>
                <a:gd name="T5" fmla="*/ 190 h 522"/>
                <a:gd name="T6" fmla="*/ 468 w 468"/>
                <a:gd name="T7" fmla="*/ 0 h 522"/>
                <a:gd name="T8" fmla="*/ 347 w 468"/>
                <a:gd name="T9" fmla="*/ 147 h 522"/>
                <a:gd name="T10" fmla="*/ 166 w 468"/>
                <a:gd name="T11" fmla="*/ 363 h 522"/>
                <a:gd name="T12" fmla="*/ 164 w 468"/>
                <a:gd name="T13" fmla="*/ 368 h 522"/>
                <a:gd name="T14" fmla="*/ 28 w 468"/>
                <a:gd name="T15" fmla="*/ 289 h 522"/>
                <a:gd name="T16" fmla="*/ 299 w 468"/>
                <a:gd name="T17" fmla="*/ 88 h 522"/>
                <a:gd name="T18" fmla="*/ 166 w 468"/>
                <a:gd name="T19" fmla="*/ 363 h 522"/>
                <a:gd name="T20" fmla="*/ 164 w 468"/>
                <a:gd name="T21" fmla="*/ 368 h 522"/>
                <a:gd name="T22" fmla="*/ 0 w 468"/>
                <a:gd name="T23" fmla="*/ 52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8" h="522">
                  <a:moveTo>
                    <a:pt x="299" y="88"/>
                  </a:moveTo>
                  <a:lnTo>
                    <a:pt x="347" y="147"/>
                  </a:lnTo>
                  <a:lnTo>
                    <a:pt x="382" y="190"/>
                  </a:lnTo>
                  <a:lnTo>
                    <a:pt x="468" y="0"/>
                  </a:lnTo>
                  <a:lnTo>
                    <a:pt x="347" y="147"/>
                  </a:lnTo>
                  <a:lnTo>
                    <a:pt x="166" y="363"/>
                  </a:lnTo>
                  <a:lnTo>
                    <a:pt x="164" y="368"/>
                  </a:lnTo>
                  <a:lnTo>
                    <a:pt x="28" y="289"/>
                  </a:lnTo>
                  <a:lnTo>
                    <a:pt x="299" y="88"/>
                  </a:lnTo>
                  <a:lnTo>
                    <a:pt x="166" y="363"/>
                  </a:lnTo>
                  <a:lnTo>
                    <a:pt x="164" y="368"/>
                  </a:lnTo>
                  <a:lnTo>
                    <a:pt x="0" y="522"/>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1" name="Line 40">
              <a:extLst>
                <a:ext uri="{FF2B5EF4-FFF2-40B4-BE49-F238E27FC236}">
                  <a16:creationId xmlns:a16="http://schemas.microsoft.com/office/drawing/2014/main" id="{90272448-B504-4DF2-AC7D-9B8F0B687C9B}"/>
                </a:ext>
              </a:extLst>
            </p:cNvPr>
            <p:cNvSpPr>
              <a:spLocks noChangeShapeType="1"/>
            </p:cNvSpPr>
            <p:nvPr/>
          </p:nvSpPr>
          <p:spPr bwMode="auto">
            <a:xfrm>
              <a:off x="1168400" y="2182813"/>
              <a:ext cx="188912" cy="315912"/>
            </a:xfrm>
            <a:prstGeom prst="line">
              <a:avLst/>
            </a:pr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2" name="Freeform 41">
              <a:extLst>
                <a:ext uri="{FF2B5EF4-FFF2-40B4-BE49-F238E27FC236}">
                  <a16:creationId xmlns:a16="http://schemas.microsoft.com/office/drawing/2014/main" id="{9AA29A6F-DDDC-407D-AD71-64BA2793814A}"/>
                </a:ext>
              </a:extLst>
            </p:cNvPr>
            <p:cNvSpPr>
              <a:spLocks/>
            </p:cNvSpPr>
            <p:nvPr/>
          </p:nvSpPr>
          <p:spPr bwMode="auto">
            <a:xfrm>
              <a:off x="417513" y="1462088"/>
              <a:ext cx="750887" cy="720725"/>
            </a:xfrm>
            <a:custGeom>
              <a:avLst/>
              <a:gdLst>
                <a:gd name="T0" fmla="*/ 0 w 473"/>
                <a:gd name="T1" fmla="*/ 0 h 454"/>
                <a:gd name="T2" fmla="*/ 2 w 473"/>
                <a:gd name="T3" fmla="*/ 10 h 454"/>
                <a:gd name="T4" fmla="*/ 2 w 473"/>
                <a:gd name="T5" fmla="*/ 10 h 454"/>
                <a:gd name="T6" fmla="*/ 2 w 473"/>
                <a:gd name="T7" fmla="*/ 12 h 454"/>
                <a:gd name="T8" fmla="*/ 50 w 473"/>
                <a:gd name="T9" fmla="*/ 204 h 454"/>
                <a:gd name="T10" fmla="*/ 333 w 473"/>
                <a:gd name="T11" fmla="*/ 219 h 454"/>
                <a:gd name="T12" fmla="*/ 468 w 473"/>
                <a:gd name="T13" fmla="*/ 444 h 454"/>
                <a:gd name="T14" fmla="*/ 473 w 473"/>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3" h="454">
                  <a:moveTo>
                    <a:pt x="0" y="0"/>
                  </a:moveTo>
                  <a:lnTo>
                    <a:pt x="2" y="10"/>
                  </a:lnTo>
                  <a:lnTo>
                    <a:pt x="2" y="10"/>
                  </a:lnTo>
                  <a:lnTo>
                    <a:pt x="2" y="12"/>
                  </a:lnTo>
                  <a:lnTo>
                    <a:pt x="50" y="204"/>
                  </a:lnTo>
                  <a:lnTo>
                    <a:pt x="333" y="219"/>
                  </a:lnTo>
                  <a:lnTo>
                    <a:pt x="468" y="444"/>
                  </a:lnTo>
                  <a:lnTo>
                    <a:pt x="473" y="454"/>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3" name="Freeform 42">
              <a:extLst>
                <a:ext uri="{FF2B5EF4-FFF2-40B4-BE49-F238E27FC236}">
                  <a16:creationId xmlns:a16="http://schemas.microsoft.com/office/drawing/2014/main" id="{2616B15F-78DC-4ABF-AE4D-BC9CDB8164FC}"/>
                </a:ext>
              </a:extLst>
            </p:cNvPr>
            <p:cNvSpPr>
              <a:spLocks/>
            </p:cNvSpPr>
            <p:nvPr/>
          </p:nvSpPr>
          <p:spPr bwMode="auto">
            <a:xfrm>
              <a:off x="442913" y="2166938"/>
              <a:ext cx="717550" cy="395287"/>
            </a:xfrm>
            <a:custGeom>
              <a:avLst/>
              <a:gdLst>
                <a:gd name="T0" fmla="*/ 452 w 452"/>
                <a:gd name="T1" fmla="*/ 0 h 249"/>
                <a:gd name="T2" fmla="*/ 167 w 452"/>
                <a:gd name="T3" fmla="*/ 157 h 249"/>
                <a:gd name="T4" fmla="*/ 0 w 452"/>
                <a:gd name="T5" fmla="*/ 249 h 249"/>
              </a:gdLst>
              <a:ahLst/>
              <a:cxnLst>
                <a:cxn ang="0">
                  <a:pos x="T0" y="T1"/>
                </a:cxn>
                <a:cxn ang="0">
                  <a:pos x="T2" y="T3"/>
                </a:cxn>
                <a:cxn ang="0">
                  <a:pos x="T4" y="T5"/>
                </a:cxn>
              </a:cxnLst>
              <a:rect l="0" t="0" r="r" b="b"/>
              <a:pathLst>
                <a:path w="452" h="249">
                  <a:moveTo>
                    <a:pt x="452" y="0"/>
                  </a:moveTo>
                  <a:lnTo>
                    <a:pt x="167" y="157"/>
                  </a:lnTo>
                  <a:lnTo>
                    <a:pt x="0" y="249"/>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4" name="Freeform 43">
              <a:extLst>
                <a:ext uri="{FF2B5EF4-FFF2-40B4-BE49-F238E27FC236}">
                  <a16:creationId xmlns:a16="http://schemas.microsoft.com/office/drawing/2014/main" id="{B8B307F7-7ABD-4F3B-A517-F0A1C37077A0}"/>
                </a:ext>
              </a:extLst>
            </p:cNvPr>
            <p:cNvSpPr>
              <a:spLocks/>
            </p:cNvSpPr>
            <p:nvPr/>
          </p:nvSpPr>
          <p:spPr bwMode="auto">
            <a:xfrm>
              <a:off x="179388" y="1785938"/>
              <a:ext cx="1003300" cy="954087"/>
            </a:xfrm>
            <a:custGeom>
              <a:avLst/>
              <a:gdLst>
                <a:gd name="T0" fmla="*/ 632 w 632"/>
                <a:gd name="T1" fmla="*/ 601 h 601"/>
                <a:gd name="T2" fmla="*/ 333 w 632"/>
                <a:gd name="T3" fmla="*/ 397 h 601"/>
                <a:gd name="T4" fmla="*/ 0 w 632"/>
                <a:gd name="T5" fmla="*/ 174 h 601"/>
                <a:gd name="T6" fmla="*/ 200 w 632"/>
                <a:gd name="T7" fmla="*/ 0 h 601"/>
              </a:gdLst>
              <a:ahLst/>
              <a:cxnLst>
                <a:cxn ang="0">
                  <a:pos x="T0" y="T1"/>
                </a:cxn>
                <a:cxn ang="0">
                  <a:pos x="T2" y="T3"/>
                </a:cxn>
                <a:cxn ang="0">
                  <a:pos x="T4" y="T5"/>
                </a:cxn>
                <a:cxn ang="0">
                  <a:pos x="T6" y="T7"/>
                </a:cxn>
              </a:cxnLst>
              <a:rect l="0" t="0" r="r" b="b"/>
              <a:pathLst>
                <a:path w="632" h="601">
                  <a:moveTo>
                    <a:pt x="632" y="601"/>
                  </a:moveTo>
                  <a:lnTo>
                    <a:pt x="333" y="397"/>
                  </a:lnTo>
                  <a:lnTo>
                    <a:pt x="0" y="174"/>
                  </a:lnTo>
                  <a:lnTo>
                    <a:pt x="200" y="0"/>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5" name="Freeform 44">
              <a:extLst>
                <a:ext uri="{FF2B5EF4-FFF2-40B4-BE49-F238E27FC236}">
                  <a16:creationId xmlns:a16="http://schemas.microsoft.com/office/drawing/2014/main" id="{B1DC71EF-E922-40F9-8B25-4BBFD642A854}"/>
                </a:ext>
              </a:extLst>
            </p:cNvPr>
            <p:cNvSpPr>
              <a:spLocks/>
            </p:cNvSpPr>
            <p:nvPr/>
          </p:nvSpPr>
          <p:spPr bwMode="auto">
            <a:xfrm>
              <a:off x="946150" y="1530350"/>
              <a:ext cx="411162" cy="779462"/>
            </a:xfrm>
            <a:custGeom>
              <a:avLst/>
              <a:gdLst>
                <a:gd name="T0" fmla="*/ 0 w 259"/>
                <a:gd name="T1" fmla="*/ 176 h 491"/>
                <a:gd name="T2" fmla="*/ 135 w 259"/>
                <a:gd name="T3" fmla="*/ 0 h 491"/>
                <a:gd name="T4" fmla="*/ 259 w 259"/>
                <a:gd name="T5" fmla="*/ 150 h 491"/>
                <a:gd name="T6" fmla="*/ 140 w 259"/>
                <a:gd name="T7" fmla="*/ 411 h 491"/>
                <a:gd name="T8" fmla="*/ 140 w 259"/>
                <a:gd name="T9" fmla="*/ 411 h 491"/>
                <a:gd name="T10" fmla="*/ 230 w 259"/>
                <a:gd name="T11" fmla="*/ 491 h 491"/>
              </a:gdLst>
              <a:ahLst/>
              <a:cxnLst>
                <a:cxn ang="0">
                  <a:pos x="T0" y="T1"/>
                </a:cxn>
                <a:cxn ang="0">
                  <a:pos x="T2" y="T3"/>
                </a:cxn>
                <a:cxn ang="0">
                  <a:pos x="T4" y="T5"/>
                </a:cxn>
                <a:cxn ang="0">
                  <a:pos x="T6" y="T7"/>
                </a:cxn>
                <a:cxn ang="0">
                  <a:pos x="T8" y="T9"/>
                </a:cxn>
                <a:cxn ang="0">
                  <a:pos x="T10" y="T11"/>
                </a:cxn>
              </a:cxnLst>
              <a:rect l="0" t="0" r="r" b="b"/>
              <a:pathLst>
                <a:path w="259" h="491">
                  <a:moveTo>
                    <a:pt x="0" y="176"/>
                  </a:moveTo>
                  <a:lnTo>
                    <a:pt x="135" y="0"/>
                  </a:lnTo>
                  <a:lnTo>
                    <a:pt x="259" y="150"/>
                  </a:lnTo>
                  <a:lnTo>
                    <a:pt x="140" y="411"/>
                  </a:lnTo>
                  <a:lnTo>
                    <a:pt x="140" y="411"/>
                  </a:lnTo>
                  <a:lnTo>
                    <a:pt x="230" y="491"/>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6" name="Freeform 45">
              <a:extLst>
                <a:ext uri="{FF2B5EF4-FFF2-40B4-BE49-F238E27FC236}">
                  <a16:creationId xmlns:a16="http://schemas.microsoft.com/office/drawing/2014/main" id="{6E94D3A8-4A3E-40BC-8592-0E7381A2587A}"/>
                </a:ext>
              </a:extLst>
            </p:cNvPr>
            <p:cNvSpPr>
              <a:spLocks/>
            </p:cNvSpPr>
            <p:nvPr/>
          </p:nvSpPr>
          <p:spPr bwMode="auto">
            <a:xfrm>
              <a:off x="1096963" y="1247775"/>
              <a:ext cx="357187" cy="282575"/>
            </a:xfrm>
            <a:custGeom>
              <a:avLst/>
              <a:gdLst>
                <a:gd name="T0" fmla="*/ 40 w 225"/>
                <a:gd name="T1" fmla="*/ 178 h 178"/>
                <a:gd name="T2" fmla="*/ 0 w 225"/>
                <a:gd name="T3" fmla="*/ 43 h 178"/>
                <a:gd name="T4" fmla="*/ 225 w 225"/>
                <a:gd name="T5" fmla="*/ 0 h 178"/>
              </a:gdLst>
              <a:ahLst/>
              <a:cxnLst>
                <a:cxn ang="0">
                  <a:pos x="T0" y="T1"/>
                </a:cxn>
                <a:cxn ang="0">
                  <a:pos x="T2" y="T3"/>
                </a:cxn>
                <a:cxn ang="0">
                  <a:pos x="T4" y="T5"/>
                </a:cxn>
              </a:cxnLst>
              <a:rect l="0" t="0" r="r" b="b"/>
              <a:pathLst>
                <a:path w="225" h="178">
                  <a:moveTo>
                    <a:pt x="40" y="178"/>
                  </a:moveTo>
                  <a:lnTo>
                    <a:pt x="0" y="43"/>
                  </a:lnTo>
                  <a:lnTo>
                    <a:pt x="225" y="0"/>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7" name="Line 46">
              <a:extLst>
                <a:ext uri="{FF2B5EF4-FFF2-40B4-BE49-F238E27FC236}">
                  <a16:creationId xmlns:a16="http://schemas.microsoft.com/office/drawing/2014/main" id="{9EE34F75-0300-4689-8AD4-D0697FA7294C}"/>
                </a:ext>
              </a:extLst>
            </p:cNvPr>
            <p:cNvSpPr>
              <a:spLocks noChangeShapeType="1"/>
            </p:cNvSpPr>
            <p:nvPr/>
          </p:nvSpPr>
          <p:spPr bwMode="auto">
            <a:xfrm flipV="1">
              <a:off x="1096963" y="1006475"/>
              <a:ext cx="176212" cy="290512"/>
            </a:xfrm>
            <a:prstGeom prst="line">
              <a:avLst/>
            </a:pr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
          <p:nvSpPr>
            <p:cNvPr id="58" name="Freeform 47">
              <a:extLst>
                <a:ext uri="{FF2B5EF4-FFF2-40B4-BE49-F238E27FC236}">
                  <a16:creationId xmlns:a16="http://schemas.microsoft.com/office/drawing/2014/main" id="{70458396-759F-4B3D-A423-42637FF6AA08}"/>
                </a:ext>
              </a:extLst>
            </p:cNvPr>
            <p:cNvSpPr>
              <a:spLocks/>
            </p:cNvSpPr>
            <p:nvPr/>
          </p:nvSpPr>
          <p:spPr bwMode="auto">
            <a:xfrm>
              <a:off x="417513" y="1203325"/>
              <a:ext cx="679450" cy="282575"/>
            </a:xfrm>
            <a:custGeom>
              <a:avLst/>
              <a:gdLst>
                <a:gd name="T0" fmla="*/ 428 w 428"/>
                <a:gd name="T1" fmla="*/ 71 h 178"/>
                <a:gd name="T2" fmla="*/ 425 w 428"/>
                <a:gd name="T3" fmla="*/ 71 h 178"/>
                <a:gd name="T4" fmla="*/ 218 w 428"/>
                <a:gd name="T5" fmla="*/ 0 h 178"/>
                <a:gd name="T6" fmla="*/ 2 w 428"/>
                <a:gd name="T7" fmla="*/ 175 h 178"/>
                <a:gd name="T8" fmla="*/ 0 w 428"/>
                <a:gd name="T9" fmla="*/ 178 h 178"/>
              </a:gdLst>
              <a:ahLst/>
              <a:cxnLst>
                <a:cxn ang="0">
                  <a:pos x="T0" y="T1"/>
                </a:cxn>
                <a:cxn ang="0">
                  <a:pos x="T2" y="T3"/>
                </a:cxn>
                <a:cxn ang="0">
                  <a:pos x="T4" y="T5"/>
                </a:cxn>
                <a:cxn ang="0">
                  <a:pos x="T6" y="T7"/>
                </a:cxn>
                <a:cxn ang="0">
                  <a:pos x="T8" y="T9"/>
                </a:cxn>
              </a:cxnLst>
              <a:rect l="0" t="0" r="r" b="b"/>
              <a:pathLst>
                <a:path w="428" h="178">
                  <a:moveTo>
                    <a:pt x="428" y="71"/>
                  </a:moveTo>
                  <a:lnTo>
                    <a:pt x="425" y="71"/>
                  </a:lnTo>
                  <a:lnTo>
                    <a:pt x="218" y="0"/>
                  </a:lnTo>
                  <a:lnTo>
                    <a:pt x="2" y="175"/>
                  </a:lnTo>
                  <a:lnTo>
                    <a:pt x="0" y="178"/>
                  </a:lnTo>
                </a:path>
              </a:pathLst>
            </a:custGeom>
            <a:noFill/>
            <a:ln w="14288" cap="flat">
              <a:noFill/>
              <a:prstDash val="solid"/>
              <a:miter lim="800000"/>
              <a:headEnd/>
              <a:tailEnd/>
            </a:ln>
            <a:effectLst>
              <a:outerShdw blurRad="190500" dist="228600" dir="2700000" algn="ctr">
                <a:srgbClr val="000000">
                  <a:alpha val="30000"/>
                </a:srgbClr>
              </a:outerShdw>
            </a:effectLst>
            <a:sp3d prstMaterial="matte">
              <a:bevelT w="127000" h="63500"/>
            </a:sp3d>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grpSp>
      <p:sp>
        <p:nvSpPr>
          <p:cNvPr id="59" name="Rectangle 58">
            <a:extLst>
              <a:ext uri="{FF2B5EF4-FFF2-40B4-BE49-F238E27FC236}">
                <a16:creationId xmlns:a16="http://schemas.microsoft.com/office/drawing/2014/main" id="{2196F93A-DF09-48B5-80A9-A69FEAE4AB0A}"/>
              </a:ext>
            </a:extLst>
          </p:cNvPr>
          <p:cNvSpPr/>
          <p:nvPr/>
        </p:nvSpPr>
        <p:spPr>
          <a:xfrm>
            <a:off x="381000" y="3305262"/>
            <a:ext cx="11811000" cy="3546718"/>
          </a:xfrm>
          <a:prstGeom prst="rect">
            <a:avLst/>
          </a:prstGeom>
          <a:solidFill>
            <a:srgbClr val="2F75B5">
              <a:alpha val="46000"/>
            </a:srgbClr>
          </a:solidFill>
          <a:ln w="15875" cap="flat" cmpd="sng" algn="ctr">
            <a:noFill/>
            <a:prstDash val="solid"/>
          </a:ln>
          <a:effectLst>
            <a:softEdge rad="63500"/>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0" cap="none" spc="0" normalizeH="0" baseline="0" noProof="0">
              <a:ln>
                <a:noFill/>
              </a:ln>
              <a:solidFill>
                <a:prstClr val="white"/>
              </a:solidFill>
              <a:effectLst/>
              <a:uLnTx/>
              <a:uFillTx/>
              <a:latin typeface="Open Sans Light" panose="020B0306030504020204" pitchFamily="34" charset="0"/>
              <a:ea typeface="+mn-ea"/>
              <a:cs typeface="+mn-cs"/>
            </a:endParaRPr>
          </a:p>
        </p:txBody>
      </p:sp>
      <p:sp>
        <p:nvSpPr>
          <p:cNvPr id="60" name="TextBox 59">
            <a:extLst>
              <a:ext uri="{FF2B5EF4-FFF2-40B4-BE49-F238E27FC236}">
                <a16:creationId xmlns:a16="http://schemas.microsoft.com/office/drawing/2014/main" id="{8149886A-B27A-4D10-A1B8-C3C74FC65EE1}"/>
              </a:ext>
            </a:extLst>
          </p:cNvPr>
          <p:cNvSpPr txBox="1"/>
          <p:nvPr/>
        </p:nvSpPr>
        <p:spPr>
          <a:xfrm>
            <a:off x="5584981" y="4331055"/>
            <a:ext cx="5965317" cy="1323439"/>
          </a:xfrm>
          <a:prstGeom prst="rect">
            <a:avLst/>
          </a:prstGeom>
          <a:noFill/>
        </p:spPr>
        <p:txBody>
          <a:bodyPr wrap="squar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rPr>
              <a:t>COMPORTAMIENTO DEL ECOSISTEMA EN EL CUÁL ESTÁ MI ORGANIZACIÓ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j-lt"/>
                <a:ea typeface="Open Sans" panose="020B0606030504020204" pitchFamily="34" charset="0"/>
                <a:cs typeface="Poppins" panose="00000500000000000000" pitchFamily="2" charset="0"/>
              </a:rPr>
              <a:t>INTENCIÓN DE VIAJE – DEMANDA POTENCIAL</a:t>
            </a:r>
          </a:p>
        </p:txBody>
      </p:sp>
    </p:spTree>
    <p:extLst>
      <p:ext uri="{BB962C8B-B14F-4D97-AF65-F5344CB8AC3E}">
        <p14:creationId xmlns:p14="http://schemas.microsoft.com/office/powerpoint/2010/main" val="198622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A8B36A1-4577-6646-992D-3318CB2B1834}"/>
              </a:ext>
            </a:extLst>
          </p:cNvPr>
          <p:cNvGrpSpPr/>
          <p:nvPr/>
        </p:nvGrpSpPr>
        <p:grpSpPr>
          <a:xfrm>
            <a:off x="7522515" y="59891"/>
            <a:ext cx="4466932" cy="6738217"/>
            <a:chOff x="2678199" y="811697"/>
            <a:chExt cx="3697689" cy="5577840"/>
          </a:xfrm>
        </p:grpSpPr>
        <p:sp>
          <p:nvSpPr>
            <p:cNvPr id="248" name="Freeform 4">
              <a:extLst>
                <a:ext uri="{FF2B5EF4-FFF2-40B4-BE49-F238E27FC236}">
                  <a16:creationId xmlns:a16="http://schemas.microsoft.com/office/drawing/2014/main" id="{3FBB9532-2FF6-EE40-8B81-38AD6DE5C4E8}"/>
                </a:ext>
              </a:extLst>
            </p:cNvPr>
            <p:cNvSpPr>
              <a:spLocks/>
            </p:cNvSpPr>
            <p:nvPr/>
          </p:nvSpPr>
          <p:spPr bwMode="auto">
            <a:xfrm>
              <a:off x="5072544" y="811697"/>
              <a:ext cx="1303344" cy="1581639"/>
            </a:xfrm>
            <a:custGeom>
              <a:avLst/>
              <a:gdLst>
                <a:gd name="T0" fmla="*/ 327 w 707"/>
                <a:gd name="T1" fmla="*/ 862 h 861"/>
                <a:gd name="T2" fmla="*/ 325 w 707"/>
                <a:gd name="T3" fmla="*/ 861 h 861"/>
                <a:gd name="T4" fmla="*/ 314 w 707"/>
                <a:gd name="T5" fmla="*/ 857 h 861"/>
                <a:gd name="T6" fmla="*/ 317 w 707"/>
                <a:gd name="T7" fmla="*/ 852 h 861"/>
                <a:gd name="T8" fmla="*/ 282 w 707"/>
                <a:gd name="T9" fmla="*/ 846 h 861"/>
                <a:gd name="T10" fmla="*/ 267 w 707"/>
                <a:gd name="T11" fmla="*/ 778 h 861"/>
                <a:gd name="T12" fmla="*/ 245 w 707"/>
                <a:gd name="T13" fmla="*/ 785 h 861"/>
                <a:gd name="T14" fmla="*/ 233 w 707"/>
                <a:gd name="T15" fmla="*/ 751 h 861"/>
                <a:gd name="T16" fmla="*/ 233 w 707"/>
                <a:gd name="T17" fmla="*/ 731 h 861"/>
                <a:gd name="T18" fmla="*/ 252 w 707"/>
                <a:gd name="T19" fmla="*/ 680 h 861"/>
                <a:gd name="T20" fmla="*/ 216 w 707"/>
                <a:gd name="T21" fmla="*/ 618 h 861"/>
                <a:gd name="T22" fmla="*/ 247 w 707"/>
                <a:gd name="T23" fmla="*/ 608 h 861"/>
                <a:gd name="T24" fmla="*/ 240 w 707"/>
                <a:gd name="T25" fmla="*/ 604 h 861"/>
                <a:gd name="T26" fmla="*/ 248 w 707"/>
                <a:gd name="T27" fmla="*/ 587 h 861"/>
                <a:gd name="T28" fmla="*/ 209 w 707"/>
                <a:gd name="T29" fmla="*/ 532 h 861"/>
                <a:gd name="T30" fmla="*/ 182 w 707"/>
                <a:gd name="T31" fmla="*/ 472 h 861"/>
                <a:gd name="T32" fmla="*/ 78 w 707"/>
                <a:gd name="T33" fmla="*/ 441 h 861"/>
                <a:gd name="T34" fmla="*/ 37 w 707"/>
                <a:gd name="T35" fmla="*/ 391 h 861"/>
                <a:gd name="T36" fmla="*/ 34 w 707"/>
                <a:gd name="T37" fmla="*/ 366 h 861"/>
                <a:gd name="T38" fmla="*/ 0 w 707"/>
                <a:gd name="T39" fmla="*/ 339 h 861"/>
                <a:gd name="T40" fmla="*/ 107 w 707"/>
                <a:gd name="T41" fmla="*/ 237 h 861"/>
                <a:gd name="T42" fmla="*/ 118 w 707"/>
                <a:gd name="T43" fmla="*/ 142 h 861"/>
                <a:gd name="T44" fmla="*/ 190 w 707"/>
                <a:gd name="T45" fmla="*/ 126 h 861"/>
                <a:gd name="T46" fmla="*/ 220 w 707"/>
                <a:gd name="T47" fmla="*/ 149 h 861"/>
                <a:gd name="T48" fmla="*/ 267 w 707"/>
                <a:gd name="T49" fmla="*/ 125 h 861"/>
                <a:gd name="T50" fmla="*/ 311 w 707"/>
                <a:gd name="T51" fmla="*/ 112 h 861"/>
                <a:gd name="T52" fmla="*/ 352 w 707"/>
                <a:gd name="T53" fmla="*/ 83 h 861"/>
                <a:gd name="T54" fmla="*/ 312 w 707"/>
                <a:gd name="T55" fmla="*/ 36 h 861"/>
                <a:gd name="T56" fmla="*/ 444 w 707"/>
                <a:gd name="T57" fmla="*/ 4 h 861"/>
                <a:gd name="T58" fmla="*/ 490 w 707"/>
                <a:gd name="T59" fmla="*/ 30 h 861"/>
                <a:gd name="T60" fmla="*/ 537 w 707"/>
                <a:gd name="T61" fmla="*/ 63 h 861"/>
                <a:gd name="T62" fmla="*/ 543 w 707"/>
                <a:gd name="T63" fmla="*/ 108 h 861"/>
                <a:gd name="T64" fmla="*/ 585 w 707"/>
                <a:gd name="T65" fmla="*/ 115 h 861"/>
                <a:gd name="T66" fmla="*/ 658 w 707"/>
                <a:gd name="T67" fmla="*/ 142 h 861"/>
                <a:gd name="T68" fmla="*/ 604 w 707"/>
                <a:gd name="T69" fmla="*/ 211 h 861"/>
                <a:gd name="T70" fmla="*/ 619 w 707"/>
                <a:gd name="T71" fmla="*/ 257 h 861"/>
                <a:gd name="T72" fmla="*/ 632 w 707"/>
                <a:gd name="T73" fmla="*/ 282 h 861"/>
                <a:gd name="T74" fmla="*/ 609 w 707"/>
                <a:gd name="T75" fmla="*/ 327 h 861"/>
                <a:gd name="T76" fmla="*/ 612 w 707"/>
                <a:gd name="T77" fmla="*/ 363 h 861"/>
                <a:gd name="T78" fmla="*/ 614 w 707"/>
                <a:gd name="T79" fmla="*/ 428 h 861"/>
                <a:gd name="T80" fmla="*/ 626 w 707"/>
                <a:gd name="T81" fmla="*/ 468 h 861"/>
                <a:gd name="T82" fmla="*/ 597 w 707"/>
                <a:gd name="T83" fmla="*/ 492 h 861"/>
                <a:gd name="T84" fmla="*/ 540 w 707"/>
                <a:gd name="T85" fmla="*/ 540 h 861"/>
                <a:gd name="T86" fmla="*/ 557 w 707"/>
                <a:gd name="T87" fmla="*/ 576 h 861"/>
                <a:gd name="T88" fmla="*/ 602 w 707"/>
                <a:gd name="T89" fmla="*/ 624 h 861"/>
                <a:gd name="T90" fmla="*/ 532 w 707"/>
                <a:gd name="T91" fmla="*/ 584 h 861"/>
                <a:gd name="T92" fmla="*/ 545 w 707"/>
                <a:gd name="T93" fmla="*/ 628 h 861"/>
                <a:gd name="T94" fmla="*/ 494 w 707"/>
                <a:gd name="T95" fmla="*/ 685 h 861"/>
                <a:gd name="T96" fmla="*/ 492 w 707"/>
                <a:gd name="T97" fmla="*/ 692 h 861"/>
                <a:gd name="T98" fmla="*/ 475 w 707"/>
                <a:gd name="T99" fmla="*/ 681 h 861"/>
                <a:gd name="T100" fmla="*/ 452 w 707"/>
                <a:gd name="T101" fmla="*/ 724 h 861"/>
                <a:gd name="T102" fmla="*/ 420 w 707"/>
                <a:gd name="T103" fmla="*/ 741 h 861"/>
                <a:gd name="T104" fmla="*/ 420 w 707"/>
                <a:gd name="T105" fmla="*/ 736 h 861"/>
                <a:gd name="T106" fmla="*/ 375 w 707"/>
                <a:gd name="T107" fmla="*/ 765 h 861"/>
                <a:gd name="T108" fmla="*/ 370 w 707"/>
                <a:gd name="T109" fmla="*/ 793 h 861"/>
                <a:gd name="T110" fmla="*/ 363 w 707"/>
                <a:gd name="T111" fmla="*/ 809 h 8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7"/>
                <a:gd name="T169" fmla="*/ 0 h 861"/>
                <a:gd name="T170" fmla="*/ 707 w 707"/>
                <a:gd name="T171" fmla="*/ 861 h 8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7" h="861">
                  <a:moveTo>
                    <a:pt x="365" y="809"/>
                  </a:moveTo>
                  <a:lnTo>
                    <a:pt x="367" y="809"/>
                  </a:lnTo>
                  <a:lnTo>
                    <a:pt x="325" y="859"/>
                  </a:lnTo>
                  <a:lnTo>
                    <a:pt x="327" y="859"/>
                  </a:lnTo>
                  <a:lnTo>
                    <a:pt x="323" y="861"/>
                  </a:lnTo>
                  <a:lnTo>
                    <a:pt x="323" y="858"/>
                  </a:lnTo>
                  <a:lnTo>
                    <a:pt x="320" y="861"/>
                  </a:lnTo>
                  <a:lnTo>
                    <a:pt x="322" y="851"/>
                  </a:lnTo>
                  <a:lnTo>
                    <a:pt x="312" y="854"/>
                  </a:lnTo>
                  <a:lnTo>
                    <a:pt x="318" y="851"/>
                  </a:lnTo>
                  <a:lnTo>
                    <a:pt x="313" y="851"/>
                  </a:lnTo>
                  <a:lnTo>
                    <a:pt x="315" y="849"/>
                  </a:lnTo>
                  <a:lnTo>
                    <a:pt x="290" y="854"/>
                  </a:lnTo>
                  <a:lnTo>
                    <a:pt x="297" y="849"/>
                  </a:lnTo>
                  <a:lnTo>
                    <a:pt x="280" y="843"/>
                  </a:lnTo>
                  <a:lnTo>
                    <a:pt x="288" y="839"/>
                  </a:lnTo>
                  <a:lnTo>
                    <a:pt x="250" y="792"/>
                  </a:lnTo>
                  <a:lnTo>
                    <a:pt x="265" y="775"/>
                  </a:lnTo>
                  <a:lnTo>
                    <a:pt x="258" y="774"/>
                  </a:lnTo>
                  <a:lnTo>
                    <a:pt x="266" y="772"/>
                  </a:lnTo>
                  <a:lnTo>
                    <a:pt x="243" y="782"/>
                  </a:lnTo>
                  <a:lnTo>
                    <a:pt x="241" y="757"/>
                  </a:lnTo>
                  <a:lnTo>
                    <a:pt x="240" y="760"/>
                  </a:lnTo>
                  <a:lnTo>
                    <a:pt x="231" y="748"/>
                  </a:lnTo>
                  <a:lnTo>
                    <a:pt x="228" y="742"/>
                  </a:lnTo>
                  <a:lnTo>
                    <a:pt x="233" y="737"/>
                  </a:lnTo>
                  <a:lnTo>
                    <a:pt x="231" y="728"/>
                  </a:lnTo>
                  <a:lnTo>
                    <a:pt x="256" y="688"/>
                  </a:lnTo>
                  <a:lnTo>
                    <a:pt x="253" y="679"/>
                  </a:lnTo>
                  <a:lnTo>
                    <a:pt x="250" y="678"/>
                  </a:lnTo>
                  <a:lnTo>
                    <a:pt x="251" y="681"/>
                  </a:lnTo>
                  <a:lnTo>
                    <a:pt x="256" y="669"/>
                  </a:lnTo>
                  <a:lnTo>
                    <a:pt x="214" y="616"/>
                  </a:lnTo>
                  <a:lnTo>
                    <a:pt x="260" y="626"/>
                  </a:lnTo>
                  <a:lnTo>
                    <a:pt x="253" y="619"/>
                  </a:lnTo>
                  <a:lnTo>
                    <a:pt x="245" y="606"/>
                  </a:lnTo>
                  <a:lnTo>
                    <a:pt x="241" y="602"/>
                  </a:lnTo>
                  <a:lnTo>
                    <a:pt x="248" y="597"/>
                  </a:lnTo>
                  <a:lnTo>
                    <a:pt x="238" y="602"/>
                  </a:lnTo>
                  <a:lnTo>
                    <a:pt x="245" y="592"/>
                  </a:lnTo>
                  <a:lnTo>
                    <a:pt x="233" y="594"/>
                  </a:lnTo>
                  <a:lnTo>
                    <a:pt x="246" y="585"/>
                  </a:lnTo>
                  <a:lnTo>
                    <a:pt x="233" y="579"/>
                  </a:lnTo>
                  <a:lnTo>
                    <a:pt x="204" y="594"/>
                  </a:lnTo>
                  <a:lnTo>
                    <a:pt x="208" y="530"/>
                  </a:lnTo>
                  <a:lnTo>
                    <a:pt x="198" y="518"/>
                  </a:lnTo>
                  <a:lnTo>
                    <a:pt x="199" y="520"/>
                  </a:lnTo>
                  <a:lnTo>
                    <a:pt x="181" y="470"/>
                  </a:lnTo>
                  <a:lnTo>
                    <a:pt x="144" y="431"/>
                  </a:lnTo>
                  <a:lnTo>
                    <a:pt x="67" y="427"/>
                  </a:lnTo>
                  <a:lnTo>
                    <a:pt x="77" y="439"/>
                  </a:lnTo>
                  <a:lnTo>
                    <a:pt x="40" y="417"/>
                  </a:lnTo>
                  <a:lnTo>
                    <a:pt x="55" y="405"/>
                  </a:lnTo>
                  <a:lnTo>
                    <a:pt x="37" y="390"/>
                  </a:lnTo>
                  <a:lnTo>
                    <a:pt x="84" y="380"/>
                  </a:lnTo>
                  <a:lnTo>
                    <a:pt x="74" y="363"/>
                  </a:lnTo>
                  <a:lnTo>
                    <a:pt x="34" y="365"/>
                  </a:lnTo>
                  <a:lnTo>
                    <a:pt x="39" y="358"/>
                  </a:lnTo>
                  <a:lnTo>
                    <a:pt x="27" y="360"/>
                  </a:lnTo>
                  <a:lnTo>
                    <a:pt x="0" y="338"/>
                  </a:lnTo>
                  <a:lnTo>
                    <a:pt x="49" y="296"/>
                  </a:lnTo>
                  <a:lnTo>
                    <a:pt x="67" y="262"/>
                  </a:lnTo>
                  <a:lnTo>
                    <a:pt x="106" y="236"/>
                  </a:lnTo>
                  <a:lnTo>
                    <a:pt x="60" y="227"/>
                  </a:lnTo>
                  <a:lnTo>
                    <a:pt x="109" y="174"/>
                  </a:lnTo>
                  <a:lnTo>
                    <a:pt x="117" y="142"/>
                  </a:lnTo>
                  <a:lnTo>
                    <a:pt x="142" y="123"/>
                  </a:lnTo>
                  <a:lnTo>
                    <a:pt x="178" y="158"/>
                  </a:lnTo>
                  <a:lnTo>
                    <a:pt x="189" y="126"/>
                  </a:lnTo>
                  <a:lnTo>
                    <a:pt x="208" y="91"/>
                  </a:lnTo>
                  <a:lnTo>
                    <a:pt x="225" y="124"/>
                  </a:lnTo>
                  <a:lnTo>
                    <a:pt x="218" y="148"/>
                  </a:lnTo>
                  <a:lnTo>
                    <a:pt x="260" y="138"/>
                  </a:lnTo>
                  <a:lnTo>
                    <a:pt x="248" y="121"/>
                  </a:lnTo>
                  <a:lnTo>
                    <a:pt x="265" y="125"/>
                  </a:lnTo>
                  <a:lnTo>
                    <a:pt x="248" y="79"/>
                  </a:lnTo>
                  <a:lnTo>
                    <a:pt x="285" y="86"/>
                  </a:lnTo>
                  <a:lnTo>
                    <a:pt x="309" y="112"/>
                  </a:lnTo>
                  <a:lnTo>
                    <a:pt x="307" y="92"/>
                  </a:lnTo>
                  <a:lnTo>
                    <a:pt x="308" y="59"/>
                  </a:lnTo>
                  <a:lnTo>
                    <a:pt x="350" y="83"/>
                  </a:lnTo>
                  <a:lnTo>
                    <a:pt x="352" y="61"/>
                  </a:lnTo>
                  <a:lnTo>
                    <a:pt x="374" y="88"/>
                  </a:lnTo>
                  <a:lnTo>
                    <a:pt x="310" y="36"/>
                  </a:lnTo>
                  <a:lnTo>
                    <a:pt x="387" y="61"/>
                  </a:lnTo>
                  <a:lnTo>
                    <a:pt x="412" y="14"/>
                  </a:lnTo>
                  <a:lnTo>
                    <a:pt x="441" y="4"/>
                  </a:lnTo>
                  <a:lnTo>
                    <a:pt x="473" y="0"/>
                  </a:lnTo>
                  <a:lnTo>
                    <a:pt x="501" y="8"/>
                  </a:lnTo>
                  <a:lnTo>
                    <a:pt x="487" y="30"/>
                  </a:lnTo>
                  <a:lnTo>
                    <a:pt x="495" y="38"/>
                  </a:lnTo>
                  <a:lnTo>
                    <a:pt x="548" y="32"/>
                  </a:lnTo>
                  <a:lnTo>
                    <a:pt x="533" y="63"/>
                  </a:lnTo>
                  <a:lnTo>
                    <a:pt x="561" y="63"/>
                  </a:lnTo>
                  <a:lnTo>
                    <a:pt x="590" y="73"/>
                  </a:lnTo>
                  <a:lnTo>
                    <a:pt x="539" y="108"/>
                  </a:lnTo>
                  <a:lnTo>
                    <a:pt x="523" y="116"/>
                  </a:lnTo>
                  <a:lnTo>
                    <a:pt x="549" y="128"/>
                  </a:lnTo>
                  <a:lnTo>
                    <a:pt x="581" y="115"/>
                  </a:lnTo>
                  <a:lnTo>
                    <a:pt x="585" y="174"/>
                  </a:lnTo>
                  <a:lnTo>
                    <a:pt x="613" y="142"/>
                  </a:lnTo>
                  <a:lnTo>
                    <a:pt x="653" y="142"/>
                  </a:lnTo>
                  <a:lnTo>
                    <a:pt x="707" y="147"/>
                  </a:lnTo>
                  <a:lnTo>
                    <a:pt x="631" y="176"/>
                  </a:lnTo>
                  <a:lnTo>
                    <a:pt x="600" y="210"/>
                  </a:lnTo>
                  <a:lnTo>
                    <a:pt x="631" y="206"/>
                  </a:lnTo>
                  <a:lnTo>
                    <a:pt x="660" y="212"/>
                  </a:lnTo>
                  <a:lnTo>
                    <a:pt x="615" y="256"/>
                  </a:lnTo>
                  <a:lnTo>
                    <a:pt x="642" y="237"/>
                  </a:lnTo>
                  <a:lnTo>
                    <a:pt x="618" y="289"/>
                  </a:lnTo>
                  <a:lnTo>
                    <a:pt x="628" y="281"/>
                  </a:lnTo>
                  <a:lnTo>
                    <a:pt x="625" y="286"/>
                  </a:lnTo>
                  <a:lnTo>
                    <a:pt x="623" y="284"/>
                  </a:lnTo>
                  <a:lnTo>
                    <a:pt x="605" y="326"/>
                  </a:lnTo>
                  <a:lnTo>
                    <a:pt x="600" y="362"/>
                  </a:lnTo>
                  <a:lnTo>
                    <a:pt x="627" y="365"/>
                  </a:lnTo>
                  <a:lnTo>
                    <a:pt x="608" y="362"/>
                  </a:lnTo>
                  <a:lnTo>
                    <a:pt x="615" y="367"/>
                  </a:lnTo>
                  <a:lnTo>
                    <a:pt x="610" y="369"/>
                  </a:lnTo>
                  <a:lnTo>
                    <a:pt x="610" y="427"/>
                  </a:lnTo>
                  <a:lnTo>
                    <a:pt x="605" y="421"/>
                  </a:lnTo>
                  <a:lnTo>
                    <a:pt x="620" y="429"/>
                  </a:lnTo>
                  <a:lnTo>
                    <a:pt x="622" y="466"/>
                  </a:lnTo>
                  <a:lnTo>
                    <a:pt x="591" y="454"/>
                  </a:lnTo>
                  <a:lnTo>
                    <a:pt x="627" y="496"/>
                  </a:lnTo>
                  <a:lnTo>
                    <a:pt x="593" y="490"/>
                  </a:lnTo>
                  <a:lnTo>
                    <a:pt x="610" y="527"/>
                  </a:lnTo>
                  <a:lnTo>
                    <a:pt x="558" y="521"/>
                  </a:lnTo>
                  <a:lnTo>
                    <a:pt x="536" y="538"/>
                  </a:lnTo>
                  <a:lnTo>
                    <a:pt x="558" y="542"/>
                  </a:lnTo>
                  <a:lnTo>
                    <a:pt x="538" y="553"/>
                  </a:lnTo>
                  <a:lnTo>
                    <a:pt x="553" y="574"/>
                  </a:lnTo>
                  <a:lnTo>
                    <a:pt x="586" y="599"/>
                  </a:lnTo>
                  <a:lnTo>
                    <a:pt x="596" y="592"/>
                  </a:lnTo>
                  <a:lnTo>
                    <a:pt x="598" y="622"/>
                  </a:lnTo>
                  <a:lnTo>
                    <a:pt x="586" y="612"/>
                  </a:lnTo>
                  <a:lnTo>
                    <a:pt x="586" y="622"/>
                  </a:lnTo>
                  <a:lnTo>
                    <a:pt x="528" y="582"/>
                  </a:lnTo>
                  <a:lnTo>
                    <a:pt x="551" y="600"/>
                  </a:lnTo>
                  <a:lnTo>
                    <a:pt x="513" y="622"/>
                  </a:lnTo>
                  <a:lnTo>
                    <a:pt x="541" y="626"/>
                  </a:lnTo>
                  <a:lnTo>
                    <a:pt x="516" y="634"/>
                  </a:lnTo>
                  <a:lnTo>
                    <a:pt x="591" y="631"/>
                  </a:lnTo>
                  <a:lnTo>
                    <a:pt x="491" y="683"/>
                  </a:lnTo>
                  <a:lnTo>
                    <a:pt x="494" y="688"/>
                  </a:lnTo>
                  <a:lnTo>
                    <a:pt x="489" y="686"/>
                  </a:lnTo>
                  <a:lnTo>
                    <a:pt x="489" y="690"/>
                  </a:lnTo>
                  <a:lnTo>
                    <a:pt x="479" y="685"/>
                  </a:lnTo>
                  <a:lnTo>
                    <a:pt x="481" y="685"/>
                  </a:lnTo>
                  <a:lnTo>
                    <a:pt x="472" y="679"/>
                  </a:lnTo>
                  <a:lnTo>
                    <a:pt x="471" y="674"/>
                  </a:lnTo>
                  <a:lnTo>
                    <a:pt x="451" y="725"/>
                  </a:lnTo>
                  <a:lnTo>
                    <a:pt x="449" y="721"/>
                  </a:lnTo>
                  <a:lnTo>
                    <a:pt x="441" y="733"/>
                  </a:lnTo>
                  <a:lnTo>
                    <a:pt x="429" y="742"/>
                  </a:lnTo>
                  <a:lnTo>
                    <a:pt x="417" y="738"/>
                  </a:lnTo>
                  <a:lnTo>
                    <a:pt x="414" y="742"/>
                  </a:lnTo>
                  <a:lnTo>
                    <a:pt x="416" y="745"/>
                  </a:lnTo>
                  <a:lnTo>
                    <a:pt x="417" y="733"/>
                  </a:lnTo>
                  <a:lnTo>
                    <a:pt x="407" y="732"/>
                  </a:lnTo>
                  <a:lnTo>
                    <a:pt x="399" y="750"/>
                  </a:lnTo>
                  <a:lnTo>
                    <a:pt x="372" y="762"/>
                  </a:lnTo>
                  <a:lnTo>
                    <a:pt x="367" y="780"/>
                  </a:lnTo>
                  <a:lnTo>
                    <a:pt x="377" y="792"/>
                  </a:lnTo>
                  <a:lnTo>
                    <a:pt x="367" y="790"/>
                  </a:lnTo>
                  <a:lnTo>
                    <a:pt x="365" y="802"/>
                  </a:lnTo>
                  <a:lnTo>
                    <a:pt x="369" y="807"/>
                  </a:lnTo>
                  <a:lnTo>
                    <a:pt x="360" y="806"/>
                  </a:lnTo>
                  <a:lnTo>
                    <a:pt x="365" y="809"/>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49" name="Freeform 5">
              <a:extLst>
                <a:ext uri="{FF2B5EF4-FFF2-40B4-BE49-F238E27FC236}">
                  <a16:creationId xmlns:a16="http://schemas.microsoft.com/office/drawing/2014/main" id="{6E3696EE-8021-9C45-8985-913A44F13DB3}"/>
                </a:ext>
              </a:extLst>
            </p:cNvPr>
            <p:cNvSpPr>
              <a:spLocks/>
            </p:cNvSpPr>
            <p:nvPr/>
          </p:nvSpPr>
          <p:spPr bwMode="auto">
            <a:xfrm>
              <a:off x="4658842" y="820850"/>
              <a:ext cx="679130" cy="644371"/>
            </a:xfrm>
            <a:custGeom>
              <a:avLst/>
              <a:gdLst>
                <a:gd name="T0" fmla="*/ 85 w 368"/>
                <a:gd name="T1" fmla="*/ 352 h 351"/>
                <a:gd name="T2" fmla="*/ 111 w 368"/>
                <a:gd name="T3" fmla="*/ 347 h 351"/>
                <a:gd name="T4" fmla="*/ 153 w 368"/>
                <a:gd name="T5" fmla="*/ 340 h 351"/>
                <a:gd name="T6" fmla="*/ 163 w 368"/>
                <a:gd name="T7" fmla="*/ 324 h 351"/>
                <a:gd name="T8" fmla="*/ 140 w 368"/>
                <a:gd name="T9" fmla="*/ 315 h 351"/>
                <a:gd name="T10" fmla="*/ 203 w 368"/>
                <a:gd name="T11" fmla="*/ 266 h 351"/>
                <a:gd name="T12" fmla="*/ 188 w 368"/>
                <a:gd name="T13" fmla="*/ 241 h 351"/>
                <a:gd name="T14" fmla="*/ 210 w 368"/>
                <a:gd name="T15" fmla="*/ 229 h 351"/>
                <a:gd name="T16" fmla="*/ 248 w 368"/>
                <a:gd name="T17" fmla="*/ 194 h 351"/>
                <a:gd name="T18" fmla="*/ 255 w 368"/>
                <a:gd name="T19" fmla="*/ 182 h 351"/>
                <a:gd name="T20" fmla="*/ 257 w 368"/>
                <a:gd name="T21" fmla="*/ 161 h 351"/>
                <a:gd name="T22" fmla="*/ 331 w 368"/>
                <a:gd name="T23" fmla="*/ 96 h 351"/>
                <a:gd name="T24" fmla="*/ 300 w 368"/>
                <a:gd name="T25" fmla="*/ 97 h 351"/>
                <a:gd name="T26" fmla="*/ 371 w 368"/>
                <a:gd name="T27" fmla="*/ 45 h 351"/>
                <a:gd name="T28" fmla="*/ 320 w 368"/>
                <a:gd name="T29" fmla="*/ 17 h 351"/>
                <a:gd name="T30" fmla="*/ 303 w 368"/>
                <a:gd name="T31" fmla="*/ 0 h 351"/>
                <a:gd name="T32" fmla="*/ 140 w 368"/>
                <a:gd name="T33" fmla="*/ 20 h 351"/>
                <a:gd name="T34" fmla="*/ 127 w 368"/>
                <a:gd name="T35" fmla="*/ 35 h 351"/>
                <a:gd name="T36" fmla="*/ 101 w 368"/>
                <a:gd name="T37" fmla="*/ 39 h 351"/>
                <a:gd name="T38" fmla="*/ 95 w 368"/>
                <a:gd name="T39" fmla="*/ 52 h 351"/>
                <a:gd name="T40" fmla="*/ 63 w 368"/>
                <a:gd name="T41" fmla="*/ 40 h 351"/>
                <a:gd name="T42" fmla="*/ 70 w 368"/>
                <a:gd name="T43" fmla="*/ 67 h 351"/>
                <a:gd name="T44" fmla="*/ 28 w 368"/>
                <a:gd name="T45" fmla="*/ 77 h 351"/>
                <a:gd name="T46" fmla="*/ 23 w 368"/>
                <a:gd name="T47" fmla="*/ 81 h 351"/>
                <a:gd name="T48" fmla="*/ 27 w 368"/>
                <a:gd name="T49" fmla="*/ 92 h 351"/>
                <a:gd name="T50" fmla="*/ 43 w 368"/>
                <a:gd name="T51" fmla="*/ 94 h 351"/>
                <a:gd name="T52" fmla="*/ 35 w 368"/>
                <a:gd name="T53" fmla="*/ 114 h 351"/>
                <a:gd name="T54" fmla="*/ 63 w 368"/>
                <a:gd name="T55" fmla="*/ 129 h 351"/>
                <a:gd name="T56" fmla="*/ 76 w 368"/>
                <a:gd name="T57" fmla="*/ 128 h 351"/>
                <a:gd name="T58" fmla="*/ 80 w 368"/>
                <a:gd name="T59" fmla="*/ 153 h 351"/>
                <a:gd name="T60" fmla="*/ 96 w 368"/>
                <a:gd name="T61" fmla="*/ 143 h 351"/>
                <a:gd name="T62" fmla="*/ 115 w 368"/>
                <a:gd name="T63" fmla="*/ 134 h 351"/>
                <a:gd name="T64" fmla="*/ 101 w 368"/>
                <a:gd name="T65" fmla="*/ 160 h 351"/>
                <a:gd name="T66" fmla="*/ 170 w 368"/>
                <a:gd name="T67" fmla="*/ 101 h 351"/>
                <a:gd name="T68" fmla="*/ 101 w 368"/>
                <a:gd name="T69" fmla="*/ 168 h 351"/>
                <a:gd name="T70" fmla="*/ 63 w 368"/>
                <a:gd name="T71" fmla="*/ 170 h 351"/>
                <a:gd name="T72" fmla="*/ 83 w 368"/>
                <a:gd name="T73" fmla="*/ 231 h 351"/>
                <a:gd name="T74" fmla="*/ 52 w 368"/>
                <a:gd name="T75" fmla="*/ 277 h 351"/>
                <a:gd name="T76" fmla="*/ 71 w 368"/>
                <a:gd name="T77" fmla="*/ 277 h 351"/>
                <a:gd name="T78" fmla="*/ 81 w 368"/>
                <a:gd name="T79" fmla="*/ 280 h 351"/>
                <a:gd name="T80" fmla="*/ 81 w 368"/>
                <a:gd name="T81" fmla="*/ 297 h 351"/>
                <a:gd name="T82" fmla="*/ 83 w 368"/>
                <a:gd name="T83" fmla="*/ 300 h 351"/>
                <a:gd name="T84" fmla="*/ 88 w 368"/>
                <a:gd name="T85" fmla="*/ 310 h 351"/>
                <a:gd name="T86" fmla="*/ 52 w 368"/>
                <a:gd name="T87" fmla="*/ 312 h 351"/>
                <a:gd name="T88" fmla="*/ 33 w 368"/>
                <a:gd name="T89" fmla="*/ 340 h 351"/>
                <a:gd name="T90" fmla="*/ 35 w 368"/>
                <a:gd name="T91" fmla="*/ 332 h 351"/>
                <a:gd name="T92" fmla="*/ 47 w 368"/>
                <a:gd name="T93" fmla="*/ 340 h 351"/>
                <a:gd name="T94" fmla="*/ 59 w 368"/>
                <a:gd name="T95" fmla="*/ 349 h 3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8"/>
                <a:gd name="T145" fmla="*/ 0 h 351"/>
                <a:gd name="T146" fmla="*/ 368 w 368"/>
                <a:gd name="T147" fmla="*/ 351 h 3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8" h="351">
                  <a:moveTo>
                    <a:pt x="59" y="348"/>
                  </a:moveTo>
                  <a:lnTo>
                    <a:pt x="84" y="351"/>
                  </a:lnTo>
                  <a:lnTo>
                    <a:pt x="77" y="339"/>
                  </a:lnTo>
                  <a:lnTo>
                    <a:pt x="110" y="346"/>
                  </a:lnTo>
                  <a:lnTo>
                    <a:pt x="109" y="334"/>
                  </a:lnTo>
                  <a:lnTo>
                    <a:pt x="152" y="339"/>
                  </a:lnTo>
                  <a:lnTo>
                    <a:pt x="154" y="344"/>
                  </a:lnTo>
                  <a:lnTo>
                    <a:pt x="162" y="323"/>
                  </a:lnTo>
                  <a:lnTo>
                    <a:pt x="136" y="319"/>
                  </a:lnTo>
                  <a:lnTo>
                    <a:pt x="139" y="314"/>
                  </a:lnTo>
                  <a:lnTo>
                    <a:pt x="126" y="311"/>
                  </a:lnTo>
                  <a:lnTo>
                    <a:pt x="201" y="265"/>
                  </a:lnTo>
                  <a:lnTo>
                    <a:pt x="184" y="259"/>
                  </a:lnTo>
                  <a:lnTo>
                    <a:pt x="186" y="240"/>
                  </a:lnTo>
                  <a:lnTo>
                    <a:pt x="191" y="235"/>
                  </a:lnTo>
                  <a:lnTo>
                    <a:pt x="208" y="228"/>
                  </a:lnTo>
                  <a:lnTo>
                    <a:pt x="172" y="222"/>
                  </a:lnTo>
                  <a:lnTo>
                    <a:pt x="246" y="193"/>
                  </a:lnTo>
                  <a:lnTo>
                    <a:pt x="241" y="191"/>
                  </a:lnTo>
                  <a:lnTo>
                    <a:pt x="253" y="181"/>
                  </a:lnTo>
                  <a:lnTo>
                    <a:pt x="229" y="183"/>
                  </a:lnTo>
                  <a:lnTo>
                    <a:pt x="255" y="161"/>
                  </a:lnTo>
                  <a:lnTo>
                    <a:pt x="255" y="168"/>
                  </a:lnTo>
                  <a:lnTo>
                    <a:pt x="328" y="96"/>
                  </a:lnTo>
                  <a:lnTo>
                    <a:pt x="260" y="126"/>
                  </a:lnTo>
                  <a:lnTo>
                    <a:pt x="298" y="97"/>
                  </a:lnTo>
                  <a:lnTo>
                    <a:pt x="273" y="99"/>
                  </a:lnTo>
                  <a:lnTo>
                    <a:pt x="368" y="45"/>
                  </a:lnTo>
                  <a:lnTo>
                    <a:pt x="323" y="3"/>
                  </a:lnTo>
                  <a:lnTo>
                    <a:pt x="317" y="17"/>
                  </a:lnTo>
                  <a:lnTo>
                    <a:pt x="273" y="25"/>
                  </a:lnTo>
                  <a:lnTo>
                    <a:pt x="301" y="0"/>
                  </a:lnTo>
                  <a:lnTo>
                    <a:pt x="131" y="2"/>
                  </a:lnTo>
                  <a:lnTo>
                    <a:pt x="139" y="20"/>
                  </a:lnTo>
                  <a:lnTo>
                    <a:pt x="112" y="13"/>
                  </a:lnTo>
                  <a:lnTo>
                    <a:pt x="126" y="35"/>
                  </a:lnTo>
                  <a:lnTo>
                    <a:pt x="110" y="35"/>
                  </a:lnTo>
                  <a:lnTo>
                    <a:pt x="100" y="39"/>
                  </a:lnTo>
                  <a:lnTo>
                    <a:pt x="122" y="64"/>
                  </a:lnTo>
                  <a:lnTo>
                    <a:pt x="94" y="52"/>
                  </a:lnTo>
                  <a:lnTo>
                    <a:pt x="102" y="62"/>
                  </a:lnTo>
                  <a:lnTo>
                    <a:pt x="62" y="40"/>
                  </a:lnTo>
                  <a:lnTo>
                    <a:pt x="52" y="57"/>
                  </a:lnTo>
                  <a:lnTo>
                    <a:pt x="69" y="67"/>
                  </a:lnTo>
                  <a:lnTo>
                    <a:pt x="69" y="74"/>
                  </a:lnTo>
                  <a:lnTo>
                    <a:pt x="28" y="77"/>
                  </a:lnTo>
                  <a:lnTo>
                    <a:pt x="23" y="72"/>
                  </a:lnTo>
                  <a:lnTo>
                    <a:pt x="23" y="81"/>
                  </a:lnTo>
                  <a:lnTo>
                    <a:pt x="0" y="94"/>
                  </a:lnTo>
                  <a:lnTo>
                    <a:pt x="27" y="92"/>
                  </a:lnTo>
                  <a:lnTo>
                    <a:pt x="15" y="107"/>
                  </a:lnTo>
                  <a:lnTo>
                    <a:pt x="43" y="94"/>
                  </a:lnTo>
                  <a:lnTo>
                    <a:pt x="23" y="109"/>
                  </a:lnTo>
                  <a:lnTo>
                    <a:pt x="35" y="114"/>
                  </a:lnTo>
                  <a:lnTo>
                    <a:pt x="22" y="124"/>
                  </a:lnTo>
                  <a:lnTo>
                    <a:pt x="62" y="129"/>
                  </a:lnTo>
                  <a:lnTo>
                    <a:pt x="28" y="136"/>
                  </a:lnTo>
                  <a:lnTo>
                    <a:pt x="75" y="128"/>
                  </a:lnTo>
                  <a:lnTo>
                    <a:pt x="67" y="156"/>
                  </a:lnTo>
                  <a:lnTo>
                    <a:pt x="79" y="153"/>
                  </a:lnTo>
                  <a:lnTo>
                    <a:pt x="77" y="158"/>
                  </a:lnTo>
                  <a:lnTo>
                    <a:pt x="95" y="143"/>
                  </a:lnTo>
                  <a:lnTo>
                    <a:pt x="94" y="151"/>
                  </a:lnTo>
                  <a:lnTo>
                    <a:pt x="114" y="134"/>
                  </a:lnTo>
                  <a:lnTo>
                    <a:pt x="117" y="141"/>
                  </a:lnTo>
                  <a:lnTo>
                    <a:pt x="100" y="160"/>
                  </a:lnTo>
                  <a:lnTo>
                    <a:pt x="139" y="118"/>
                  </a:lnTo>
                  <a:lnTo>
                    <a:pt x="169" y="101"/>
                  </a:lnTo>
                  <a:lnTo>
                    <a:pt x="183" y="139"/>
                  </a:lnTo>
                  <a:lnTo>
                    <a:pt x="100" y="168"/>
                  </a:lnTo>
                  <a:lnTo>
                    <a:pt x="141" y="202"/>
                  </a:lnTo>
                  <a:lnTo>
                    <a:pt x="62" y="170"/>
                  </a:lnTo>
                  <a:lnTo>
                    <a:pt x="92" y="223"/>
                  </a:lnTo>
                  <a:lnTo>
                    <a:pt x="82" y="230"/>
                  </a:lnTo>
                  <a:lnTo>
                    <a:pt x="112" y="255"/>
                  </a:lnTo>
                  <a:lnTo>
                    <a:pt x="52" y="276"/>
                  </a:lnTo>
                  <a:lnTo>
                    <a:pt x="69" y="264"/>
                  </a:lnTo>
                  <a:lnTo>
                    <a:pt x="70" y="276"/>
                  </a:lnTo>
                  <a:lnTo>
                    <a:pt x="84" y="254"/>
                  </a:lnTo>
                  <a:lnTo>
                    <a:pt x="80" y="279"/>
                  </a:lnTo>
                  <a:lnTo>
                    <a:pt x="70" y="284"/>
                  </a:lnTo>
                  <a:lnTo>
                    <a:pt x="80" y="296"/>
                  </a:lnTo>
                  <a:lnTo>
                    <a:pt x="84" y="291"/>
                  </a:lnTo>
                  <a:lnTo>
                    <a:pt x="82" y="299"/>
                  </a:lnTo>
                  <a:lnTo>
                    <a:pt x="112" y="279"/>
                  </a:lnTo>
                  <a:lnTo>
                    <a:pt x="87" y="309"/>
                  </a:lnTo>
                  <a:lnTo>
                    <a:pt x="38" y="289"/>
                  </a:lnTo>
                  <a:lnTo>
                    <a:pt x="52" y="311"/>
                  </a:lnTo>
                  <a:lnTo>
                    <a:pt x="55" y="311"/>
                  </a:lnTo>
                  <a:lnTo>
                    <a:pt x="33" y="339"/>
                  </a:lnTo>
                  <a:lnTo>
                    <a:pt x="33" y="344"/>
                  </a:lnTo>
                  <a:lnTo>
                    <a:pt x="35" y="331"/>
                  </a:lnTo>
                  <a:lnTo>
                    <a:pt x="45" y="348"/>
                  </a:lnTo>
                  <a:lnTo>
                    <a:pt x="47" y="339"/>
                  </a:lnTo>
                  <a:lnTo>
                    <a:pt x="59" y="338"/>
                  </a:lnTo>
                  <a:lnTo>
                    <a:pt x="59" y="348"/>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0" name="Freeform 6">
              <a:extLst>
                <a:ext uri="{FF2B5EF4-FFF2-40B4-BE49-F238E27FC236}">
                  <a16:creationId xmlns:a16="http://schemas.microsoft.com/office/drawing/2014/main" id="{AD21ACCA-47F0-B642-A477-8CA740F716D1}"/>
                </a:ext>
              </a:extLst>
            </p:cNvPr>
            <p:cNvSpPr>
              <a:spLocks/>
            </p:cNvSpPr>
            <p:nvPr/>
          </p:nvSpPr>
          <p:spPr bwMode="auto">
            <a:xfrm>
              <a:off x="4558162" y="1024047"/>
              <a:ext cx="230648" cy="303880"/>
            </a:xfrm>
            <a:custGeom>
              <a:avLst/>
              <a:gdLst>
                <a:gd name="T0" fmla="*/ 11 w 125"/>
                <a:gd name="T1" fmla="*/ 42 h 165"/>
                <a:gd name="T2" fmla="*/ 31 w 125"/>
                <a:gd name="T3" fmla="*/ 45 h 165"/>
                <a:gd name="T4" fmla="*/ 18 w 125"/>
                <a:gd name="T5" fmla="*/ 17 h 165"/>
                <a:gd name="T6" fmla="*/ 43 w 125"/>
                <a:gd name="T7" fmla="*/ 10 h 165"/>
                <a:gd name="T8" fmla="*/ 20 w 125"/>
                <a:gd name="T9" fmla="*/ 0 h 165"/>
                <a:gd name="T10" fmla="*/ 98 w 125"/>
                <a:gd name="T11" fmla="*/ 67 h 165"/>
                <a:gd name="T12" fmla="*/ 94 w 125"/>
                <a:gd name="T13" fmla="*/ 50 h 165"/>
                <a:gd name="T14" fmla="*/ 121 w 125"/>
                <a:gd name="T15" fmla="*/ 100 h 165"/>
                <a:gd name="T16" fmla="*/ 126 w 125"/>
                <a:gd name="T17" fmla="*/ 93 h 165"/>
                <a:gd name="T18" fmla="*/ 103 w 125"/>
                <a:gd name="T19" fmla="*/ 140 h 165"/>
                <a:gd name="T20" fmla="*/ 98 w 125"/>
                <a:gd name="T21" fmla="*/ 120 h 165"/>
                <a:gd name="T22" fmla="*/ 98 w 125"/>
                <a:gd name="T23" fmla="*/ 150 h 165"/>
                <a:gd name="T24" fmla="*/ 89 w 125"/>
                <a:gd name="T25" fmla="*/ 142 h 165"/>
                <a:gd name="T26" fmla="*/ 91 w 125"/>
                <a:gd name="T27" fmla="*/ 164 h 165"/>
                <a:gd name="T28" fmla="*/ 74 w 125"/>
                <a:gd name="T29" fmla="*/ 144 h 165"/>
                <a:gd name="T30" fmla="*/ 83 w 125"/>
                <a:gd name="T31" fmla="*/ 166 h 165"/>
                <a:gd name="T32" fmla="*/ 68 w 125"/>
                <a:gd name="T33" fmla="*/ 159 h 165"/>
                <a:gd name="T34" fmla="*/ 74 w 125"/>
                <a:gd name="T35" fmla="*/ 166 h 165"/>
                <a:gd name="T36" fmla="*/ 40 w 125"/>
                <a:gd name="T37" fmla="*/ 149 h 165"/>
                <a:gd name="T38" fmla="*/ 55 w 125"/>
                <a:gd name="T39" fmla="*/ 147 h 165"/>
                <a:gd name="T40" fmla="*/ 30 w 125"/>
                <a:gd name="T41" fmla="*/ 125 h 165"/>
                <a:gd name="T42" fmla="*/ 40 w 125"/>
                <a:gd name="T43" fmla="*/ 102 h 165"/>
                <a:gd name="T44" fmla="*/ 30 w 125"/>
                <a:gd name="T45" fmla="*/ 110 h 165"/>
                <a:gd name="T46" fmla="*/ 33 w 125"/>
                <a:gd name="T47" fmla="*/ 105 h 165"/>
                <a:gd name="T48" fmla="*/ 28 w 125"/>
                <a:gd name="T49" fmla="*/ 90 h 165"/>
                <a:gd name="T50" fmla="*/ 0 w 125"/>
                <a:gd name="T51" fmla="*/ 65 h 165"/>
                <a:gd name="T52" fmla="*/ 25 w 125"/>
                <a:gd name="T53" fmla="*/ 75 h 165"/>
                <a:gd name="T54" fmla="*/ 31 w 125"/>
                <a:gd name="T55" fmla="*/ 65 h 165"/>
                <a:gd name="T56" fmla="*/ 0 w 125"/>
                <a:gd name="T57" fmla="*/ 54 h 165"/>
                <a:gd name="T58" fmla="*/ 16 w 125"/>
                <a:gd name="T59" fmla="*/ 54 h 165"/>
                <a:gd name="T60" fmla="*/ 11 w 125"/>
                <a:gd name="T61" fmla="*/ 42 h 1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25"/>
                <a:gd name="T94" fmla="*/ 0 h 165"/>
                <a:gd name="T95" fmla="*/ 125 w 125"/>
                <a:gd name="T96" fmla="*/ 165 h 1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25" h="165">
                  <a:moveTo>
                    <a:pt x="11" y="42"/>
                  </a:moveTo>
                  <a:lnTo>
                    <a:pt x="31" y="45"/>
                  </a:lnTo>
                  <a:lnTo>
                    <a:pt x="18" y="17"/>
                  </a:lnTo>
                  <a:lnTo>
                    <a:pt x="43" y="10"/>
                  </a:lnTo>
                  <a:lnTo>
                    <a:pt x="20" y="0"/>
                  </a:lnTo>
                  <a:lnTo>
                    <a:pt x="97" y="67"/>
                  </a:lnTo>
                  <a:lnTo>
                    <a:pt x="93" y="50"/>
                  </a:lnTo>
                  <a:lnTo>
                    <a:pt x="120" y="99"/>
                  </a:lnTo>
                  <a:lnTo>
                    <a:pt x="125" y="92"/>
                  </a:lnTo>
                  <a:lnTo>
                    <a:pt x="102" y="139"/>
                  </a:lnTo>
                  <a:lnTo>
                    <a:pt x="97" y="119"/>
                  </a:lnTo>
                  <a:lnTo>
                    <a:pt x="97" y="149"/>
                  </a:lnTo>
                  <a:lnTo>
                    <a:pt x="88" y="141"/>
                  </a:lnTo>
                  <a:lnTo>
                    <a:pt x="90" y="163"/>
                  </a:lnTo>
                  <a:lnTo>
                    <a:pt x="73" y="143"/>
                  </a:lnTo>
                  <a:lnTo>
                    <a:pt x="82" y="165"/>
                  </a:lnTo>
                  <a:lnTo>
                    <a:pt x="67" y="158"/>
                  </a:lnTo>
                  <a:lnTo>
                    <a:pt x="73" y="165"/>
                  </a:lnTo>
                  <a:lnTo>
                    <a:pt x="40" y="148"/>
                  </a:lnTo>
                  <a:lnTo>
                    <a:pt x="55" y="146"/>
                  </a:lnTo>
                  <a:lnTo>
                    <a:pt x="30" y="124"/>
                  </a:lnTo>
                  <a:lnTo>
                    <a:pt x="40" y="101"/>
                  </a:lnTo>
                  <a:lnTo>
                    <a:pt x="30" y="109"/>
                  </a:lnTo>
                  <a:lnTo>
                    <a:pt x="33" y="104"/>
                  </a:lnTo>
                  <a:lnTo>
                    <a:pt x="28" y="89"/>
                  </a:lnTo>
                  <a:lnTo>
                    <a:pt x="0" y="65"/>
                  </a:lnTo>
                  <a:lnTo>
                    <a:pt x="25" y="75"/>
                  </a:lnTo>
                  <a:lnTo>
                    <a:pt x="31" y="65"/>
                  </a:lnTo>
                  <a:lnTo>
                    <a:pt x="0" y="54"/>
                  </a:lnTo>
                  <a:lnTo>
                    <a:pt x="16" y="54"/>
                  </a:lnTo>
                  <a:lnTo>
                    <a:pt x="11" y="42"/>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1" name="Freeform 7">
              <a:extLst>
                <a:ext uri="{FF2B5EF4-FFF2-40B4-BE49-F238E27FC236}">
                  <a16:creationId xmlns:a16="http://schemas.microsoft.com/office/drawing/2014/main" id="{75FBC39F-DD91-C241-BAB9-8976EFAB7D30}"/>
                </a:ext>
              </a:extLst>
            </p:cNvPr>
            <p:cNvSpPr>
              <a:spLocks/>
            </p:cNvSpPr>
            <p:nvPr/>
          </p:nvSpPr>
          <p:spPr bwMode="auto">
            <a:xfrm>
              <a:off x="4248801" y="1450577"/>
              <a:ext cx="117154" cy="135464"/>
            </a:xfrm>
            <a:custGeom>
              <a:avLst/>
              <a:gdLst>
                <a:gd name="T0" fmla="*/ 27 w 64"/>
                <a:gd name="T1" fmla="*/ 74 h 74"/>
                <a:gd name="T2" fmla="*/ 0 w 64"/>
                <a:gd name="T3" fmla="*/ 35 h 74"/>
                <a:gd name="T4" fmla="*/ 25 w 64"/>
                <a:gd name="T5" fmla="*/ 38 h 74"/>
                <a:gd name="T6" fmla="*/ 27 w 64"/>
                <a:gd name="T7" fmla="*/ 27 h 74"/>
                <a:gd name="T8" fmla="*/ 10 w 64"/>
                <a:gd name="T9" fmla="*/ 15 h 74"/>
                <a:gd name="T10" fmla="*/ 18 w 64"/>
                <a:gd name="T11" fmla="*/ 17 h 74"/>
                <a:gd name="T12" fmla="*/ 12 w 64"/>
                <a:gd name="T13" fmla="*/ 7 h 74"/>
                <a:gd name="T14" fmla="*/ 20 w 64"/>
                <a:gd name="T15" fmla="*/ 0 h 74"/>
                <a:gd name="T16" fmla="*/ 44 w 64"/>
                <a:gd name="T17" fmla="*/ 37 h 74"/>
                <a:gd name="T18" fmla="*/ 64 w 64"/>
                <a:gd name="T19" fmla="*/ 42 h 74"/>
                <a:gd name="T20" fmla="*/ 27 w 64"/>
                <a:gd name="T21" fmla="*/ 74 h 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74"/>
                <a:gd name="T35" fmla="*/ 64 w 64"/>
                <a:gd name="T36" fmla="*/ 74 h 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74">
                  <a:moveTo>
                    <a:pt x="27" y="74"/>
                  </a:moveTo>
                  <a:lnTo>
                    <a:pt x="0" y="35"/>
                  </a:lnTo>
                  <a:lnTo>
                    <a:pt x="25" y="38"/>
                  </a:lnTo>
                  <a:lnTo>
                    <a:pt x="27" y="27"/>
                  </a:lnTo>
                  <a:lnTo>
                    <a:pt x="10" y="15"/>
                  </a:lnTo>
                  <a:lnTo>
                    <a:pt x="18" y="17"/>
                  </a:lnTo>
                  <a:lnTo>
                    <a:pt x="12" y="7"/>
                  </a:lnTo>
                  <a:lnTo>
                    <a:pt x="20" y="0"/>
                  </a:lnTo>
                  <a:lnTo>
                    <a:pt x="44" y="37"/>
                  </a:lnTo>
                  <a:lnTo>
                    <a:pt x="64" y="42"/>
                  </a:lnTo>
                  <a:lnTo>
                    <a:pt x="27" y="74"/>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2" name="Freeform 8">
              <a:extLst>
                <a:ext uri="{FF2B5EF4-FFF2-40B4-BE49-F238E27FC236}">
                  <a16:creationId xmlns:a16="http://schemas.microsoft.com/office/drawing/2014/main" id="{14DF0AA1-FC9E-664A-B2EB-CBD0EAEC613B}"/>
                </a:ext>
              </a:extLst>
            </p:cNvPr>
            <p:cNvSpPr>
              <a:spLocks/>
            </p:cNvSpPr>
            <p:nvPr/>
          </p:nvSpPr>
          <p:spPr bwMode="auto">
            <a:xfrm>
              <a:off x="4408058" y="1364538"/>
              <a:ext cx="118985" cy="126311"/>
            </a:xfrm>
            <a:custGeom>
              <a:avLst/>
              <a:gdLst>
                <a:gd name="T0" fmla="*/ 63 w 64"/>
                <a:gd name="T1" fmla="*/ 28 h 69"/>
                <a:gd name="T2" fmla="*/ 65 w 64"/>
                <a:gd name="T3" fmla="*/ 52 h 69"/>
                <a:gd name="T4" fmla="*/ 60 w 64"/>
                <a:gd name="T5" fmla="*/ 43 h 69"/>
                <a:gd name="T6" fmla="*/ 62 w 64"/>
                <a:gd name="T7" fmla="*/ 62 h 69"/>
                <a:gd name="T8" fmla="*/ 56 w 64"/>
                <a:gd name="T9" fmla="*/ 60 h 69"/>
                <a:gd name="T10" fmla="*/ 40 w 64"/>
                <a:gd name="T11" fmla="*/ 64 h 69"/>
                <a:gd name="T12" fmla="*/ 30 w 64"/>
                <a:gd name="T13" fmla="*/ 69 h 69"/>
                <a:gd name="T14" fmla="*/ 0 w 64"/>
                <a:gd name="T15" fmla="*/ 43 h 69"/>
                <a:gd name="T16" fmla="*/ 19 w 64"/>
                <a:gd name="T17" fmla="*/ 37 h 69"/>
                <a:gd name="T18" fmla="*/ 12 w 64"/>
                <a:gd name="T19" fmla="*/ 10 h 69"/>
                <a:gd name="T20" fmla="*/ 38 w 64"/>
                <a:gd name="T21" fmla="*/ 28 h 69"/>
                <a:gd name="T22" fmla="*/ 20 w 64"/>
                <a:gd name="T23" fmla="*/ 8 h 69"/>
                <a:gd name="T24" fmla="*/ 50 w 64"/>
                <a:gd name="T25" fmla="*/ 0 h 69"/>
                <a:gd name="T26" fmla="*/ 63 w 64"/>
                <a:gd name="T27" fmla="*/ 28 h 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69"/>
                <a:gd name="T44" fmla="*/ 64 w 64"/>
                <a:gd name="T45" fmla="*/ 69 h 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69">
                  <a:moveTo>
                    <a:pt x="62" y="28"/>
                  </a:moveTo>
                  <a:lnTo>
                    <a:pt x="64" y="52"/>
                  </a:lnTo>
                  <a:lnTo>
                    <a:pt x="59" y="43"/>
                  </a:lnTo>
                  <a:lnTo>
                    <a:pt x="61" y="62"/>
                  </a:lnTo>
                  <a:lnTo>
                    <a:pt x="55" y="60"/>
                  </a:lnTo>
                  <a:lnTo>
                    <a:pt x="39" y="64"/>
                  </a:lnTo>
                  <a:lnTo>
                    <a:pt x="30" y="69"/>
                  </a:lnTo>
                  <a:lnTo>
                    <a:pt x="0" y="43"/>
                  </a:lnTo>
                  <a:lnTo>
                    <a:pt x="19" y="37"/>
                  </a:lnTo>
                  <a:lnTo>
                    <a:pt x="12" y="10"/>
                  </a:lnTo>
                  <a:lnTo>
                    <a:pt x="37" y="28"/>
                  </a:lnTo>
                  <a:lnTo>
                    <a:pt x="20" y="8"/>
                  </a:lnTo>
                  <a:lnTo>
                    <a:pt x="49" y="0"/>
                  </a:lnTo>
                  <a:lnTo>
                    <a:pt x="62" y="28"/>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3" name="Freeform 9">
              <a:extLst>
                <a:ext uri="{FF2B5EF4-FFF2-40B4-BE49-F238E27FC236}">
                  <a16:creationId xmlns:a16="http://schemas.microsoft.com/office/drawing/2014/main" id="{3EF86427-98D4-1F48-BB75-4C5381E0A029}"/>
                </a:ext>
              </a:extLst>
            </p:cNvPr>
            <p:cNvSpPr>
              <a:spLocks/>
            </p:cNvSpPr>
            <p:nvPr/>
          </p:nvSpPr>
          <p:spPr bwMode="auto">
            <a:xfrm>
              <a:off x="4510568" y="1262025"/>
              <a:ext cx="71391" cy="76885"/>
            </a:xfrm>
            <a:custGeom>
              <a:avLst/>
              <a:gdLst>
                <a:gd name="T0" fmla="*/ 39 w 39"/>
                <a:gd name="T1" fmla="*/ 42 h 42"/>
                <a:gd name="T2" fmla="*/ 0 w 39"/>
                <a:gd name="T3" fmla="*/ 0 h 42"/>
                <a:gd name="T4" fmla="*/ 39 w 39"/>
                <a:gd name="T5" fmla="*/ 42 h 42"/>
                <a:gd name="T6" fmla="*/ 0 60000 65536"/>
                <a:gd name="T7" fmla="*/ 0 60000 65536"/>
                <a:gd name="T8" fmla="*/ 0 60000 65536"/>
                <a:gd name="T9" fmla="*/ 0 w 39"/>
                <a:gd name="T10" fmla="*/ 0 h 42"/>
                <a:gd name="T11" fmla="*/ 39 w 39"/>
                <a:gd name="T12" fmla="*/ 42 h 42"/>
              </a:gdLst>
              <a:ahLst/>
              <a:cxnLst>
                <a:cxn ang="T6">
                  <a:pos x="T0" y="T1"/>
                </a:cxn>
                <a:cxn ang="T7">
                  <a:pos x="T2" y="T3"/>
                </a:cxn>
                <a:cxn ang="T8">
                  <a:pos x="T4" y="T5"/>
                </a:cxn>
              </a:cxnLst>
              <a:rect l="T9" t="T10" r="T11" b="T12"/>
              <a:pathLst>
                <a:path w="39" h="42">
                  <a:moveTo>
                    <a:pt x="39" y="42"/>
                  </a:moveTo>
                  <a:lnTo>
                    <a:pt x="0" y="0"/>
                  </a:lnTo>
                  <a:lnTo>
                    <a:pt x="39" y="42"/>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4" name="Freeform 10">
              <a:extLst>
                <a:ext uri="{FF2B5EF4-FFF2-40B4-BE49-F238E27FC236}">
                  <a16:creationId xmlns:a16="http://schemas.microsoft.com/office/drawing/2014/main" id="{5985D368-A65B-954A-973F-548E5232AA13}"/>
                </a:ext>
              </a:extLst>
            </p:cNvPr>
            <p:cNvSpPr>
              <a:spLocks/>
            </p:cNvSpPr>
            <p:nvPr/>
          </p:nvSpPr>
          <p:spPr bwMode="auto">
            <a:xfrm>
              <a:off x="4358634" y="1252872"/>
              <a:ext cx="124477" cy="93361"/>
            </a:xfrm>
            <a:custGeom>
              <a:avLst/>
              <a:gdLst>
                <a:gd name="T0" fmla="*/ 62 w 67"/>
                <a:gd name="T1" fmla="*/ 10 h 51"/>
                <a:gd name="T2" fmla="*/ 68 w 67"/>
                <a:gd name="T3" fmla="*/ 51 h 51"/>
                <a:gd name="T4" fmla="*/ 0 w 67"/>
                <a:gd name="T5" fmla="*/ 20 h 51"/>
                <a:gd name="T6" fmla="*/ 19 w 67"/>
                <a:gd name="T7" fmla="*/ 17 h 51"/>
                <a:gd name="T8" fmla="*/ 12 w 67"/>
                <a:gd name="T9" fmla="*/ 17 h 51"/>
                <a:gd name="T10" fmla="*/ 19 w 67"/>
                <a:gd name="T11" fmla="*/ 9 h 51"/>
                <a:gd name="T12" fmla="*/ 9 w 67"/>
                <a:gd name="T13" fmla="*/ 0 h 51"/>
                <a:gd name="T14" fmla="*/ 0 w 67"/>
                <a:gd name="T15" fmla="*/ 9 h 51"/>
                <a:gd name="T16" fmla="*/ 22 w 67"/>
                <a:gd name="T17" fmla="*/ 0 h 51"/>
                <a:gd name="T18" fmla="*/ 62 w 67"/>
                <a:gd name="T19" fmla="*/ 1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51"/>
                <a:gd name="T32" fmla="*/ 67 w 67"/>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51">
                  <a:moveTo>
                    <a:pt x="61" y="10"/>
                  </a:moveTo>
                  <a:lnTo>
                    <a:pt x="67" y="51"/>
                  </a:lnTo>
                  <a:lnTo>
                    <a:pt x="0" y="20"/>
                  </a:lnTo>
                  <a:lnTo>
                    <a:pt x="19" y="17"/>
                  </a:lnTo>
                  <a:lnTo>
                    <a:pt x="12" y="17"/>
                  </a:lnTo>
                  <a:lnTo>
                    <a:pt x="19" y="9"/>
                  </a:lnTo>
                  <a:lnTo>
                    <a:pt x="9" y="0"/>
                  </a:lnTo>
                  <a:lnTo>
                    <a:pt x="0" y="9"/>
                  </a:lnTo>
                  <a:lnTo>
                    <a:pt x="22" y="0"/>
                  </a:lnTo>
                  <a:lnTo>
                    <a:pt x="61" y="1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5" name="Freeform 11">
              <a:extLst>
                <a:ext uri="{FF2B5EF4-FFF2-40B4-BE49-F238E27FC236}">
                  <a16:creationId xmlns:a16="http://schemas.microsoft.com/office/drawing/2014/main" id="{71DAAFF3-FC71-3F4D-9837-328DA0982437}"/>
                </a:ext>
              </a:extLst>
            </p:cNvPr>
            <p:cNvSpPr>
              <a:spLocks/>
            </p:cNvSpPr>
            <p:nvPr/>
          </p:nvSpPr>
          <p:spPr bwMode="auto">
            <a:xfrm>
              <a:off x="4338498" y="1355385"/>
              <a:ext cx="32950" cy="42104"/>
            </a:xfrm>
            <a:custGeom>
              <a:avLst/>
              <a:gdLst>
                <a:gd name="T0" fmla="*/ 11 w 18"/>
                <a:gd name="T1" fmla="*/ 6 h 23"/>
                <a:gd name="T2" fmla="*/ 18 w 18"/>
                <a:gd name="T3" fmla="*/ 23 h 23"/>
                <a:gd name="T4" fmla="*/ 0 w 18"/>
                <a:gd name="T5" fmla="*/ 0 h 23"/>
                <a:gd name="T6" fmla="*/ 11 w 18"/>
                <a:gd name="T7" fmla="*/ 6 h 23"/>
                <a:gd name="T8" fmla="*/ 0 60000 65536"/>
                <a:gd name="T9" fmla="*/ 0 60000 65536"/>
                <a:gd name="T10" fmla="*/ 0 60000 65536"/>
                <a:gd name="T11" fmla="*/ 0 60000 65536"/>
                <a:gd name="T12" fmla="*/ 0 w 18"/>
                <a:gd name="T13" fmla="*/ 0 h 23"/>
                <a:gd name="T14" fmla="*/ 18 w 18"/>
                <a:gd name="T15" fmla="*/ 23 h 23"/>
              </a:gdLst>
              <a:ahLst/>
              <a:cxnLst>
                <a:cxn ang="T8">
                  <a:pos x="T0" y="T1"/>
                </a:cxn>
                <a:cxn ang="T9">
                  <a:pos x="T2" y="T3"/>
                </a:cxn>
                <a:cxn ang="T10">
                  <a:pos x="T4" y="T5"/>
                </a:cxn>
                <a:cxn ang="T11">
                  <a:pos x="T6" y="T7"/>
                </a:cxn>
              </a:cxnLst>
              <a:rect l="T12" t="T13" r="T14" b="T15"/>
              <a:pathLst>
                <a:path w="18" h="23">
                  <a:moveTo>
                    <a:pt x="11" y="6"/>
                  </a:moveTo>
                  <a:lnTo>
                    <a:pt x="18" y="23"/>
                  </a:lnTo>
                  <a:lnTo>
                    <a:pt x="0" y="0"/>
                  </a:lnTo>
                  <a:lnTo>
                    <a:pt x="11" y="6"/>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6" name="Freeform 12">
              <a:extLst>
                <a:ext uri="{FF2B5EF4-FFF2-40B4-BE49-F238E27FC236}">
                  <a16:creationId xmlns:a16="http://schemas.microsoft.com/office/drawing/2014/main" id="{150BF944-FB95-8A46-A5DE-326F1BDE2988}"/>
                </a:ext>
              </a:extLst>
            </p:cNvPr>
            <p:cNvSpPr>
              <a:spLocks/>
            </p:cNvSpPr>
            <p:nvPr/>
          </p:nvSpPr>
          <p:spPr bwMode="auto">
            <a:xfrm>
              <a:off x="4074900" y="1413965"/>
              <a:ext cx="247123" cy="173907"/>
            </a:xfrm>
            <a:custGeom>
              <a:avLst/>
              <a:gdLst>
                <a:gd name="T0" fmla="*/ 93 w 134"/>
                <a:gd name="T1" fmla="*/ 15 h 95"/>
                <a:gd name="T2" fmla="*/ 108 w 134"/>
                <a:gd name="T3" fmla="*/ 0 h 95"/>
                <a:gd name="T4" fmla="*/ 119 w 134"/>
                <a:gd name="T5" fmla="*/ 45 h 95"/>
                <a:gd name="T6" fmla="*/ 132 w 134"/>
                <a:gd name="T7" fmla="*/ 48 h 95"/>
                <a:gd name="T8" fmla="*/ 135 w 134"/>
                <a:gd name="T9" fmla="*/ 33 h 95"/>
                <a:gd name="T10" fmla="*/ 110 w 134"/>
                <a:gd name="T11" fmla="*/ 72 h 95"/>
                <a:gd name="T12" fmla="*/ 49 w 134"/>
                <a:gd name="T13" fmla="*/ 95 h 95"/>
                <a:gd name="T14" fmla="*/ 82 w 134"/>
                <a:gd name="T15" fmla="*/ 65 h 95"/>
                <a:gd name="T16" fmla="*/ 45 w 134"/>
                <a:gd name="T17" fmla="*/ 75 h 95"/>
                <a:gd name="T18" fmla="*/ 52 w 134"/>
                <a:gd name="T19" fmla="*/ 58 h 95"/>
                <a:gd name="T20" fmla="*/ 37 w 134"/>
                <a:gd name="T21" fmla="*/ 63 h 95"/>
                <a:gd name="T22" fmla="*/ 0 w 134"/>
                <a:gd name="T23" fmla="*/ 67 h 95"/>
                <a:gd name="T24" fmla="*/ 30 w 134"/>
                <a:gd name="T25" fmla="*/ 47 h 95"/>
                <a:gd name="T26" fmla="*/ 5 w 134"/>
                <a:gd name="T27" fmla="*/ 53 h 95"/>
                <a:gd name="T28" fmla="*/ 105 w 134"/>
                <a:gd name="T29" fmla="*/ 53 h 95"/>
                <a:gd name="T30" fmla="*/ 93 w 134"/>
                <a:gd name="T31" fmla="*/ 15 h 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4"/>
                <a:gd name="T49" fmla="*/ 0 h 95"/>
                <a:gd name="T50" fmla="*/ 134 w 134"/>
                <a:gd name="T51" fmla="*/ 95 h 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4" h="95">
                  <a:moveTo>
                    <a:pt x="92" y="15"/>
                  </a:moveTo>
                  <a:lnTo>
                    <a:pt x="107" y="0"/>
                  </a:lnTo>
                  <a:lnTo>
                    <a:pt x="118" y="45"/>
                  </a:lnTo>
                  <a:lnTo>
                    <a:pt x="131" y="48"/>
                  </a:lnTo>
                  <a:lnTo>
                    <a:pt x="134" y="33"/>
                  </a:lnTo>
                  <a:lnTo>
                    <a:pt x="109" y="72"/>
                  </a:lnTo>
                  <a:lnTo>
                    <a:pt x="49" y="95"/>
                  </a:lnTo>
                  <a:lnTo>
                    <a:pt x="81" y="65"/>
                  </a:lnTo>
                  <a:lnTo>
                    <a:pt x="45" y="75"/>
                  </a:lnTo>
                  <a:lnTo>
                    <a:pt x="52" y="58"/>
                  </a:lnTo>
                  <a:lnTo>
                    <a:pt x="37" y="63"/>
                  </a:lnTo>
                  <a:lnTo>
                    <a:pt x="0" y="67"/>
                  </a:lnTo>
                  <a:lnTo>
                    <a:pt x="30" y="47"/>
                  </a:lnTo>
                  <a:lnTo>
                    <a:pt x="5" y="53"/>
                  </a:lnTo>
                  <a:lnTo>
                    <a:pt x="104" y="53"/>
                  </a:lnTo>
                  <a:lnTo>
                    <a:pt x="92" y="15"/>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7" name="Freeform 13">
              <a:extLst>
                <a:ext uri="{FF2B5EF4-FFF2-40B4-BE49-F238E27FC236}">
                  <a16:creationId xmlns:a16="http://schemas.microsoft.com/office/drawing/2014/main" id="{EF50077D-D008-DE4A-93A5-82A81575652D}"/>
                </a:ext>
              </a:extLst>
            </p:cNvPr>
            <p:cNvSpPr>
              <a:spLocks/>
            </p:cNvSpPr>
            <p:nvPr/>
          </p:nvSpPr>
          <p:spPr bwMode="auto">
            <a:xfrm>
              <a:off x="3957746" y="1375522"/>
              <a:ext cx="129968" cy="117158"/>
            </a:xfrm>
            <a:custGeom>
              <a:avLst/>
              <a:gdLst>
                <a:gd name="T0" fmla="*/ 33 w 70"/>
                <a:gd name="T1" fmla="*/ 19 h 64"/>
                <a:gd name="T2" fmla="*/ 59 w 70"/>
                <a:gd name="T3" fmla="*/ 4 h 64"/>
                <a:gd name="T4" fmla="*/ 59 w 70"/>
                <a:gd name="T5" fmla="*/ 9 h 64"/>
                <a:gd name="T6" fmla="*/ 71 w 70"/>
                <a:gd name="T7" fmla="*/ 5 h 64"/>
                <a:gd name="T8" fmla="*/ 68 w 70"/>
                <a:gd name="T9" fmla="*/ 0 h 64"/>
                <a:gd name="T10" fmla="*/ 61 w 70"/>
                <a:gd name="T11" fmla="*/ 44 h 64"/>
                <a:gd name="T12" fmla="*/ 61 w 70"/>
                <a:gd name="T13" fmla="*/ 27 h 64"/>
                <a:gd name="T14" fmla="*/ 30 w 70"/>
                <a:gd name="T15" fmla="*/ 64 h 64"/>
                <a:gd name="T16" fmla="*/ 25 w 70"/>
                <a:gd name="T17" fmla="*/ 49 h 64"/>
                <a:gd name="T18" fmla="*/ 5 w 70"/>
                <a:gd name="T19" fmla="*/ 59 h 64"/>
                <a:gd name="T20" fmla="*/ 5 w 70"/>
                <a:gd name="T21" fmla="*/ 51 h 64"/>
                <a:gd name="T22" fmla="*/ 0 w 70"/>
                <a:gd name="T23" fmla="*/ 54 h 64"/>
                <a:gd name="T24" fmla="*/ 33 w 70"/>
                <a:gd name="T25" fmla="*/ 19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0"/>
                <a:gd name="T40" fmla="*/ 0 h 64"/>
                <a:gd name="T41" fmla="*/ 70 w 70"/>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0" h="64">
                  <a:moveTo>
                    <a:pt x="33" y="19"/>
                  </a:moveTo>
                  <a:lnTo>
                    <a:pt x="58" y="4"/>
                  </a:lnTo>
                  <a:lnTo>
                    <a:pt x="58" y="9"/>
                  </a:lnTo>
                  <a:lnTo>
                    <a:pt x="70" y="5"/>
                  </a:lnTo>
                  <a:lnTo>
                    <a:pt x="67" y="0"/>
                  </a:lnTo>
                  <a:lnTo>
                    <a:pt x="60" y="44"/>
                  </a:lnTo>
                  <a:lnTo>
                    <a:pt x="60" y="27"/>
                  </a:lnTo>
                  <a:lnTo>
                    <a:pt x="30" y="64"/>
                  </a:lnTo>
                  <a:lnTo>
                    <a:pt x="25" y="49"/>
                  </a:lnTo>
                  <a:lnTo>
                    <a:pt x="5" y="59"/>
                  </a:lnTo>
                  <a:lnTo>
                    <a:pt x="5" y="51"/>
                  </a:lnTo>
                  <a:lnTo>
                    <a:pt x="0" y="54"/>
                  </a:lnTo>
                  <a:lnTo>
                    <a:pt x="33" y="19"/>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8" name="Freeform 14">
              <a:extLst>
                <a:ext uri="{FF2B5EF4-FFF2-40B4-BE49-F238E27FC236}">
                  <a16:creationId xmlns:a16="http://schemas.microsoft.com/office/drawing/2014/main" id="{76C7700E-3F36-D44E-A55E-879C9B906A7F}"/>
                </a:ext>
              </a:extLst>
            </p:cNvPr>
            <p:cNvSpPr>
              <a:spLocks/>
            </p:cNvSpPr>
            <p:nvPr/>
          </p:nvSpPr>
          <p:spPr bwMode="auto">
            <a:xfrm>
              <a:off x="4197546" y="1329757"/>
              <a:ext cx="51255" cy="21967"/>
            </a:xfrm>
            <a:custGeom>
              <a:avLst/>
              <a:gdLst>
                <a:gd name="T0" fmla="*/ 0 w 27"/>
                <a:gd name="T1" fmla="*/ 0 h 12"/>
                <a:gd name="T2" fmla="*/ 28 w 27"/>
                <a:gd name="T3" fmla="*/ 2 h 12"/>
                <a:gd name="T4" fmla="*/ 7 w 27"/>
                <a:gd name="T5" fmla="*/ 10 h 12"/>
                <a:gd name="T6" fmla="*/ 23 w 27"/>
                <a:gd name="T7" fmla="*/ 12 h 12"/>
                <a:gd name="T8" fmla="*/ 0 w 27"/>
                <a:gd name="T9" fmla="*/ 0 h 12"/>
                <a:gd name="T10" fmla="*/ 0 60000 65536"/>
                <a:gd name="T11" fmla="*/ 0 60000 65536"/>
                <a:gd name="T12" fmla="*/ 0 60000 65536"/>
                <a:gd name="T13" fmla="*/ 0 60000 65536"/>
                <a:gd name="T14" fmla="*/ 0 60000 65536"/>
                <a:gd name="T15" fmla="*/ 0 w 27"/>
                <a:gd name="T16" fmla="*/ 0 h 12"/>
                <a:gd name="T17" fmla="*/ 27 w 27"/>
                <a:gd name="T18" fmla="*/ 12 h 12"/>
              </a:gdLst>
              <a:ahLst/>
              <a:cxnLst>
                <a:cxn ang="T10">
                  <a:pos x="T0" y="T1"/>
                </a:cxn>
                <a:cxn ang="T11">
                  <a:pos x="T2" y="T3"/>
                </a:cxn>
                <a:cxn ang="T12">
                  <a:pos x="T4" y="T5"/>
                </a:cxn>
                <a:cxn ang="T13">
                  <a:pos x="T6" y="T7"/>
                </a:cxn>
                <a:cxn ang="T14">
                  <a:pos x="T8" y="T9"/>
                </a:cxn>
              </a:cxnLst>
              <a:rect l="T15" t="T16" r="T17" b="T18"/>
              <a:pathLst>
                <a:path w="27" h="12">
                  <a:moveTo>
                    <a:pt x="0" y="0"/>
                  </a:moveTo>
                  <a:lnTo>
                    <a:pt x="27" y="2"/>
                  </a:lnTo>
                  <a:lnTo>
                    <a:pt x="7" y="10"/>
                  </a:lnTo>
                  <a:lnTo>
                    <a:pt x="22" y="12"/>
                  </a:lnTo>
                  <a:lnTo>
                    <a:pt x="0"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59" name="Freeform 15">
              <a:extLst>
                <a:ext uri="{FF2B5EF4-FFF2-40B4-BE49-F238E27FC236}">
                  <a16:creationId xmlns:a16="http://schemas.microsoft.com/office/drawing/2014/main" id="{E09C59E8-7443-154F-A70B-1A4976B3580A}"/>
                </a:ext>
              </a:extLst>
            </p:cNvPr>
            <p:cNvSpPr>
              <a:spLocks/>
            </p:cNvSpPr>
            <p:nvPr/>
          </p:nvSpPr>
          <p:spPr bwMode="auto">
            <a:xfrm>
              <a:off x="4168258" y="1280331"/>
              <a:ext cx="86035" cy="27459"/>
            </a:xfrm>
            <a:custGeom>
              <a:avLst/>
              <a:gdLst>
                <a:gd name="T0" fmla="*/ 42 w 46"/>
                <a:gd name="T1" fmla="*/ 0 h 15"/>
                <a:gd name="T2" fmla="*/ 47 w 46"/>
                <a:gd name="T3" fmla="*/ 14 h 15"/>
                <a:gd name="T4" fmla="*/ 0 w 46"/>
                <a:gd name="T5" fmla="*/ 15 h 15"/>
                <a:gd name="T6" fmla="*/ 42 w 46"/>
                <a:gd name="T7" fmla="*/ 0 h 15"/>
                <a:gd name="T8" fmla="*/ 0 60000 65536"/>
                <a:gd name="T9" fmla="*/ 0 60000 65536"/>
                <a:gd name="T10" fmla="*/ 0 60000 65536"/>
                <a:gd name="T11" fmla="*/ 0 60000 65536"/>
                <a:gd name="T12" fmla="*/ 0 w 46"/>
                <a:gd name="T13" fmla="*/ 0 h 15"/>
                <a:gd name="T14" fmla="*/ 46 w 46"/>
                <a:gd name="T15" fmla="*/ 15 h 15"/>
              </a:gdLst>
              <a:ahLst/>
              <a:cxnLst>
                <a:cxn ang="T8">
                  <a:pos x="T0" y="T1"/>
                </a:cxn>
                <a:cxn ang="T9">
                  <a:pos x="T2" y="T3"/>
                </a:cxn>
                <a:cxn ang="T10">
                  <a:pos x="T4" y="T5"/>
                </a:cxn>
                <a:cxn ang="T11">
                  <a:pos x="T6" y="T7"/>
                </a:cxn>
              </a:cxnLst>
              <a:rect l="T12" t="T13" r="T14" b="T15"/>
              <a:pathLst>
                <a:path w="46" h="15">
                  <a:moveTo>
                    <a:pt x="41" y="0"/>
                  </a:moveTo>
                  <a:lnTo>
                    <a:pt x="46" y="14"/>
                  </a:lnTo>
                  <a:lnTo>
                    <a:pt x="0" y="15"/>
                  </a:lnTo>
                  <a:lnTo>
                    <a:pt x="41"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0" name="Freeform 16">
              <a:extLst>
                <a:ext uri="{FF2B5EF4-FFF2-40B4-BE49-F238E27FC236}">
                  <a16:creationId xmlns:a16="http://schemas.microsoft.com/office/drawing/2014/main" id="{9D57F4E4-5116-8140-8D0C-B76F586D762F}"/>
                </a:ext>
              </a:extLst>
            </p:cNvPr>
            <p:cNvSpPr>
              <a:spLocks/>
            </p:cNvSpPr>
            <p:nvPr/>
          </p:nvSpPr>
          <p:spPr bwMode="auto">
            <a:xfrm>
              <a:off x="4492263" y="1152189"/>
              <a:ext cx="16475" cy="42104"/>
            </a:xfrm>
            <a:custGeom>
              <a:avLst/>
              <a:gdLst>
                <a:gd name="T0" fmla="*/ 0 w 9"/>
                <a:gd name="T1" fmla="*/ 0 h 23"/>
                <a:gd name="T2" fmla="*/ 9 w 9"/>
                <a:gd name="T3" fmla="*/ 23 h 23"/>
                <a:gd name="T4" fmla="*/ 0 w 9"/>
                <a:gd name="T5" fmla="*/ 0 h 23"/>
                <a:gd name="T6" fmla="*/ 0 60000 65536"/>
                <a:gd name="T7" fmla="*/ 0 60000 65536"/>
                <a:gd name="T8" fmla="*/ 0 60000 65536"/>
                <a:gd name="T9" fmla="*/ 0 w 9"/>
                <a:gd name="T10" fmla="*/ 0 h 23"/>
                <a:gd name="T11" fmla="*/ 9 w 9"/>
                <a:gd name="T12" fmla="*/ 23 h 23"/>
              </a:gdLst>
              <a:ahLst/>
              <a:cxnLst>
                <a:cxn ang="T6">
                  <a:pos x="T0" y="T1"/>
                </a:cxn>
                <a:cxn ang="T7">
                  <a:pos x="T2" y="T3"/>
                </a:cxn>
                <a:cxn ang="T8">
                  <a:pos x="T4" y="T5"/>
                </a:cxn>
              </a:cxnLst>
              <a:rect l="T9" t="T10" r="T11" b="T12"/>
              <a:pathLst>
                <a:path w="9" h="23">
                  <a:moveTo>
                    <a:pt x="0" y="0"/>
                  </a:moveTo>
                  <a:lnTo>
                    <a:pt x="9" y="23"/>
                  </a:lnTo>
                  <a:lnTo>
                    <a:pt x="0"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1" name="Freeform 17">
              <a:extLst>
                <a:ext uri="{FF2B5EF4-FFF2-40B4-BE49-F238E27FC236}">
                  <a16:creationId xmlns:a16="http://schemas.microsoft.com/office/drawing/2014/main" id="{970E2FA4-9F01-114A-8122-1AF8F43B6571}"/>
                </a:ext>
              </a:extLst>
            </p:cNvPr>
            <p:cNvSpPr>
              <a:spLocks/>
            </p:cNvSpPr>
            <p:nvPr/>
          </p:nvSpPr>
          <p:spPr bwMode="auto">
            <a:xfrm>
              <a:off x="4559993" y="1355385"/>
              <a:ext cx="21966" cy="10984"/>
            </a:xfrm>
            <a:custGeom>
              <a:avLst/>
              <a:gdLst>
                <a:gd name="T0" fmla="*/ 12 w 12"/>
                <a:gd name="T1" fmla="*/ 0 h 6"/>
                <a:gd name="T2" fmla="*/ 0 w 12"/>
                <a:gd name="T3" fmla="*/ 6 h 6"/>
                <a:gd name="T4" fmla="*/ 12 w 12"/>
                <a:gd name="T5" fmla="*/ 0 h 6"/>
                <a:gd name="T6" fmla="*/ 0 60000 65536"/>
                <a:gd name="T7" fmla="*/ 0 60000 65536"/>
                <a:gd name="T8" fmla="*/ 0 60000 65536"/>
                <a:gd name="T9" fmla="*/ 0 w 12"/>
                <a:gd name="T10" fmla="*/ 0 h 6"/>
                <a:gd name="T11" fmla="*/ 12 w 12"/>
                <a:gd name="T12" fmla="*/ 6 h 6"/>
              </a:gdLst>
              <a:ahLst/>
              <a:cxnLst>
                <a:cxn ang="T6">
                  <a:pos x="T0" y="T1"/>
                </a:cxn>
                <a:cxn ang="T7">
                  <a:pos x="T2" y="T3"/>
                </a:cxn>
                <a:cxn ang="T8">
                  <a:pos x="T4" y="T5"/>
                </a:cxn>
              </a:cxnLst>
              <a:rect l="T9" t="T10" r="T11" b="T12"/>
              <a:pathLst>
                <a:path w="12" h="6">
                  <a:moveTo>
                    <a:pt x="12" y="0"/>
                  </a:moveTo>
                  <a:lnTo>
                    <a:pt x="0" y="6"/>
                  </a:lnTo>
                  <a:lnTo>
                    <a:pt x="12"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2" name="Freeform 18">
              <a:extLst>
                <a:ext uri="{FF2B5EF4-FFF2-40B4-BE49-F238E27FC236}">
                  <a16:creationId xmlns:a16="http://schemas.microsoft.com/office/drawing/2014/main" id="{6832D914-B6C6-F64A-BA3E-68AB68664C66}"/>
                </a:ext>
              </a:extLst>
            </p:cNvPr>
            <p:cNvSpPr>
              <a:spLocks/>
            </p:cNvSpPr>
            <p:nvPr/>
          </p:nvSpPr>
          <p:spPr bwMode="auto">
            <a:xfrm>
              <a:off x="4541688" y="1397489"/>
              <a:ext cx="360616" cy="197705"/>
            </a:xfrm>
            <a:custGeom>
              <a:avLst/>
              <a:gdLst>
                <a:gd name="T0" fmla="*/ 24 w 196"/>
                <a:gd name="T1" fmla="*/ 0 h 108"/>
                <a:gd name="T2" fmla="*/ 0 w 196"/>
                <a:gd name="T3" fmla="*/ 4 h 108"/>
                <a:gd name="T4" fmla="*/ 7 w 196"/>
                <a:gd name="T5" fmla="*/ 12 h 108"/>
                <a:gd name="T6" fmla="*/ 0 w 196"/>
                <a:gd name="T7" fmla="*/ 9 h 108"/>
                <a:gd name="T8" fmla="*/ 66 w 196"/>
                <a:gd name="T9" fmla="*/ 101 h 108"/>
                <a:gd name="T10" fmla="*/ 71 w 196"/>
                <a:gd name="T11" fmla="*/ 94 h 108"/>
                <a:gd name="T12" fmla="*/ 72 w 196"/>
                <a:gd name="T13" fmla="*/ 101 h 108"/>
                <a:gd name="T14" fmla="*/ 72 w 196"/>
                <a:gd name="T15" fmla="*/ 96 h 108"/>
                <a:gd name="T16" fmla="*/ 91 w 196"/>
                <a:gd name="T17" fmla="*/ 94 h 108"/>
                <a:gd name="T18" fmla="*/ 94 w 196"/>
                <a:gd name="T19" fmla="*/ 99 h 108"/>
                <a:gd name="T20" fmla="*/ 129 w 196"/>
                <a:gd name="T21" fmla="*/ 103 h 108"/>
                <a:gd name="T22" fmla="*/ 132 w 196"/>
                <a:gd name="T23" fmla="*/ 108 h 108"/>
                <a:gd name="T24" fmla="*/ 142 w 196"/>
                <a:gd name="T25" fmla="*/ 106 h 108"/>
                <a:gd name="T26" fmla="*/ 144 w 196"/>
                <a:gd name="T27" fmla="*/ 98 h 108"/>
                <a:gd name="T28" fmla="*/ 197 w 196"/>
                <a:gd name="T29" fmla="*/ 61 h 108"/>
                <a:gd name="T30" fmla="*/ 129 w 196"/>
                <a:gd name="T31" fmla="*/ 66 h 108"/>
                <a:gd name="T32" fmla="*/ 137 w 196"/>
                <a:gd name="T33" fmla="*/ 72 h 108"/>
                <a:gd name="T34" fmla="*/ 122 w 196"/>
                <a:gd name="T35" fmla="*/ 74 h 108"/>
                <a:gd name="T36" fmla="*/ 110 w 196"/>
                <a:gd name="T37" fmla="*/ 69 h 108"/>
                <a:gd name="T38" fmla="*/ 97 w 196"/>
                <a:gd name="T39" fmla="*/ 61 h 108"/>
                <a:gd name="T40" fmla="*/ 94 w 196"/>
                <a:gd name="T41" fmla="*/ 71 h 108"/>
                <a:gd name="T42" fmla="*/ 67 w 196"/>
                <a:gd name="T43" fmla="*/ 56 h 108"/>
                <a:gd name="T44" fmla="*/ 77 w 196"/>
                <a:gd name="T45" fmla="*/ 46 h 108"/>
                <a:gd name="T46" fmla="*/ 24 w 196"/>
                <a:gd name="T47" fmla="*/ 0 h 1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6"/>
                <a:gd name="T73" fmla="*/ 0 h 108"/>
                <a:gd name="T74" fmla="*/ 196 w 196"/>
                <a:gd name="T75" fmla="*/ 108 h 1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6" h="108">
                  <a:moveTo>
                    <a:pt x="24" y="0"/>
                  </a:moveTo>
                  <a:lnTo>
                    <a:pt x="0" y="4"/>
                  </a:lnTo>
                  <a:lnTo>
                    <a:pt x="7" y="12"/>
                  </a:lnTo>
                  <a:lnTo>
                    <a:pt x="0" y="9"/>
                  </a:lnTo>
                  <a:lnTo>
                    <a:pt x="66" y="101"/>
                  </a:lnTo>
                  <a:lnTo>
                    <a:pt x="71" y="94"/>
                  </a:lnTo>
                  <a:lnTo>
                    <a:pt x="72" y="101"/>
                  </a:lnTo>
                  <a:lnTo>
                    <a:pt x="72" y="96"/>
                  </a:lnTo>
                  <a:lnTo>
                    <a:pt x="91" y="94"/>
                  </a:lnTo>
                  <a:lnTo>
                    <a:pt x="94" y="99"/>
                  </a:lnTo>
                  <a:lnTo>
                    <a:pt x="128" y="103"/>
                  </a:lnTo>
                  <a:lnTo>
                    <a:pt x="131" y="108"/>
                  </a:lnTo>
                  <a:lnTo>
                    <a:pt x="141" y="106"/>
                  </a:lnTo>
                  <a:lnTo>
                    <a:pt x="143" y="98"/>
                  </a:lnTo>
                  <a:lnTo>
                    <a:pt x="196" y="61"/>
                  </a:lnTo>
                  <a:lnTo>
                    <a:pt x="128" y="66"/>
                  </a:lnTo>
                  <a:lnTo>
                    <a:pt x="136" y="72"/>
                  </a:lnTo>
                  <a:lnTo>
                    <a:pt x="121" y="74"/>
                  </a:lnTo>
                  <a:lnTo>
                    <a:pt x="109" y="69"/>
                  </a:lnTo>
                  <a:lnTo>
                    <a:pt x="97" y="61"/>
                  </a:lnTo>
                  <a:lnTo>
                    <a:pt x="94" y="71"/>
                  </a:lnTo>
                  <a:lnTo>
                    <a:pt x="67" y="56"/>
                  </a:lnTo>
                  <a:lnTo>
                    <a:pt x="77" y="46"/>
                  </a:lnTo>
                  <a:lnTo>
                    <a:pt x="24"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3" name="Freeform 19">
              <a:extLst>
                <a:ext uri="{FF2B5EF4-FFF2-40B4-BE49-F238E27FC236}">
                  <a16:creationId xmlns:a16="http://schemas.microsoft.com/office/drawing/2014/main" id="{D062CD80-1EA4-CE43-9F99-1D010B97A497}"/>
                </a:ext>
              </a:extLst>
            </p:cNvPr>
            <p:cNvSpPr>
              <a:spLocks/>
            </p:cNvSpPr>
            <p:nvPr/>
          </p:nvSpPr>
          <p:spPr bwMode="auto">
            <a:xfrm>
              <a:off x="4554501" y="1434101"/>
              <a:ext cx="58577" cy="76885"/>
            </a:xfrm>
            <a:custGeom>
              <a:avLst/>
              <a:gdLst>
                <a:gd name="T0" fmla="*/ 15 w 32"/>
                <a:gd name="T1" fmla="*/ 0 h 42"/>
                <a:gd name="T2" fmla="*/ 32 w 32"/>
                <a:gd name="T3" fmla="*/ 42 h 42"/>
                <a:gd name="T4" fmla="*/ 0 w 32"/>
                <a:gd name="T5" fmla="*/ 32 h 42"/>
                <a:gd name="T6" fmla="*/ 15 w 32"/>
                <a:gd name="T7" fmla="*/ 0 h 42"/>
                <a:gd name="T8" fmla="*/ 0 60000 65536"/>
                <a:gd name="T9" fmla="*/ 0 60000 65536"/>
                <a:gd name="T10" fmla="*/ 0 60000 65536"/>
                <a:gd name="T11" fmla="*/ 0 60000 65536"/>
                <a:gd name="T12" fmla="*/ 0 w 32"/>
                <a:gd name="T13" fmla="*/ 0 h 42"/>
                <a:gd name="T14" fmla="*/ 32 w 32"/>
                <a:gd name="T15" fmla="*/ 42 h 42"/>
              </a:gdLst>
              <a:ahLst/>
              <a:cxnLst>
                <a:cxn ang="T8">
                  <a:pos x="T0" y="T1"/>
                </a:cxn>
                <a:cxn ang="T9">
                  <a:pos x="T2" y="T3"/>
                </a:cxn>
                <a:cxn ang="T10">
                  <a:pos x="T4" y="T5"/>
                </a:cxn>
                <a:cxn ang="T11">
                  <a:pos x="T6" y="T7"/>
                </a:cxn>
              </a:cxnLst>
              <a:rect l="T12" t="T13" r="T14" b="T15"/>
              <a:pathLst>
                <a:path w="32" h="42">
                  <a:moveTo>
                    <a:pt x="15" y="0"/>
                  </a:moveTo>
                  <a:lnTo>
                    <a:pt x="32" y="42"/>
                  </a:lnTo>
                  <a:lnTo>
                    <a:pt x="0" y="32"/>
                  </a:lnTo>
                  <a:lnTo>
                    <a:pt x="15"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4" name="Freeform 20">
              <a:extLst>
                <a:ext uri="{FF2B5EF4-FFF2-40B4-BE49-F238E27FC236}">
                  <a16:creationId xmlns:a16="http://schemas.microsoft.com/office/drawing/2014/main" id="{D3967A71-A63C-604D-ABA8-343EAB07F2F6}"/>
                </a:ext>
              </a:extLst>
            </p:cNvPr>
            <p:cNvSpPr>
              <a:spLocks/>
            </p:cNvSpPr>
            <p:nvPr/>
          </p:nvSpPr>
          <p:spPr bwMode="auto">
            <a:xfrm>
              <a:off x="4395244" y="1432271"/>
              <a:ext cx="104341" cy="140956"/>
            </a:xfrm>
            <a:custGeom>
              <a:avLst/>
              <a:gdLst>
                <a:gd name="T0" fmla="*/ 2 w 56"/>
                <a:gd name="T1" fmla="*/ 0 h 77"/>
                <a:gd name="T2" fmla="*/ 57 w 56"/>
                <a:gd name="T3" fmla="*/ 6 h 77"/>
                <a:gd name="T4" fmla="*/ 0 w 56"/>
                <a:gd name="T5" fmla="*/ 77 h 77"/>
                <a:gd name="T6" fmla="*/ 2 w 56"/>
                <a:gd name="T7" fmla="*/ 0 h 77"/>
                <a:gd name="T8" fmla="*/ 0 60000 65536"/>
                <a:gd name="T9" fmla="*/ 0 60000 65536"/>
                <a:gd name="T10" fmla="*/ 0 60000 65536"/>
                <a:gd name="T11" fmla="*/ 0 60000 65536"/>
                <a:gd name="T12" fmla="*/ 0 w 56"/>
                <a:gd name="T13" fmla="*/ 0 h 77"/>
                <a:gd name="T14" fmla="*/ 56 w 56"/>
                <a:gd name="T15" fmla="*/ 77 h 77"/>
              </a:gdLst>
              <a:ahLst/>
              <a:cxnLst>
                <a:cxn ang="T8">
                  <a:pos x="T0" y="T1"/>
                </a:cxn>
                <a:cxn ang="T9">
                  <a:pos x="T2" y="T3"/>
                </a:cxn>
                <a:cxn ang="T10">
                  <a:pos x="T4" y="T5"/>
                </a:cxn>
                <a:cxn ang="T11">
                  <a:pos x="T6" y="T7"/>
                </a:cxn>
              </a:cxnLst>
              <a:rect l="T12" t="T13" r="T14" b="T15"/>
              <a:pathLst>
                <a:path w="56" h="77">
                  <a:moveTo>
                    <a:pt x="2" y="0"/>
                  </a:moveTo>
                  <a:lnTo>
                    <a:pt x="56" y="6"/>
                  </a:lnTo>
                  <a:lnTo>
                    <a:pt x="0" y="77"/>
                  </a:lnTo>
                  <a:lnTo>
                    <a:pt x="2" y="0"/>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65" name="Freeform 21">
              <a:extLst>
                <a:ext uri="{FF2B5EF4-FFF2-40B4-BE49-F238E27FC236}">
                  <a16:creationId xmlns:a16="http://schemas.microsoft.com/office/drawing/2014/main" id="{29D1E0FB-87BB-AF45-8BC0-C9661C20072A}"/>
                </a:ext>
              </a:extLst>
            </p:cNvPr>
            <p:cNvSpPr>
              <a:spLocks/>
            </p:cNvSpPr>
            <p:nvPr/>
          </p:nvSpPr>
          <p:spPr bwMode="auto">
            <a:xfrm>
              <a:off x="5903608" y="2318281"/>
              <a:ext cx="258106" cy="150109"/>
            </a:xfrm>
            <a:custGeom>
              <a:avLst/>
              <a:gdLst>
                <a:gd name="T0" fmla="*/ 60 w 139"/>
                <a:gd name="T1" fmla="*/ 82 h 82"/>
                <a:gd name="T2" fmla="*/ 24 w 139"/>
                <a:gd name="T3" fmla="*/ 69 h 82"/>
                <a:gd name="T4" fmla="*/ 36 w 139"/>
                <a:gd name="T5" fmla="*/ 61 h 82"/>
                <a:gd name="T6" fmla="*/ 30 w 139"/>
                <a:gd name="T7" fmla="*/ 62 h 82"/>
                <a:gd name="T8" fmla="*/ 36 w 139"/>
                <a:gd name="T9" fmla="*/ 54 h 82"/>
                <a:gd name="T10" fmla="*/ 8 w 139"/>
                <a:gd name="T11" fmla="*/ 49 h 82"/>
                <a:gd name="T12" fmla="*/ 36 w 139"/>
                <a:gd name="T13" fmla="*/ 37 h 82"/>
                <a:gd name="T14" fmla="*/ 27 w 139"/>
                <a:gd name="T15" fmla="*/ 39 h 82"/>
                <a:gd name="T16" fmla="*/ 36 w 139"/>
                <a:gd name="T17" fmla="*/ 30 h 82"/>
                <a:gd name="T18" fmla="*/ 0 w 139"/>
                <a:gd name="T19" fmla="*/ 30 h 82"/>
                <a:gd name="T20" fmla="*/ 5 w 139"/>
                <a:gd name="T21" fmla="*/ 19 h 82"/>
                <a:gd name="T22" fmla="*/ 17 w 139"/>
                <a:gd name="T23" fmla="*/ 24 h 82"/>
                <a:gd name="T24" fmla="*/ 10 w 139"/>
                <a:gd name="T25" fmla="*/ 19 h 82"/>
                <a:gd name="T26" fmla="*/ 13 w 139"/>
                <a:gd name="T27" fmla="*/ 17 h 82"/>
                <a:gd name="T28" fmla="*/ 8 w 139"/>
                <a:gd name="T29" fmla="*/ 12 h 82"/>
                <a:gd name="T30" fmla="*/ 12 w 139"/>
                <a:gd name="T31" fmla="*/ 14 h 82"/>
                <a:gd name="T32" fmla="*/ 12 w 139"/>
                <a:gd name="T33" fmla="*/ 10 h 82"/>
                <a:gd name="T34" fmla="*/ 13 w 139"/>
                <a:gd name="T35" fmla="*/ 12 h 82"/>
                <a:gd name="T36" fmla="*/ 12 w 139"/>
                <a:gd name="T37" fmla="*/ 9 h 82"/>
                <a:gd name="T38" fmla="*/ 25 w 139"/>
                <a:gd name="T39" fmla="*/ 19 h 82"/>
                <a:gd name="T40" fmla="*/ 25 w 139"/>
                <a:gd name="T41" fmla="*/ 15 h 82"/>
                <a:gd name="T42" fmla="*/ 27 w 139"/>
                <a:gd name="T43" fmla="*/ 19 h 82"/>
                <a:gd name="T44" fmla="*/ 22 w 139"/>
                <a:gd name="T45" fmla="*/ 7 h 82"/>
                <a:gd name="T46" fmla="*/ 27 w 139"/>
                <a:gd name="T47" fmla="*/ 7 h 82"/>
                <a:gd name="T48" fmla="*/ 19 w 139"/>
                <a:gd name="T49" fmla="*/ 0 h 82"/>
                <a:gd name="T50" fmla="*/ 43 w 139"/>
                <a:gd name="T51" fmla="*/ 35 h 82"/>
                <a:gd name="T52" fmla="*/ 50 w 139"/>
                <a:gd name="T53" fmla="*/ 24 h 82"/>
                <a:gd name="T54" fmla="*/ 53 w 139"/>
                <a:gd name="T55" fmla="*/ 29 h 82"/>
                <a:gd name="T56" fmla="*/ 55 w 139"/>
                <a:gd name="T57" fmla="*/ 12 h 82"/>
                <a:gd name="T58" fmla="*/ 65 w 139"/>
                <a:gd name="T59" fmla="*/ 22 h 82"/>
                <a:gd name="T60" fmla="*/ 75 w 139"/>
                <a:gd name="T61" fmla="*/ 9 h 82"/>
                <a:gd name="T62" fmla="*/ 83 w 139"/>
                <a:gd name="T63" fmla="*/ 24 h 82"/>
                <a:gd name="T64" fmla="*/ 80 w 139"/>
                <a:gd name="T65" fmla="*/ 9 h 82"/>
                <a:gd name="T66" fmla="*/ 103 w 139"/>
                <a:gd name="T67" fmla="*/ 9 h 82"/>
                <a:gd name="T68" fmla="*/ 102 w 139"/>
                <a:gd name="T69" fmla="*/ 0 h 82"/>
                <a:gd name="T70" fmla="*/ 128 w 139"/>
                <a:gd name="T71" fmla="*/ 3 h 82"/>
                <a:gd name="T72" fmla="*/ 121 w 139"/>
                <a:gd name="T73" fmla="*/ 10 h 82"/>
                <a:gd name="T74" fmla="*/ 134 w 139"/>
                <a:gd name="T75" fmla="*/ 27 h 82"/>
                <a:gd name="T76" fmla="*/ 134 w 139"/>
                <a:gd name="T77" fmla="*/ 24 h 82"/>
                <a:gd name="T78" fmla="*/ 138 w 139"/>
                <a:gd name="T79" fmla="*/ 37 h 82"/>
                <a:gd name="T80" fmla="*/ 141 w 139"/>
                <a:gd name="T81" fmla="*/ 35 h 82"/>
                <a:gd name="T82" fmla="*/ 128 w 139"/>
                <a:gd name="T83" fmla="*/ 54 h 82"/>
                <a:gd name="T84" fmla="*/ 133 w 139"/>
                <a:gd name="T85" fmla="*/ 52 h 82"/>
                <a:gd name="T86" fmla="*/ 60 w 139"/>
                <a:gd name="T87" fmla="*/ 82 h 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9"/>
                <a:gd name="T133" fmla="*/ 0 h 82"/>
                <a:gd name="T134" fmla="*/ 139 w 139"/>
                <a:gd name="T135" fmla="*/ 82 h 8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9" h="82">
                  <a:moveTo>
                    <a:pt x="59" y="82"/>
                  </a:moveTo>
                  <a:lnTo>
                    <a:pt x="24" y="69"/>
                  </a:lnTo>
                  <a:lnTo>
                    <a:pt x="35" y="61"/>
                  </a:lnTo>
                  <a:lnTo>
                    <a:pt x="30" y="62"/>
                  </a:lnTo>
                  <a:lnTo>
                    <a:pt x="35" y="54"/>
                  </a:lnTo>
                  <a:lnTo>
                    <a:pt x="8" y="49"/>
                  </a:lnTo>
                  <a:lnTo>
                    <a:pt x="35" y="37"/>
                  </a:lnTo>
                  <a:lnTo>
                    <a:pt x="27" y="39"/>
                  </a:lnTo>
                  <a:lnTo>
                    <a:pt x="35" y="30"/>
                  </a:lnTo>
                  <a:lnTo>
                    <a:pt x="0" y="30"/>
                  </a:lnTo>
                  <a:lnTo>
                    <a:pt x="5" y="19"/>
                  </a:lnTo>
                  <a:lnTo>
                    <a:pt x="17" y="24"/>
                  </a:lnTo>
                  <a:lnTo>
                    <a:pt x="10" y="19"/>
                  </a:lnTo>
                  <a:lnTo>
                    <a:pt x="13" y="17"/>
                  </a:lnTo>
                  <a:lnTo>
                    <a:pt x="8" y="12"/>
                  </a:lnTo>
                  <a:lnTo>
                    <a:pt x="12" y="14"/>
                  </a:lnTo>
                  <a:lnTo>
                    <a:pt x="12" y="10"/>
                  </a:lnTo>
                  <a:lnTo>
                    <a:pt x="13" y="12"/>
                  </a:lnTo>
                  <a:lnTo>
                    <a:pt x="12" y="9"/>
                  </a:lnTo>
                  <a:lnTo>
                    <a:pt x="25" y="19"/>
                  </a:lnTo>
                  <a:lnTo>
                    <a:pt x="25" y="15"/>
                  </a:lnTo>
                  <a:lnTo>
                    <a:pt x="27" y="19"/>
                  </a:lnTo>
                  <a:lnTo>
                    <a:pt x="22" y="7"/>
                  </a:lnTo>
                  <a:lnTo>
                    <a:pt x="27" y="7"/>
                  </a:lnTo>
                  <a:lnTo>
                    <a:pt x="19" y="0"/>
                  </a:lnTo>
                  <a:lnTo>
                    <a:pt x="42" y="35"/>
                  </a:lnTo>
                  <a:lnTo>
                    <a:pt x="49" y="24"/>
                  </a:lnTo>
                  <a:lnTo>
                    <a:pt x="52" y="29"/>
                  </a:lnTo>
                  <a:lnTo>
                    <a:pt x="54" y="12"/>
                  </a:lnTo>
                  <a:lnTo>
                    <a:pt x="64" y="22"/>
                  </a:lnTo>
                  <a:lnTo>
                    <a:pt x="74" y="9"/>
                  </a:lnTo>
                  <a:lnTo>
                    <a:pt x="82" y="24"/>
                  </a:lnTo>
                  <a:lnTo>
                    <a:pt x="79" y="9"/>
                  </a:lnTo>
                  <a:lnTo>
                    <a:pt x="102" y="9"/>
                  </a:lnTo>
                  <a:lnTo>
                    <a:pt x="101" y="0"/>
                  </a:lnTo>
                  <a:lnTo>
                    <a:pt x="126" y="3"/>
                  </a:lnTo>
                  <a:lnTo>
                    <a:pt x="119" y="10"/>
                  </a:lnTo>
                  <a:lnTo>
                    <a:pt x="132" y="27"/>
                  </a:lnTo>
                  <a:lnTo>
                    <a:pt x="132" y="24"/>
                  </a:lnTo>
                  <a:lnTo>
                    <a:pt x="136" y="37"/>
                  </a:lnTo>
                  <a:lnTo>
                    <a:pt x="139" y="35"/>
                  </a:lnTo>
                  <a:lnTo>
                    <a:pt x="126" y="54"/>
                  </a:lnTo>
                  <a:lnTo>
                    <a:pt x="131" y="52"/>
                  </a:lnTo>
                  <a:lnTo>
                    <a:pt x="59" y="82"/>
                  </a:lnTo>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4" name="Freeform 30">
              <a:extLst>
                <a:ext uri="{FF2B5EF4-FFF2-40B4-BE49-F238E27FC236}">
                  <a16:creationId xmlns:a16="http://schemas.microsoft.com/office/drawing/2014/main" id="{2C1D8F55-85EE-964B-84A8-C262F034EE5C}"/>
                </a:ext>
              </a:extLst>
            </p:cNvPr>
            <p:cNvSpPr>
              <a:spLocks/>
            </p:cNvSpPr>
            <p:nvPr/>
          </p:nvSpPr>
          <p:spPr bwMode="auto">
            <a:xfrm>
              <a:off x="3880863" y="1628145"/>
              <a:ext cx="459465" cy="426530"/>
            </a:xfrm>
            <a:custGeom>
              <a:avLst/>
              <a:gdLst>
                <a:gd name="T0" fmla="*/ 0 w 249"/>
                <a:gd name="T1" fmla="*/ 103 h 232"/>
                <a:gd name="T2" fmla="*/ 13 w 249"/>
                <a:gd name="T3" fmla="*/ 110 h 232"/>
                <a:gd name="T4" fmla="*/ 6 w 249"/>
                <a:gd name="T5" fmla="*/ 134 h 232"/>
                <a:gd name="T6" fmla="*/ 27 w 249"/>
                <a:gd name="T7" fmla="*/ 141 h 232"/>
                <a:gd name="T8" fmla="*/ 71 w 249"/>
                <a:gd name="T9" fmla="*/ 141 h 232"/>
                <a:gd name="T10" fmla="*/ 84 w 249"/>
                <a:gd name="T11" fmla="*/ 158 h 232"/>
                <a:gd name="T12" fmla="*/ 71 w 249"/>
                <a:gd name="T13" fmla="*/ 166 h 232"/>
                <a:gd name="T14" fmla="*/ 27 w 249"/>
                <a:gd name="T15" fmla="*/ 166 h 232"/>
                <a:gd name="T16" fmla="*/ 33 w 249"/>
                <a:gd name="T17" fmla="*/ 195 h 232"/>
                <a:gd name="T18" fmla="*/ 48 w 249"/>
                <a:gd name="T19" fmla="*/ 201 h 232"/>
                <a:gd name="T20" fmla="*/ 71 w 249"/>
                <a:gd name="T21" fmla="*/ 201 h 232"/>
                <a:gd name="T22" fmla="*/ 79 w 249"/>
                <a:gd name="T23" fmla="*/ 233 h 232"/>
                <a:gd name="T24" fmla="*/ 121 w 249"/>
                <a:gd name="T25" fmla="*/ 225 h 232"/>
                <a:gd name="T26" fmla="*/ 163 w 249"/>
                <a:gd name="T27" fmla="*/ 201 h 232"/>
                <a:gd name="T28" fmla="*/ 170 w 249"/>
                <a:gd name="T29" fmla="*/ 195 h 232"/>
                <a:gd name="T30" fmla="*/ 208 w 249"/>
                <a:gd name="T31" fmla="*/ 225 h 232"/>
                <a:gd name="T32" fmla="*/ 221 w 249"/>
                <a:gd name="T33" fmla="*/ 216 h 232"/>
                <a:gd name="T34" fmla="*/ 236 w 249"/>
                <a:gd name="T35" fmla="*/ 201 h 232"/>
                <a:gd name="T36" fmla="*/ 236 w 249"/>
                <a:gd name="T37" fmla="*/ 188 h 232"/>
                <a:gd name="T38" fmla="*/ 243 w 249"/>
                <a:gd name="T39" fmla="*/ 188 h 232"/>
                <a:gd name="T40" fmla="*/ 251 w 249"/>
                <a:gd name="T41" fmla="*/ 166 h 232"/>
                <a:gd name="T42" fmla="*/ 194 w 249"/>
                <a:gd name="T43" fmla="*/ 134 h 232"/>
                <a:gd name="T44" fmla="*/ 194 w 249"/>
                <a:gd name="T45" fmla="*/ 103 h 232"/>
                <a:gd name="T46" fmla="*/ 177 w 249"/>
                <a:gd name="T47" fmla="*/ 59 h 232"/>
                <a:gd name="T48" fmla="*/ 199 w 249"/>
                <a:gd name="T49" fmla="*/ 14 h 232"/>
                <a:gd name="T50" fmla="*/ 194 w 249"/>
                <a:gd name="T51" fmla="*/ 0 h 232"/>
                <a:gd name="T52" fmla="*/ 163 w 249"/>
                <a:gd name="T53" fmla="*/ 0 h 232"/>
                <a:gd name="T54" fmla="*/ 150 w 249"/>
                <a:gd name="T55" fmla="*/ 44 h 232"/>
                <a:gd name="T56" fmla="*/ 128 w 249"/>
                <a:gd name="T57" fmla="*/ 37 h 232"/>
                <a:gd name="T58" fmla="*/ 113 w 249"/>
                <a:gd name="T59" fmla="*/ 37 h 232"/>
                <a:gd name="T60" fmla="*/ 93 w 249"/>
                <a:gd name="T61" fmla="*/ 29 h 232"/>
                <a:gd name="T62" fmla="*/ 79 w 249"/>
                <a:gd name="T63" fmla="*/ 44 h 232"/>
                <a:gd name="T64" fmla="*/ 71 w 249"/>
                <a:gd name="T65" fmla="*/ 22 h 232"/>
                <a:gd name="T66" fmla="*/ 48 w 249"/>
                <a:gd name="T67" fmla="*/ 22 h 232"/>
                <a:gd name="T68" fmla="*/ 6 w 249"/>
                <a:gd name="T69" fmla="*/ 59 h 232"/>
                <a:gd name="T70" fmla="*/ 6 w 249"/>
                <a:gd name="T71" fmla="*/ 68 h 232"/>
                <a:gd name="T72" fmla="*/ 0 w 249"/>
                <a:gd name="T73" fmla="*/ 89 h 232"/>
                <a:gd name="T74" fmla="*/ 0 w 249"/>
                <a:gd name="T75" fmla="*/ 103 h 232"/>
                <a:gd name="T76" fmla="*/ 0 w 249"/>
                <a:gd name="T77" fmla="*/ 103 h 232"/>
                <a:gd name="T78" fmla="*/ 0 w 249"/>
                <a:gd name="T79" fmla="*/ 103 h 2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9"/>
                <a:gd name="T121" fmla="*/ 0 h 232"/>
                <a:gd name="T122" fmla="*/ 249 w 249"/>
                <a:gd name="T123" fmla="*/ 232 h 2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9" h="232">
                  <a:moveTo>
                    <a:pt x="0" y="103"/>
                  </a:moveTo>
                  <a:lnTo>
                    <a:pt x="13" y="110"/>
                  </a:lnTo>
                  <a:lnTo>
                    <a:pt x="6" y="133"/>
                  </a:lnTo>
                  <a:lnTo>
                    <a:pt x="27" y="140"/>
                  </a:lnTo>
                  <a:lnTo>
                    <a:pt x="70" y="140"/>
                  </a:lnTo>
                  <a:lnTo>
                    <a:pt x="83" y="157"/>
                  </a:lnTo>
                  <a:lnTo>
                    <a:pt x="70" y="165"/>
                  </a:lnTo>
                  <a:lnTo>
                    <a:pt x="27" y="165"/>
                  </a:lnTo>
                  <a:lnTo>
                    <a:pt x="33" y="194"/>
                  </a:lnTo>
                  <a:lnTo>
                    <a:pt x="48" y="200"/>
                  </a:lnTo>
                  <a:lnTo>
                    <a:pt x="70" y="200"/>
                  </a:lnTo>
                  <a:lnTo>
                    <a:pt x="78" y="232"/>
                  </a:lnTo>
                  <a:lnTo>
                    <a:pt x="120" y="224"/>
                  </a:lnTo>
                  <a:lnTo>
                    <a:pt x="162" y="200"/>
                  </a:lnTo>
                  <a:lnTo>
                    <a:pt x="169" y="194"/>
                  </a:lnTo>
                  <a:lnTo>
                    <a:pt x="206" y="224"/>
                  </a:lnTo>
                  <a:lnTo>
                    <a:pt x="219" y="215"/>
                  </a:lnTo>
                  <a:lnTo>
                    <a:pt x="234" y="200"/>
                  </a:lnTo>
                  <a:lnTo>
                    <a:pt x="234" y="187"/>
                  </a:lnTo>
                  <a:lnTo>
                    <a:pt x="241" y="187"/>
                  </a:lnTo>
                  <a:lnTo>
                    <a:pt x="249" y="165"/>
                  </a:lnTo>
                  <a:lnTo>
                    <a:pt x="192" y="133"/>
                  </a:lnTo>
                  <a:lnTo>
                    <a:pt x="192" y="103"/>
                  </a:lnTo>
                  <a:lnTo>
                    <a:pt x="176" y="59"/>
                  </a:lnTo>
                  <a:lnTo>
                    <a:pt x="197" y="14"/>
                  </a:lnTo>
                  <a:lnTo>
                    <a:pt x="192" y="0"/>
                  </a:lnTo>
                  <a:lnTo>
                    <a:pt x="162" y="0"/>
                  </a:lnTo>
                  <a:lnTo>
                    <a:pt x="149" y="44"/>
                  </a:lnTo>
                  <a:lnTo>
                    <a:pt x="127" y="37"/>
                  </a:lnTo>
                  <a:lnTo>
                    <a:pt x="112" y="37"/>
                  </a:lnTo>
                  <a:lnTo>
                    <a:pt x="92" y="29"/>
                  </a:lnTo>
                  <a:lnTo>
                    <a:pt x="78" y="44"/>
                  </a:lnTo>
                  <a:lnTo>
                    <a:pt x="70" y="22"/>
                  </a:lnTo>
                  <a:lnTo>
                    <a:pt x="48" y="22"/>
                  </a:lnTo>
                  <a:lnTo>
                    <a:pt x="6" y="59"/>
                  </a:lnTo>
                  <a:lnTo>
                    <a:pt x="6" y="68"/>
                  </a:lnTo>
                  <a:lnTo>
                    <a:pt x="0" y="89"/>
                  </a:lnTo>
                  <a:lnTo>
                    <a:pt x="0" y="103"/>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5" name="Freeform 31">
              <a:extLst>
                <a:ext uri="{FF2B5EF4-FFF2-40B4-BE49-F238E27FC236}">
                  <a16:creationId xmlns:a16="http://schemas.microsoft.com/office/drawing/2014/main" id="{0A3699BD-88D5-BD44-A547-1D92335A0BD5}"/>
                </a:ext>
              </a:extLst>
            </p:cNvPr>
            <p:cNvSpPr>
              <a:spLocks/>
            </p:cNvSpPr>
            <p:nvPr/>
          </p:nvSpPr>
          <p:spPr bwMode="auto">
            <a:xfrm>
              <a:off x="4596604" y="1613500"/>
              <a:ext cx="713910" cy="875027"/>
            </a:xfrm>
            <a:custGeom>
              <a:avLst/>
              <a:gdLst>
                <a:gd name="T0" fmla="*/ 39 w 387"/>
                <a:gd name="T1" fmla="*/ 167 h 476"/>
                <a:gd name="T2" fmla="*/ 119 w 387"/>
                <a:gd name="T3" fmla="*/ 189 h 476"/>
                <a:gd name="T4" fmla="*/ 152 w 387"/>
                <a:gd name="T5" fmla="*/ 198 h 476"/>
                <a:gd name="T6" fmla="*/ 167 w 387"/>
                <a:gd name="T7" fmla="*/ 189 h 476"/>
                <a:gd name="T8" fmla="*/ 181 w 387"/>
                <a:gd name="T9" fmla="*/ 235 h 476"/>
                <a:gd name="T10" fmla="*/ 210 w 387"/>
                <a:gd name="T11" fmla="*/ 243 h 476"/>
                <a:gd name="T12" fmla="*/ 239 w 387"/>
                <a:gd name="T13" fmla="*/ 287 h 476"/>
                <a:gd name="T14" fmla="*/ 219 w 387"/>
                <a:gd name="T15" fmla="*/ 356 h 476"/>
                <a:gd name="T16" fmla="*/ 167 w 387"/>
                <a:gd name="T17" fmla="*/ 356 h 476"/>
                <a:gd name="T18" fmla="*/ 161 w 387"/>
                <a:gd name="T19" fmla="*/ 372 h 476"/>
                <a:gd name="T20" fmla="*/ 181 w 387"/>
                <a:gd name="T21" fmla="*/ 402 h 476"/>
                <a:gd name="T22" fmla="*/ 210 w 387"/>
                <a:gd name="T23" fmla="*/ 395 h 476"/>
                <a:gd name="T24" fmla="*/ 249 w 387"/>
                <a:gd name="T25" fmla="*/ 431 h 476"/>
                <a:gd name="T26" fmla="*/ 324 w 387"/>
                <a:gd name="T27" fmla="*/ 478 h 476"/>
                <a:gd name="T28" fmla="*/ 291 w 387"/>
                <a:gd name="T29" fmla="*/ 431 h 476"/>
                <a:gd name="T30" fmla="*/ 333 w 387"/>
                <a:gd name="T31" fmla="*/ 447 h 476"/>
                <a:gd name="T32" fmla="*/ 349 w 387"/>
                <a:gd name="T33" fmla="*/ 420 h 476"/>
                <a:gd name="T34" fmla="*/ 340 w 387"/>
                <a:gd name="T35" fmla="*/ 395 h 476"/>
                <a:gd name="T36" fmla="*/ 302 w 387"/>
                <a:gd name="T37" fmla="*/ 347 h 476"/>
                <a:gd name="T38" fmla="*/ 333 w 387"/>
                <a:gd name="T39" fmla="*/ 347 h 476"/>
                <a:gd name="T40" fmla="*/ 355 w 387"/>
                <a:gd name="T41" fmla="*/ 372 h 476"/>
                <a:gd name="T42" fmla="*/ 377 w 387"/>
                <a:gd name="T43" fmla="*/ 356 h 476"/>
                <a:gd name="T44" fmla="*/ 340 w 387"/>
                <a:gd name="T45" fmla="*/ 258 h 476"/>
                <a:gd name="T46" fmla="*/ 296 w 387"/>
                <a:gd name="T47" fmla="*/ 243 h 476"/>
                <a:gd name="T48" fmla="*/ 312 w 387"/>
                <a:gd name="T49" fmla="*/ 211 h 476"/>
                <a:gd name="T50" fmla="*/ 302 w 387"/>
                <a:gd name="T51" fmla="*/ 189 h 476"/>
                <a:gd name="T52" fmla="*/ 269 w 387"/>
                <a:gd name="T53" fmla="*/ 150 h 476"/>
                <a:gd name="T54" fmla="*/ 219 w 387"/>
                <a:gd name="T55" fmla="*/ 104 h 476"/>
                <a:gd name="T56" fmla="*/ 197 w 387"/>
                <a:gd name="T57" fmla="*/ 69 h 476"/>
                <a:gd name="T58" fmla="*/ 152 w 387"/>
                <a:gd name="T59" fmla="*/ 69 h 476"/>
                <a:gd name="T60" fmla="*/ 119 w 387"/>
                <a:gd name="T61" fmla="*/ 86 h 476"/>
                <a:gd name="T62" fmla="*/ 119 w 387"/>
                <a:gd name="T63" fmla="*/ 39 h 476"/>
                <a:gd name="T64" fmla="*/ 97 w 387"/>
                <a:gd name="T65" fmla="*/ 0 h 476"/>
                <a:gd name="T66" fmla="*/ 59 w 387"/>
                <a:gd name="T67" fmla="*/ 86 h 476"/>
                <a:gd name="T68" fmla="*/ 46 w 387"/>
                <a:gd name="T69" fmla="*/ 101 h 476"/>
                <a:gd name="T70" fmla="*/ 82 w 387"/>
                <a:gd name="T71" fmla="*/ 0 h 476"/>
                <a:gd name="T72" fmla="*/ 0 w 387"/>
                <a:gd name="T73" fmla="*/ 76 h 476"/>
                <a:gd name="T74" fmla="*/ 0 w 387"/>
                <a:gd name="T75" fmla="*/ 104 h 4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7"/>
                <a:gd name="T115" fmla="*/ 0 h 476"/>
                <a:gd name="T116" fmla="*/ 387 w 387"/>
                <a:gd name="T117" fmla="*/ 476 h 47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7" h="476">
                  <a:moveTo>
                    <a:pt x="0" y="104"/>
                  </a:moveTo>
                  <a:lnTo>
                    <a:pt x="39" y="166"/>
                  </a:lnTo>
                  <a:lnTo>
                    <a:pt x="109" y="188"/>
                  </a:lnTo>
                  <a:lnTo>
                    <a:pt x="118" y="188"/>
                  </a:lnTo>
                  <a:lnTo>
                    <a:pt x="138" y="197"/>
                  </a:lnTo>
                  <a:lnTo>
                    <a:pt x="151" y="197"/>
                  </a:lnTo>
                  <a:lnTo>
                    <a:pt x="160" y="166"/>
                  </a:lnTo>
                  <a:lnTo>
                    <a:pt x="166" y="188"/>
                  </a:lnTo>
                  <a:lnTo>
                    <a:pt x="195" y="210"/>
                  </a:lnTo>
                  <a:lnTo>
                    <a:pt x="180" y="234"/>
                  </a:lnTo>
                  <a:lnTo>
                    <a:pt x="201" y="225"/>
                  </a:lnTo>
                  <a:lnTo>
                    <a:pt x="208" y="242"/>
                  </a:lnTo>
                  <a:lnTo>
                    <a:pt x="223" y="257"/>
                  </a:lnTo>
                  <a:lnTo>
                    <a:pt x="237" y="286"/>
                  </a:lnTo>
                  <a:lnTo>
                    <a:pt x="208" y="333"/>
                  </a:lnTo>
                  <a:lnTo>
                    <a:pt x="217" y="355"/>
                  </a:lnTo>
                  <a:lnTo>
                    <a:pt x="208" y="363"/>
                  </a:lnTo>
                  <a:lnTo>
                    <a:pt x="166" y="355"/>
                  </a:lnTo>
                  <a:lnTo>
                    <a:pt x="166" y="370"/>
                  </a:lnTo>
                  <a:lnTo>
                    <a:pt x="160" y="370"/>
                  </a:lnTo>
                  <a:lnTo>
                    <a:pt x="160" y="400"/>
                  </a:lnTo>
                  <a:lnTo>
                    <a:pt x="180" y="400"/>
                  </a:lnTo>
                  <a:lnTo>
                    <a:pt x="195" y="393"/>
                  </a:lnTo>
                  <a:lnTo>
                    <a:pt x="208" y="393"/>
                  </a:lnTo>
                  <a:lnTo>
                    <a:pt x="247" y="418"/>
                  </a:lnTo>
                  <a:lnTo>
                    <a:pt x="247" y="429"/>
                  </a:lnTo>
                  <a:lnTo>
                    <a:pt x="294" y="467"/>
                  </a:lnTo>
                  <a:lnTo>
                    <a:pt x="322" y="476"/>
                  </a:lnTo>
                  <a:lnTo>
                    <a:pt x="322" y="467"/>
                  </a:lnTo>
                  <a:lnTo>
                    <a:pt x="289" y="429"/>
                  </a:lnTo>
                  <a:lnTo>
                    <a:pt x="289" y="410"/>
                  </a:lnTo>
                  <a:lnTo>
                    <a:pt x="330" y="445"/>
                  </a:lnTo>
                  <a:lnTo>
                    <a:pt x="346" y="445"/>
                  </a:lnTo>
                  <a:lnTo>
                    <a:pt x="346" y="418"/>
                  </a:lnTo>
                  <a:lnTo>
                    <a:pt x="337" y="410"/>
                  </a:lnTo>
                  <a:lnTo>
                    <a:pt x="337" y="393"/>
                  </a:lnTo>
                  <a:lnTo>
                    <a:pt x="310" y="363"/>
                  </a:lnTo>
                  <a:lnTo>
                    <a:pt x="300" y="346"/>
                  </a:lnTo>
                  <a:lnTo>
                    <a:pt x="310" y="326"/>
                  </a:lnTo>
                  <a:lnTo>
                    <a:pt x="330" y="346"/>
                  </a:lnTo>
                  <a:lnTo>
                    <a:pt x="337" y="363"/>
                  </a:lnTo>
                  <a:lnTo>
                    <a:pt x="352" y="370"/>
                  </a:lnTo>
                  <a:lnTo>
                    <a:pt x="352" y="355"/>
                  </a:lnTo>
                  <a:lnTo>
                    <a:pt x="374" y="355"/>
                  </a:lnTo>
                  <a:lnTo>
                    <a:pt x="387" y="318"/>
                  </a:lnTo>
                  <a:lnTo>
                    <a:pt x="337" y="257"/>
                  </a:lnTo>
                  <a:lnTo>
                    <a:pt x="310" y="257"/>
                  </a:lnTo>
                  <a:lnTo>
                    <a:pt x="294" y="242"/>
                  </a:lnTo>
                  <a:lnTo>
                    <a:pt x="294" y="225"/>
                  </a:lnTo>
                  <a:lnTo>
                    <a:pt x="310" y="210"/>
                  </a:lnTo>
                  <a:lnTo>
                    <a:pt x="294" y="197"/>
                  </a:lnTo>
                  <a:lnTo>
                    <a:pt x="300" y="188"/>
                  </a:lnTo>
                  <a:lnTo>
                    <a:pt x="294" y="158"/>
                  </a:lnTo>
                  <a:lnTo>
                    <a:pt x="267" y="149"/>
                  </a:lnTo>
                  <a:lnTo>
                    <a:pt x="252" y="119"/>
                  </a:lnTo>
                  <a:lnTo>
                    <a:pt x="217" y="104"/>
                  </a:lnTo>
                  <a:lnTo>
                    <a:pt x="208" y="69"/>
                  </a:lnTo>
                  <a:lnTo>
                    <a:pt x="195" y="69"/>
                  </a:lnTo>
                  <a:lnTo>
                    <a:pt x="166" y="54"/>
                  </a:lnTo>
                  <a:lnTo>
                    <a:pt x="151" y="69"/>
                  </a:lnTo>
                  <a:lnTo>
                    <a:pt x="131" y="69"/>
                  </a:lnTo>
                  <a:lnTo>
                    <a:pt x="118" y="86"/>
                  </a:lnTo>
                  <a:lnTo>
                    <a:pt x="124" y="54"/>
                  </a:lnTo>
                  <a:lnTo>
                    <a:pt x="118" y="39"/>
                  </a:lnTo>
                  <a:lnTo>
                    <a:pt x="118" y="0"/>
                  </a:lnTo>
                  <a:lnTo>
                    <a:pt x="96" y="0"/>
                  </a:lnTo>
                  <a:lnTo>
                    <a:pt x="66" y="47"/>
                  </a:lnTo>
                  <a:lnTo>
                    <a:pt x="59" y="86"/>
                  </a:lnTo>
                  <a:lnTo>
                    <a:pt x="66" y="112"/>
                  </a:lnTo>
                  <a:lnTo>
                    <a:pt x="46" y="101"/>
                  </a:lnTo>
                  <a:lnTo>
                    <a:pt x="46" y="47"/>
                  </a:lnTo>
                  <a:lnTo>
                    <a:pt x="81" y="0"/>
                  </a:lnTo>
                  <a:lnTo>
                    <a:pt x="39" y="0"/>
                  </a:lnTo>
                  <a:lnTo>
                    <a:pt x="0" y="76"/>
                  </a:lnTo>
                  <a:lnTo>
                    <a:pt x="0" y="104"/>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6" name="Freeform 32">
              <a:extLst>
                <a:ext uri="{FF2B5EF4-FFF2-40B4-BE49-F238E27FC236}">
                  <a16:creationId xmlns:a16="http://schemas.microsoft.com/office/drawing/2014/main" id="{DC8C2411-A9A4-3642-96CD-E88434A1E269}"/>
                </a:ext>
              </a:extLst>
            </p:cNvPr>
            <p:cNvSpPr>
              <a:spLocks/>
            </p:cNvSpPr>
            <p:nvPr/>
          </p:nvSpPr>
          <p:spPr bwMode="auto">
            <a:xfrm>
              <a:off x="3738081" y="3074319"/>
              <a:ext cx="1427820" cy="827431"/>
            </a:xfrm>
            <a:custGeom>
              <a:avLst/>
              <a:gdLst>
                <a:gd name="T0" fmla="*/ 400 w 774"/>
                <a:gd name="T1" fmla="*/ 10 h 450"/>
                <a:gd name="T2" fmla="*/ 415 w 774"/>
                <a:gd name="T3" fmla="*/ 18 h 450"/>
                <a:gd name="T4" fmla="*/ 448 w 774"/>
                <a:gd name="T5" fmla="*/ 39 h 450"/>
                <a:gd name="T6" fmla="*/ 443 w 774"/>
                <a:gd name="T7" fmla="*/ 62 h 450"/>
                <a:gd name="T8" fmla="*/ 463 w 774"/>
                <a:gd name="T9" fmla="*/ 62 h 450"/>
                <a:gd name="T10" fmla="*/ 491 w 774"/>
                <a:gd name="T11" fmla="*/ 62 h 450"/>
                <a:gd name="T12" fmla="*/ 508 w 774"/>
                <a:gd name="T13" fmla="*/ 62 h 450"/>
                <a:gd name="T14" fmla="*/ 550 w 774"/>
                <a:gd name="T15" fmla="*/ 71 h 450"/>
                <a:gd name="T16" fmla="*/ 508 w 774"/>
                <a:gd name="T17" fmla="*/ 84 h 450"/>
                <a:gd name="T18" fmla="*/ 508 w 774"/>
                <a:gd name="T19" fmla="*/ 101 h 450"/>
                <a:gd name="T20" fmla="*/ 500 w 774"/>
                <a:gd name="T21" fmla="*/ 167 h 450"/>
                <a:gd name="T22" fmla="*/ 513 w 774"/>
                <a:gd name="T23" fmla="*/ 161 h 450"/>
                <a:gd name="T24" fmla="*/ 535 w 774"/>
                <a:gd name="T25" fmla="*/ 92 h 450"/>
                <a:gd name="T26" fmla="*/ 555 w 774"/>
                <a:gd name="T27" fmla="*/ 92 h 450"/>
                <a:gd name="T28" fmla="*/ 550 w 774"/>
                <a:gd name="T29" fmla="*/ 130 h 450"/>
                <a:gd name="T30" fmla="*/ 565 w 774"/>
                <a:gd name="T31" fmla="*/ 139 h 450"/>
                <a:gd name="T32" fmla="*/ 555 w 774"/>
                <a:gd name="T33" fmla="*/ 167 h 450"/>
                <a:gd name="T34" fmla="*/ 621 w 774"/>
                <a:gd name="T35" fmla="*/ 139 h 450"/>
                <a:gd name="T36" fmla="*/ 650 w 774"/>
                <a:gd name="T37" fmla="*/ 130 h 450"/>
                <a:gd name="T38" fmla="*/ 671 w 774"/>
                <a:gd name="T39" fmla="*/ 101 h 450"/>
                <a:gd name="T40" fmla="*/ 729 w 774"/>
                <a:gd name="T41" fmla="*/ 92 h 450"/>
                <a:gd name="T42" fmla="*/ 758 w 774"/>
                <a:gd name="T43" fmla="*/ 54 h 450"/>
                <a:gd name="T44" fmla="*/ 771 w 774"/>
                <a:gd name="T45" fmla="*/ 84 h 450"/>
                <a:gd name="T46" fmla="*/ 780 w 774"/>
                <a:gd name="T47" fmla="*/ 101 h 450"/>
                <a:gd name="T48" fmla="*/ 758 w 774"/>
                <a:gd name="T49" fmla="*/ 114 h 450"/>
                <a:gd name="T50" fmla="*/ 729 w 774"/>
                <a:gd name="T51" fmla="*/ 167 h 450"/>
                <a:gd name="T52" fmla="*/ 736 w 774"/>
                <a:gd name="T53" fmla="*/ 176 h 450"/>
                <a:gd name="T54" fmla="*/ 683 w 774"/>
                <a:gd name="T55" fmla="*/ 184 h 450"/>
                <a:gd name="T56" fmla="*/ 671 w 774"/>
                <a:gd name="T57" fmla="*/ 214 h 450"/>
                <a:gd name="T58" fmla="*/ 663 w 774"/>
                <a:gd name="T59" fmla="*/ 251 h 450"/>
                <a:gd name="T60" fmla="*/ 650 w 774"/>
                <a:gd name="T61" fmla="*/ 221 h 450"/>
                <a:gd name="T62" fmla="*/ 643 w 774"/>
                <a:gd name="T63" fmla="*/ 221 h 450"/>
                <a:gd name="T64" fmla="*/ 650 w 774"/>
                <a:gd name="T65" fmla="*/ 295 h 450"/>
                <a:gd name="T66" fmla="*/ 586 w 774"/>
                <a:gd name="T67" fmla="*/ 363 h 450"/>
                <a:gd name="T68" fmla="*/ 601 w 774"/>
                <a:gd name="T69" fmla="*/ 452 h 450"/>
                <a:gd name="T70" fmla="*/ 565 w 774"/>
                <a:gd name="T71" fmla="*/ 424 h 450"/>
                <a:gd name="T72" fmla="*/ 550 w 774"/>
                <a:gd name="T73" fmla="*/ 370 h 450"/>
                <a:gd name="T74" fmla="*/ 535 w 774"/>
                <a:gd name="T75" fmla="*/ 370 h 450"/>
                <a:gd name="T76" fmla="*/ 469 w 774"/>
                <a:gd name="T77" fmla="*/ 378 h 450"/>
                <a:gd name="T78" fmla="*/ 458 w 774"/>
                <a:gd name="T79" fmla="*/ 387 h 450"/>
                <a:gd name="T80" fmla="*/ 421 w 774"/>
                <a:gd name="T81" fmla="*/ 378 h 450"/>
                <a:gd name="T82" fmla="*/ 373 w 774"/>
                <a:gd name="T83" fmla="*/ 417 h 450"/>
                <a:gd name="T84" fmla="*/ 343 w 774"/>
                <a:gd name="T85" fmla="*/ 439 h 450"/>
                <a:gd name="T86" fmla="*/ 298 w 774"/>
                <a:gd name="T87" fmla="*/ 378 h 450"/>
                <a:gd name="T88" fmla="*/ 285 w 774"/>
                <a:gd name="T89" fmla="*/ 387 h 450"/>
                <a:gd name="T90" fmla="*/ 271 w 774"/>
                <a:gd name="T91" fmla="*/ 363 h 450"/>
                <a:gd name="T92" fmla="*/ 178 w 774"/>
                <a:gd name="T93" fmla="*/ 355 h 450"/>
                <a:gd name="T94" fmla="*/ 106 w 774"/>
                <a:gd name="T95" fmla="*/ 332 h 450"/>
                <a:gd name="T96" fmla="*/ 84 w 774"/>
                <a:gd name="T97" fmla="*/ 317 h 450"/>
                <a:gd name="T98" fmla="*/ 48 w 774"/>
                <a:gd name="T99" fmla="*/ 295 h 450"/>
                <a:gd name="T100" fmla="*/ 35 w 774"/>
                <a:gd name="T101" fmla="*/ 267 h 450"/>
                <a:gd name="T102" fmla="*/ 25 w 774"/>
                <a:gd name="T103" fmla="*/ 251 h 450"/>
                <a:gd name="T104" fmla="*/ 35 w 774"/>
                <a:gd name="T105" fmla="*/ 243 h 450"/>
                <a:gd name="T106" fmla="*/ 20 w 774"/>
                <a:gd name="T107" fmla="*/ 235 h 450"/>
                <a:gd name="T108" fmla="*/ 6 w 774"/>
                <a:gd name="T109" fmla="*/ 214 h 450"/>
                <a:gd name="T110" fmla="*/ 0 w 774"/>
                <a:gd name="T111" fmla="*/ 198 h 450"/>
                <a:gd name="T112" fmla="*/ 0 w 774"/>
                <a:gd name="T113" fmla="*/ 139 h 450"/>
                <a:gd name="T114" fmla="*/ 0 w 774"/>
                <a:gd name="T115" fmla="*/ 23 h 450"/>
                <a:gd name="T116" fmla="*/ 20 w 774"/>
                <a:gd name="T117" fmla="*/ 47 h 450"/>
                <a:gd name="T118" fmla="*/ 25 w 774"/>
                <a:gd name="T119" fmla="*/ 10 h 450"/>
                <a:gd name="T120" fmla="*/ 25 w 774"/>
                <a:gd name="T121" fmla="*/ 10 h 4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4"/>
                <a:gd name="T184" fmla="*/ 0 h 450"/>
                <a:gd name="T185" fmla="*/ 774 w 774"/>
                <a:gd name="T186" fmla="*/ 450 h 4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4" h="450">
                  <a:moveTo>
                    <a:pt x="25" y="10"/>
                  </a:moveTo>
                  <a:lnTo>
                    <a:pt x="397" y="10"/>
                  </a:lnTo>
                  <a:lnTo>
                    <a:pt x="402" y="0"/>
                  </a:lnTo>
                  <a:lnTo>
                    <a:pt x="412" y="18"/>
                  </a:lnTo>
                  <a:lnTo>
                    <a:pt x="424" y="18"/>
                  </a:lnTo>
                  <a:lnTo>
                    <a:pt x="445" y="39"/>
                  </a:lnTo>
                  <a:lnTo>
                    <a:pt x="465" y="39"/>
                  </a:lnTo>
                  <a:lnTo>
                    <a:pt x="440" y="62"/>
                  </a:lnTo>
                  <a:lnTo>
                    <a:pt x="454" y="54"/>
                  </a:lnTo>
                  <a:lnTo>
                    <a:pt x="459" y="62"/>
                  </a:lnTo>
                  <a:lnTo>
                    <a:pt x="487" y="54"/>
                  </a:lnTo>
                  <a:lnTo>
                    <a:pt x="487" y="62"/>
                  </a:lnTo>
                  <a:lnTo>
                    <a:pt x="496" y="54"/>
                  </a:lnTo>
                  <a:lnTo>
                    <a:pt x="504" y="62"/>
                  </a:lnTo>
                  <a:lnTo>
                    <a:pt x="539" y="62"/>
                  </a:lnTo>
                  <a:lnTo>
                    <a:pt x="546" y="71"/>
                  </a:lnTo>
                  <a:lnTo>
                    <a:pt x="546" y="84"/>
                  </a:lnTo>
                  <a:lnTo>
                    <a:pt x="504" y="84"/>
                  </a:lnTo>
                  <a:lnTo>
                    <a:pt x="496" y="113"/>
                  </a:lnTo>
                  <a:lnTo>
                    <a:pt x="504" y="101"/>
                  </a:lnTo>
                  <a:lnTo>
                    <a:pt x="496" y="138"/>
                  </a:lnTo>
                  <a:lnTo>
                    <a:pt x="496" y="166"/>
                  </a:lnTo>
                  <a:lnTo>
                    <a:pt x="504" y="166"/>
                  </a:lnTo>
                  <a:lnTo>
                    <a:pt x="509" y="160"/>
                  </a:lnTo>
                  <a:lnTo>
                    <a:pt x="509" y="121"/>
                  </a:lnTo>
                  <a:lnTo>
                    <a:pt x="531" y="92"/>
                  </a:lnTo>
                  <a:lnTo>
                    <a:pt x="531" y="84"/>
                  </a:lnTo>
                  <a:lnTo>
                    <a:pt x="551" y="92"/>
                  </a:lnTo>
                  <a:lnTo>
                    <a:pt x="551" y="113"/>
                  </a:lnTo>
                  <a:lnTo>
                    <a:pt x="546" y="129"/>
                  </a:lnTo>
                  <a:lnTo>
                    <a:pt x="561" y="121"/>
                  </a:lnTo>
                  <a:lnTo>
                    <a:pt x="561" y="138"/>
                  </a:lnTo>
                  <a:lnTo>
                    <a:pt x="573" y="138"/>
                  </a:lnTo>
                  <a:lnTo>
                    <a:pt x="551" y="166"/>
                  </a:lnTo>
                  <a:lnTo>
                    <a:pt x="581" y="166"/>
                  </a:lnTo>
                  <a:lnTo>
                    <a:pt x="616" y="138"/>
                  </a:lnTo>
                  <a:lnTo>
                    <a:pt x="616" y="129"/>
                  </a:lnTo>
                  <a:lnTo>
                    <a:pt x="645" y="129"/>
                  </a:lnTo>
                  <a:lnTo>
                    <a:pt x="645" y="113"/>
                  </a:lnTo>
                  <a:lnTo>
                    <a:pt x="666" y="101"/>
                  </a:lnTo>
                  <a:lnTo>
                    <a:pt x="708" y="101"/>
                  </a:lnTo>
                  <a:lnTo>
                    <a:pt x="723" y="92"/>
                  </a:lnTo>
                  <a:lnTo>
                    <a:pt x="745" y="47"/>
                  </a:lnTo>
                  <a:lnTo>
                    <a:pt x="752" y="54"/>
                  </a:lnTo>
                  <a:lnTo>
                    <a:pt x="759" y="47"/>
                  </a:lnTo>
                  <a:lnTo>
                    <a:pt x="765" y="84"/>
                  </a:lnTo>
                  <a:lnTo>
                    <a:pt x="774" y="92"/>
                  </a:lnTo>
                  <a:lnTo>
                    <a:pt x="774" y="101"/>
                  </a:lnTo>
                  <a:lnTo>
                    <a:pt x="765" y="113"/>
                  </a:lnTo>
                  <a:lnTo>
                    <a:pt x="752" y="113"/>
                  </a:lnTo>
                  <a:lnTo>
                    <a:pt x="715" y="145"/>
                  </a:lnTo>
                  <a:lnTo>
                    <a:pt x="723" y="166"/>
                  </a:lnTo>
                  <a:lnTo>
                    <a:pt x="730" y="160"/>
                  </a:lnTo>
                  <a:lnTo>
                    <a:pt x="730" y="175"/>
                  </a:lnTo>
                  <a:lnTo>
                    <a:pt x="708" y="166"/>
                  </a:lnTo>
                  <a:lnTo>
                    <a:pt x="678" y="183"/>
                  </a:lnTo>
                  <a:lnTo>
                    <a:pt x="671" y="220"/>
                  </a:lnTo>
                  <a:lnTo>
                    <a:pt x="666" y="213"/>
                  </a:lnTo>
                  <a:lnTo>
                    <a:pt x="666" y="220"/>
                  </a:lnTo>
                  <a:lnTo>
                    <a:pt x="658" y="250"/>
                  </a:lnTo>
                  <a:lnTo>
                    <a:pt x="658" y="234"/>
                  </a:lnTo>
                  <a:lnTo>
                    <a:pt x="645" y="220"/>
                  </a:lnTo>
                  <a:lnTo>
                    <a:pt x="645" y="203"/>
                  </a:lnTo>
                  <a:lnTo>
                    <a:pt x="638" y="220"/>
                  </a:lnTo>
                  <a:lnTo>
                    <a:pt x="658" y="277"/>
                  </a:lnTo>
                  <a:lnTo>
                    <a:pt x="645" y="294"/>
                  </a:lnTo>
                  <a:lnTo>
                    <a:pt x="588" y="339"/>
                  </a:lnTo>
                  <a:lnTo>
                    <a:pt x="581" y="361"/>
                  </a:lnTo>
                  <a:lnTo>
                    <a:pt x="596" y="422"/>
                  </a:lnTo>
                  <a:lnTo>
                    <a:pt x="596" y="450"/>
                  </a:lnTo>
                  <a:lnTo>
                    <a:pt x="588" y="450"/>
                  </a:lnTo>
                  <a:lnTo>
                    <a:pt x="561" y="422"/>
                  </a:lnTo>
                  <a:lnTo>
                    <a:pt x="561" y="385"/>
                  </a:lnTo>
                  <a:lnTo>
                    <a:pt x="546" y="368"/>
                  </a:lnTo>
                  <a:lnTo>
                    <a:pt x="531" y="376"/>
                  </a:lnTo>
                  <a:lnTo>
                    <a:pt x="531" y="368"/>
                  </a:lnTo>
                  <a:lnTo>
                    <a:pt x="480" y="368"/>
                  </a:lnTo>
                  <a:lnTo>
                    <a:pt x="465" y="376"/>
                  </a:lnTo>
                  <a:lnTo>
                    <a:pt x="480" y="385"/>
                  </a:lnTo>
                  <a:lnTo>
                    <a:pt x="454" y="385"/>
                  </a:lnTo>
                  <a:lnTo>
                    <a:pt x="445" y="376"/>
                  </a:lnTo>
                  <a:lnTo>
                    <a:pt x="418" y="376"/>
                  </a:lnTo>
                  <a:lnTo>
                    <a:pt x="402" y="385"/>
                  </a:lnTo>
                  <a:lnTo>
                    <a:pt x="370" y="415"/>
                  </a:lnTo>
                  <a:lnTo>
                    <a:pt x="370" y="442"/>
                  </a:lnTo>
                  <a:lnTo>
                    <a:pt x="340" y="437"/>
                  </a:lnTo>
                  <a:lnTo>
                    <a:pt x="311" y="376"/>
                  </a:lnTo>
                  <a:lnTo>
                    <a:pt x="296" y="376"/>
                  </a:lnTo>
                  <a:lnTo>
                    <a:pt x="291" y="385"/>
                  </a:lnTo>
                  <a:lnTo>
                    <a:pt x="283" y="385"/>
                  </a:lnTo>
                  <a:lnTo>
                    <a:pt x="269" y="376"/>
                  </a:lnTo>
                  <a:lnTo>
                    <a:pt x="269" y="361"/>
                  </a:lnTo>
                  <a:lnTo>
                    <a:pt x="248" y="339"/>
                  </a:lnTo>
                  <a:lnTo>
                    <a:pt x="177" y="353"/>
                  </a:lnTo>
                  <a:lnTo>
                    <a:pt x="127" y="331"/>
                  </a:lnTo>
                  <a:lnTo>
                    <a:pt x="105" y="331"/>
                  </a:lnTo>
                  <a:lnTo>
                    <a:pt x="90" y="316"/>
                  </a:lnTo>
                  <a:lnTo>
                    <a:pt x="83" y="316"/>
                  </a:lnTo>
                  <a:lnTo>
                    <a:pt x="83" y="301"/>
                  </a:lnTo>
                  <a:lnTo>
                    <a:pt x="48" y="294"/>
                  </a:lnTo>
                  <a:lnTo>
                    <a:pt x="48" y="286"/>
                  </a:lnTo>
                  <a:lnTo>
                    <a:pt x="35" y="266"/>
                  </a:lnTo>
                  <a:lnTo>
                    <a:pt x="35" y="250"/>
                  </a:lnTo>
                  <a:lnTo>
                    <a:pt x="25" y="250"/>
                  </a:lnTo>
                  <a:lnTo>
                    <a:pt x="25" y="242"/>
                  </a:lnTo>
                  <a:lnTo>
                    <a:pt x="35" y="242"/>
                  </a:lnTo>
                  <a:lnTo>
                    <a:pt x="35" y="234"/>
                  </a:lnTo>
                  <a:lnTo>
                    <a:pt x="20" y="234"/>
                  </a:lnTo>
                  <a:lnTo>
                    <a:pt x="25" y="234"/>
                  </a:lnTo>
                  <a:lnTo>
                    <a:pt x="6" y="213"/>
                  </a:lnTo>
                  <a:lnTo>
                    <a:pt x="6" y="203"/>
                  </a:lnTo>
                  <a:lnTo>
                    <a:pt x="0" y="197"/>
                  </a:lnTo>
                  <a:lnTo>
                    <a:pt x="6" y="166"/>
                  </a:lnTo>
                  <a:lnTo>
                    <a:pt x="0" y="138"/>
                  </a:lnTo>
                  <a:lnTo>
                    <a:pt x="6" y="71"/>
                  </a:lnTo>
                  <a:lnTo>
                    <a:pt x="0" y="23"/>
                  </a:lnTo>
                  <a:lnTo>
                    <a:pt x="20" y="23"/>
                  </a:lnTo>
                  <a:lnTo>
                    <a:pt x="20" y="47"/>
                  </a:lnTo>
                  <a:lnTo>
                    <a:pt x="25" y="47"/>
                  </a:lnTo>
                  <a:lnTo>
                    <a:pt x="25" y="1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7" name="Freeform 33">
              <a:extLst>
                <a:ext uri="{FF2B5EF4-FFF2-40B4-BE49-F238E27FC236}">
                  <a16:creationId xmlns:a16="http://schemas.microsoft.com/office/drawing/2014/main" id="{CCEDAEB6-3C10-734D-99A1-EACB792F7FFB}"/>
                </a:ext>
              </a:extLst>
            </p:cNvPr>
            <p:cNvSpPr>
              <a:spLocks/>
            </p:cNvSpPr>
            <p:nvPr/>
          </p:nvSpPr>
          <p:spPr bwMode="auto">
            <a:xfrm>
              <a:off x="2678199" y="1840495"/>
              <a:ext cx="911608" cy="1026967"/>
            </a:xfrm>
            <a:custGeom>
              <a:avLst/>
              <a:gdLst>
                <a:gd name="T0" fmla="*/ 498 w 494"/>
                <a:gd name="T1" fmla="*/ 518 h 559"/>
                <a:gd name="T2" fmla="*/ 450 w 494"/>
                <a:gd name="T3" fmla="*/ 442 h 559"/>
                <a:gd name="T4" fmla="*/ 434 w 494"/>
                <a:gd name="T5" fmla="*/ 412 h 559"/>
                <a:gd name="T6" fmla="*/ 405 w 494"/>
                <a:gd name="T7" fmla="*/ 437 h 559"/>
                <a:gd name="T8" fmla="*/ 385 w 494"/>
                <a:gd name="T9" fmla="*/ 396 h 559"/>
                <a:gd name="T10" fmla="*/ 356 w 494"/>
                <a:gd name="T11" fmla="*/ 74 h 559"/>
                <a:gd name="T12" fmla="*/ 304 w 494"/>
                <a:gd name="T13" fmla="*/ 65 h 559"/>
                <a:gd name="T14" fmla="*/ 272 w 494"/>
                <a:gd name="T15" fmla="*/ 53 h 559"/>
                <a:gd name="T16" fmla="*/ 215 w 494"/>
                <a:gd name="T17" fmla="*/ 38 h 559"/>
                <a:gd name="T18" fmla="*/ 177 w 494"/>
                <a:gd name="T19" fmla="*/ 21 h 559"/>
                <a:gd name="T20" fmla="*/ 150 w 494"/>
                <a:gd name="T21" fmla="*/ 0 h 559"/>
                <a:gd name="T22" fmla="*/ 91 w 494"/>
                <a:gd name="T23" fmla="*/ 45 h 559"/>
                <a:gd name="T24" fmla="*/ 63 w 494"/>
                <a:gd name="T25" fmla="*/ 65 h 559"/>
                <a:gd name="T26" fmla="*/ 20 w 494"/>
                <a:gd name="T27" fmla="*/ 111 h 559"/>
                <a:gd name="T28" fmla="*/ 49 w 494"/>
                <a:gd name="T29" fmla="*/ 157 h 559"/>
                <a:gd name="T30" fmla="*/ 78 w 494"/>
                <a:gd name="T31" fmla="*/ 211 h 559"/>
                <a:gd name="T32" fmla="*/ 49 w 494"/>
                <a:gd name="T33" fmla="*/ 196 h 559"/>
                <a:gd name="T34" fmla="*/ 5 w 494"/>
                <a:gd name="T35" fmla="*/ 211 h 559"/>
                <a:gd name="T36" fmla="*/ 13 w 494"/>
                <a:gd name="T37" fmla="*/ 241 h 559"/>
                <a:gd name="T38" fmla="*/ 35 w 494"/>
                <a:gd name="T39" fmla="*/ 271 h 559"/>
                <a:gd name="T40" fmla="*/ 85 w 494"/>
                <a:gd name="T41" fmla="*/ 254 h 559"/>
                <a:gd name="T42" fmla="*/ 91 w 494"/>
                <a:gd name="T43" fmla="*/ 286 h 559"/>
                <a:gd name="T44" fmla="*/ 63 w 494"/>
                <a:gd name="T45" fmla="*/ 307 h 559"/>
                <a:gd name="T46" fmla="*/ 42 w 494"/>
                <a:gd name="T47" fmla="*/ 315 h 559"/>
                <a:gd name="T48" fmla="*/ 49 w 494"/>
                <a:gd name="T49" fmla="*/ 412 h 559"/>
                <a:gd name="T50" fmla="*/ 78 w 494"/>
                <a:gd name="T51" fmla="*/ 406 h 559"/>
                <a:gd name="T52" fmla="*/ 85 w 494"/>
                <a:gd name="T53" fmla="*/ 442 h 559"/>
                <a:gd name="T54" fmla="*/ 120 w 494"/>
                <a:gd name="T55" fmla="*/ 450 h 559"/>
                <a:gd name="T56" fmla="*/ 133 w 494"/>
                <a:gd name="T57" fmla="*/ 442 h 559"/>
                <a:gd name="T58" fmla="*/ 91 w 494"/>
                <a:gd name="T59" fmla="*/ 518 h 559"/>
                <a:gd name="T60" fmla="*/ 35 w 494"/>
                <a:gd name="T61" fmla="*/ 556 h 559"/>
                <a:gd name="T62" fmla="*/ 120 w 494"/>
                <a:gd name="T63" fmla="*/ 518 h 559"/>
                <a:gd name="T64" fmla="*/ 185 w 494"/>
                <a:gd name="T65" fmla="*/ 450 h 559"/>
                <a:gd name="T66" fmla="*/ 177 w 494"/>
                <a:gd name="T67" fmla="*/ 437 h 559"/>
                <a:gd name="T68" fmla="*/ 208 w 494"/>
                <a:gd name="T69" fmla="*/ 389 h 559"/>
                <a:gd name="T70" fmla="*/ 235 w 494"/>
                <a:gd name="T71" fmla="*/ 369 h 559"/>
                <a:gd name="T72" fmla="*/ 215 w 494"/>
                <a:gd name="T73" fmla="*/ 412 h 559"/>
                <a:gd name="T74" fmla="*/ 215 w 494"/>
                <a:gd name="T75" fmla="*/ 437 h 559"/>
                <a:gd name="T76" fmla="*/ 250 w 494"/>
                <a:gd name="T77" fmla="*/ 412 h 559"/>
                <a:gd name="T78" fmla="*/ 263 w 494"/>
                <a:gd name="T79" fmla="*/ 396 h 559"/>
                <a:gd name="T80" fmla="*/ 313 w 494"/>
                <a:gd name="T81" fmla="*/ 406 h 559"/>
                <a:gd name="T82" fmla="*/ 363 w 494"/>
                <a:gd name="T83" fmla="*/ 412 h 559"/>
                <a:gd name="T84" fmla="*/ 377 w 494"/>
                <a:gd name="T85" fmla="*/ 430 h 559"/>
                <a:gd name="T86" fmla="*/ 443 w 494"/>
                <a:gd name="T87" fmla="*/ 518 h 559"/>
                <a:gd name="T88" fmla="*/ 429 w 494"/>
                <a:gd name="T89" fmla="*/ 464 h 559"/>
                <a:gd name="T90" fmla="*/ 434 w 494"/>
                <a:gd name="T91" fmla="*/ 442 h 559"/>
                <a:gd name="T92" fmla="*/ 450 w 494"/>
                <a:gd name="T93" fmla="*/ 481 h 559"/>
                <a:gd name="T94" fmla="*/ 450 w 494"/>
                <a:gd name="T95" fmla="*/ 487 h 559"/>
                <a:gd name="T96" fmla="*/ 465 w 494"/>
                <a:gd name="T97" fmla="*/ 511 h 559"/>
                <a:gd name="T98" fmla="*/ 478 w 494"/>
                <a:gd name="T99" fmla="*/ 556 h 559"/>
                <a:gd name="T100" fmla="*/ 471 w 494"/>
                <a:gd name="T101" fmla="*/ 518 h 559"/>
                <a:gd name="T102" fmla="*/ 478 w 494"/>
                <a:gd name="T103" fmla="*/ 528 h 559"/>
                <a:gd name="T104" fmla="*/ 498 w 494"/>
                <a:gd name="T105" fmla="*/ 548 h 559"/>
                <a:gd name="T106" fmla="*/ 498 w 494"/>
                <a:gd name="T107" fmla="*/ 548 h 5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4"/>
                <a:gd name="T163" fmla="*/ 0 h 559"/>
                <a:gd name="T164" fmla="*/ 494 w 494"/>
                <a:gd name="T165" fmla="*/ 559 h 55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4" h="559">
                  <a:moveTo>
                    <a:pt x="494" y="546"/>
                  </a:moveTo>
                  <a:lnTo>
                    <a:pt x="494" y="516"/>
                  </a:lnTo>
                  <a:lnTo>
                    <a:pt x="474" y="494"/>
                  </a:lnTo>
                  <a:lnTo>
                    <a:pt x="446" y="440"/>
                  </a:lnTo>
                  <a:lnTo>
                    <a:pt x="439" y="440"/>
                  </a:lnTo>
                  <a:lnTo>
                    <a:pt x="431" y="411"/>
                  </a:lnTo>
                  <a:lnTo>
                    <a:pt x="419" y="428"/>
                  </a:lnTo>
                  <a:lnTo>
                    <a:pt x="402" y="435"/>
                  </a:lnTo>
                  <a:lnTo>
                    <a:pt x="382" y="405"/>
                  </a:lnTo>
                  <a:lnTo>
                    <a:pt x="382" y="395"/>
                  </a:lnTo>
                  <a:lnTo>
                    <a:pt x="353" y="405"/>
                  </a:lnTo>
                  <a:lnTo>
                    <a:pt x="353" y="74"/>
                  </a:lnTo>
                  <a:lnTo>
                    <a:pt x="332" y="53"/>
                  </a:lnTo>
                  <a:lnTo>
                    <a:pt x="302" y="65"/>
                  </a:lnTo>
                  <a:lnTo>
                    <a:pt x="291" y="53"/>
                  </a:lnTo>
                  <a:lnTo>
                    <a:pt x="270" y="53"/>
                  </a:lnTo>
                  <a:lnTo>
                    <a:pt x="248" y="38"/>
                  </a:lnTo>
                  <a:lnTo>
                    <a:pt x="213" y="38"/>
                  </a:lnTo>
                  <a:lnTo>
                    <a:pt x="206" y="21"/>
                  </a:lnTo>
                  <a:lnTo>
                    <a:pt x="176" y="21"/>
                  </a:lnTo>
                  <a:lnTo>
                    <a:pt x="168" y="8"/>
                  </a:lnTo>
                  <a:lnTo>
                    <a:pt x="149" y="0"/>
                  </a:lnTo>
                  <a:lnTo>
                    <a:pt x="132" y="21"/>
                  </a:lnTo>
                  <a:lnTo>
                    <a:pt x="90" y="45"/>
                  </a:lnTo>
                  <a:lnTo>
                    <a:pt x="84" y="45"/>
                  </a:lnTo>
                  <a:lnTo>
                    <a:pt x="62" y="65"/>
                  </a:lnTo>
                  <a:lnTo>
                    <a:pt x="57" y="104"/>
                  </a:lnTo>
                  <a:lnTo>
                    <a:pt x="20" y="111"/>
                  </a:lnTo>
                  <a:lnTo>
                    <a:pt x="13" y="127"/>
                  </a:lnTo>
                  <a:lnTo>
                    <a:pt x="49" y="156"/>
                  </a:lnTo>
                  <a:lnTo>
                    <a:pt x="77" y="201"/>
                  </a:lnTo>
                  <a:lnTo>
                    <a:pt x="77" y="210"/>
                  </a:lnTo>
                  <a:lnTo>
                    <a:pt x="49" y="210"/>
                  </a:lnTo>
                  <a:lnTo>
                    <a:pt x="49" y="195"/>
                  </a:lnTo>
                  <a:lnTo>
                    <a:pt x="42" y="195"/>
                  </a:lnTo>
                  <a:lnTo>
                    <a:pt x="5" y="210"/>
                  </a:lnTo>
                  <a:lnTo>
                    <a:pt x="0" y="232"/>
                  </a:lnTo>
                  <a:lnTo>
                    <a:pt x="13" y="240"/>
                  </a:lnTo>
                  <a:lnTo>
                    <a:pt x="13" y="253"/>
                  </a:lnTo>
                  <a:lnTo>
                    <a:pt x="35" y="270"/>
                  </a:lnTo>
                  <a:lnTo>
                    <a:pt x="62" y="270"/>
                  </a:lnTo>
                  <a:lnTo>
                    <a:pt x="84" y="253"/>
                  </a:lnTo>
                  <a:lnTo>
                    <a:pt x="84" y="270"/>
                  </a:lnTo>
                  <a:lnTo>
                    <a:pt x="90" y="285"/>
                  </a:lnTo>
                  <a:lnTo>
                    <a:pt x="84" y="306"/>
                  </a:lnTo>
                  <a:lnTo>
                    <a:pt x="62" y="306"/>
                  </a:lnTo>
                  <a:lnTo>
                    <a:pt x="57" y="314"/>
                  </a:lnTo>
                  <a:lnTo>
                    <a:pt x="42" y="314"/>
                  </a:lnTo>
                  <a:lnTo>
                    <a:pt x="20" y="359"/>
                  </a:lnTo>
                  <a:lnTo>
                    <a:pt x="49" y="411"/>
                  </a:lnTo>
                  <a:lnTo>
                    <a:pt x="57" y="411"/>
                  </a:lnTo>
                  <a:lnTo>
                    <a:pt x="77" y="405"/>
                  </a:lnTo>
                  <a:lnTo>
                    <a:pt x="77" y="435"/>
                  </a:lnTo>
                  <a:lnTo>
                    <a:pt x="84" y="440"/>
                  </a:lnTo>
                  <a:lnTo>
                    <a:pt x="106" y="440"/>
                  </a:lnTo>
                  <a:lnTo>
                    <a:pt x="119" y="448"/>
                  </a:lnTo>
                  <a:lnTo>
                    <a:pt x="119" y="440"/>
                  </a:lnTo>
                  <a:lnTo>
                    <a:pt x="132" y="440"/>
                  </a:lnTo>
                  <a:lnTo>
                    <a:pt x="132" y="479"/>
                  </a:lnTo>
                  <a:lnTo>
                    <a:pt x="90" y="516"/>
                  </a:lnTo>
                  <a:lnTo>
                    <a:pt x="62" y="526"/>
                  </a:lnTo>
                  <a:lnTo>
                    <a:pt x="35" y="554"/>
                  </a:lnTo>
                  <a:lnTo>
                    <a:pt x="42" y="559"/>
                  </a:lnTo>
                  <a:lnTo>
                    <a:pt x="119" y="516"/>
                  </a:lnTo>
                  <a:lnTo>
                    <a:pt x="142" y="485"/>
                  </a:lnTo>
                  <a:lnTo>
                    <a:pt x="184" y="448"/>
                  </a:lnTo>
                  <a:lnTo>
                    <a:pt x="189" y="440"/>
                  </a:lnTo>
                  <a:lnTo>
                    <a:pt x="176" y="435"/>
                  </a:lnTo>
                  <a:lnTo>
                    <a:pt x="206" y="405"/>
                  </a:lnTo>
                  <a:lnTo>
                    <a:pt x="206" y="388"/>
                  </a:lnTo>
                  <a:lnTo>
                    <a:pt x="226" y="368"/>
                  </a:lnTo>
                  <a:lnTo>
                    <a:pt x="233" y="368"/>
                  </a:lnTo>
                  <a:lnTo>
                    <a:pt x="218" y="388"/>
                  </a:lnTo>
                  <a:lnTo>
                    <a:pt x="213" y="411"/>
                  </a:lnTo>
                  <a:lnTo>
                    <a:pt x="218" y="428"/>
                  </a:lnTo>
                  <a:lnTo>
                    <a:pt x="213" y="435"/>
                  </a:lnTo>
                  <a:lnTo>
                    <a:pt x="218" y="435"/>
                  </a:lnTo>
                  <a:lnTo>
                    <a:pt x="248" y="411"/>
                  </a:lnTo>
                  <a:lnTo>
                    <a:pt x="255" y="411"/>
                  </a:lnTo>
                  <a:lnTo>
                    <a:pt x="261" y="395"/>
                  </a:lnTo>
                  <a:lnTo>
                    <a:pt x="255" y="374"/>
                  </a:lnTo>
                  <a:lnTo>
                    <a:pt x="310" y="405"/>
                  </a:lnTo>
                  <a:lnTo>
                    <a:pt x="338" y="405"/>
                  </a:lnTo>
                  <a:lnTo>
                    <a:pt x="360" y="411"/>
                  </a:lnTo>
                  <a:lnTo>
                    <a:pt x="374" y="411"/>
                  </a:lnTo>
                  <a:lnTo>
                    <a:pt x="374" y="428"/>
                  </a:lnTo>
                  <a:lnTo>
                    <a:pt x="419" y="462"/>
                  </a:lnTo>
                  <a:lnTo>
                    <a:pt x="439" y="516"/>
                  </a:lnTo>
                  <a:lnTo>
                    <a:pt x="431" y="472"/>
                  </a:lnTo>
                  <a:lnTo>
                    <a:pt x="426" y="462"/>
                  </a:lnTo>
                  <a:lnTo>
                    <a:pt x="431" y="462"/>
                  </a:lnTo>
                  <a:lnTo>
                    <a:pt x="431" y="440"/>
                  </a:lnTo>
                  <a:lnTo>
                    <a:pt x="439" y="485"/>
                  </a:lnTo>
                  <a:lnTo>
                    <a:pt x="446" y="479"/>
                  </a:lnTo>
                  <a:lnTo>
                    <a:pt x="467" y="494"/>
                  </a:lnTo>
                  <a:lnTo>
                    <a:pt x="446" y="485"/>
                  </a:lnTo>
                  <a:lnTo>
                    <a:pt x="446" y="516"/>
                  </a:lnTo>
                  <a:lnTo>
                    <a:pt x="461" y="509"/>
                  </a:lnTo>
                  <a:lnTo>
                    <a:pt x="461" y="526"/>
                  </a:lnTo>
                  <a:lnTo>
                    <a:pt x="474" y="554"/>
                  </a:lnTo>
                  <a:lnTo>
                    <a:pt x="474" y="531"/>
                  </a:lnTo>
                  <a:lnTo>
                    <a:pt x="467" y="516"/>
                  </a:lnTo>
                  <a:lnTo>
                    <a:pt x="474" y="516"/>
                  </a:lnTo>
                  <a:lnTo>
                    <a:pt x="474" y="526"/>
                  </a:lnTo>
                  <a:lnTo>
                    <a:pt x="488" y="554"/>
                  </a:lnTo>
                  <a:lnTo>
                    <a:pt x="494" y="546"/>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8" name="Freeform 34">
              <a:extLst>
                <a:ext uri="{FF2B5EF4-FFF2-40B4-BE49-F238E27FC236}">
                  <a16:creationId xmlns:a16="http://schemas.microsoft.com/office/drawing/2014/main" id="{8CA84D6E-84A3-DA4E-B328-7240D8B6E485}"/>
                </a:ext>
              </a:extLst>
            </p:cNvPr>
            <p:cNvSpPr>
              <a:spLocks/>
            </p:cNvSpPr>
            <p:nvPr/>
          </p:nvSpPr>
          <p:spPr bwMode="auto">
            <a:xfrm>
              <a:off x="3329871" y="1586041"/>
              <a:ext cx="2123425" cy="1801311"/>
            </a:xfrm>
            <a:custGeom>
              <a:avLst/>
              <a:gdLst>
                <a:gd name="T0" fmla="*/ 802 w 1151"/>
                <a:gd name="T1" fmla="*/ 975 h 980"/>
                <a:gd name="T2" fmla="*/ 809 w 1151"/>
                <a:gd name="T3" fmla="*/ 945 h 980"/>
                <a:gd name="T4" fmla="*/ 816 w 1151"/>
                <a:gd name="T5" fmla="*/ 901 h 980"/>
                <a:gd name="T6" fmla="*/ 752 w 1151"/>
                <a:gd name="T7" fmla="*/ 853 h 980"/>
                <a:gd name="T8" fmla="*/ 672 w 1151"/>
                <a:gd name="T9" fmla="*/ 853 h 980"/>
                <a:gd name="T10" fmla="*/ 624 w 1151"/>
                <a:gd name="T11" fmla="*/ 825 h 980"/>
                <a:gd name="T12" fmla="*/ 136 w 1151"/>
                <a:gd name="T13" fmla="*/ 712 h 980"/>
                <a:gd name="T14" fmla="*/ 94 w 1151"/>
                <a:gd name="T15" fmla="*/ 582 h 980"/>
                <a:gd name="T16" fmla="*/ 47 w 1151"/>
                <a:gd name="T17" fmla="*/ 575 h 980"/>
                <a:gd name="T18" fmla="*/ 0 w 1151"/>
                <a:gd name="T19" fmla="*/ 211 h 980"/>
                <a:gd name="T20" fmla="*/ 79 w 1151"/>
                <a:gd name="T21" fmla="*/ 218 h 980"/>
                <a:gd name="T22" fmla="*/ 157 w 1151"/>
                <a:gd name="T23" fmla="*/ 202 h 980"/>
                <a:gd name="T24" fmla="*/ 202 w 1151"/>
                <a:gd name="T25" fmla="*/ 211 h 980"/>
                <a:gd name="T26" fmla="*/ 242 w 1151"/>
                <a:gd name="T27" fmla="*/ 218 h 980"/>
                <a:gd name="T28" fmla="*/ 314 w 1151"/>
                <a:gd name="T29" fmla="*/ 239 h 980"/>
                <a:gd name="T30" fmla="*/ 352 w 1151"/>
                <a:gd name="T31" fmla="*/ 271 h 980"/>
                <a:gd name="T32" fmla="*/ 452 w 1151"/>
                <a:gd name="T33" fmla="*/ 293 h 980"/>
                <a:gd name="T34" fmla="*/ 495 w 1151"/>
                <a:gd name="T35" fmla="*/ 265 h 980"/>
                <a:gd name="T36" fmla="*/ 589 w 1151"/>
                <a:gd name="T37" fmla="*/ 255 h 980"/>
                <a:gd name="T38" fmla="*/ 602 w 1151"/>
                <a:gd name="T39" fmla="*/ 224 h 980"/>
                <a:gd name="T40" fmla="*/ 609 w 1151"/>
                <a:gd name="T41" fmla="*/ 293 h 980"/>
                <a:gd name="T42" fmla="*/ 602 w 1151"/>
                <a:gd name="T43" fmla="*/ 181 h 980"/>
                <a:gd name="T44" fmla="*/ 651 w 1151"/>
                <a:gd name="T45" fmla="*/ 0 h 980"/>
                <a:gd name="T46" fmla="*/ 651 w 1151"/>
                <a:gd name="T47" fmla="*/ 67 h 980"/>
                <a:gd name="T48" fmla="*/ 672 w 1151"/>
                <a:gd name="T49" fmla="*/ 189 h 980"/>
                <a:gd name="T50" fmla="*/ 707 w 1151"/>
                <a:gd name="T51" fmla="*/ 224 h 980"/>
                <a:gd name="T52" fmla="*/ 737 w 1151"/>
                <a:gd name="T53" fmla="*/ 300 h 980"/>
                <a:gd name="T54" fmla="*/ 774 w 1151"/>
                <a:gd name="T55" fmla="*/ 202 h 980"/>
                <a:gd name="T56" fmla="*/ 809 w 1151"/>
                <a:gd name="T57" fmla="*/ 255 h 980"/>
                <a:gd name="T58" fmla="*/ 809 w 1151"/>
                <a:gd name="T59" fmla="*/ 308 h 980"/>
                <a:gd name="T60" fmla="*/ 737 w 1151"/>
                <a:gd name="T61" fmla="*/ 332 h 980"/>
                <a:gd name="T62" fmla="*/ 715 w 1151"/>
                <a:gd name="T63" fmla="*/ 424 h 980"/>
                <a:gd name="T64" fmla="*/ 666 w 1151"/>
                <a:gd name="T65" fmla="*/ 467 h 980"/>
                <a:gd name="T66" fmla="*/ 629 w 1151"/>
                <a:gd name="T67" fmla="*/ 575 h 980"/>
                <a:gd name="T68" fmla="*/ 681 w 1151"/>
                <a:gd name="T69" fmla="*/ 628 h 980"/>
                <a:gd name="T70" fmla="*/ 789 w 1151"/>
                <a:gd name="T71" fmla="*/ 673 h 980"/>
                <a:gd name="T72" fmla="*/ 854 w 1151"/>
                <a:gd name="T73" fmla="*/ 756 h 980"/>
                <a:gd name="T74" fmla="*/ 860 w 1151"/>
                <a:gd name="T75" fmla="*/ 602 h 980"/>
                <a:gd name="T76" fmla="*/ 860 w 1151"/>
                <a:gd name="T77" fmla="*/ 536 h 980"/>
                <a:gd name="T78" fmla="*/ 854 w 1151"/>
                <a:gd name="T79" fmla="*/ 482 h 980"/>
                <a:gd name="T80" fmla="*/ 944 w 1151"/>
                <a:gd name="T81" fmla="*/ 499 h 980"/>
                <a:gd name="T82" fmla="*/ 974 w 1151"/>
                <a:gd name="T83" fmla="*/ 575 h 980"/>
                <a:gd name="T84" fmla="*/ 1030 w 1151"/>
                <a:gd name="T85" fmla="*/ 536 h 980"/>
                <a:gd name="T86" fmla="*/ 1087 w 1151"/>
                <a:gd name="T87" fmla="*/ 667 h 980"/>
                <a:gd name="T88" fmla="*/ 1132 w 1151"/>
                <a:gd name="T89" fmla="*/ 695 h 980"/>
                <a:gd name="T90" fmla="*/ 1145 w 1151"/>
                <a:gd name="T91" fmla="*/ 726 h 980"/>
                <a:gd name="T92" fmla="*/ 1145 w 1151"/>
                <a:gd name="T93" fmla="*/ 769 h 980"/>
                <a:gd name="T94" fmla="*/ 1044 w 1151"/>
                <a:gd name="T95" fmla="*/ 793 h 980"/>
                <a:gd name="T96" fmla="*/ 974 w 1151"/>
                <a:gd name="T97" fmla="*/ 831 h 980"/>
                <a:gd name="T98" fmla="*/ 1004 w 1151"/>
                <a:gd name="T99" fmla="*/ 825 h 980"/>
                <a:gd name="T100" fmla="*/ 1015 w 1151"/>
                <a:gd name="T101" fmla="*/ 853 h 980"/>
                <a:gd name="T102" fmla="*/ 1057 w 1151"/>
                <a:gd name="T103" fmla="*/ 901 h 980"/>
                <a:gd name="T104" fmla="*/ 1087 w 1151"/>
                <a:gd name="T105" fmla="*/ 883 h 980"/>
                <a:gd name="T106" fmla="*/ 1024 w 1151"/>
                <a:gd name="T107" fmla="*/ 945 h 980"/>
                <a:gd name="T108" fmla="*/ 1030 w 1151"/>
                <a:gd name="T109" fmla="*/ 901 h 980"/>
                <a:gd name="T110" fmla="*/ 989 w 1151"/>
                <a:gd name="T111" fmla="*/ 860 h 980"/>
                <a:gd name="T112" fmla="*/ 937 w 1151"/>
                <a:gd name="T113" fmla="*/ 915 h 980"/>
                <a:gd name="T114" fmla="*/ 843 w 1151"/>
                <a:gd name="T115" fmla="*/ 937 h 9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51"/>
                <a:gd name="T175" fmla="*/ 0 h 980"/>
                <a:gd name="T176" fmla="*/ 1151 w 1151"/>
                <a:gd name="T177" fmla="*/ 980 h 98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51" h="980">
                  <a:moveTo>
                    <a:pt x="836" y="933"/>
                  </a:moveTo>
                  <a:lnTo>
                    <a:pt x="836" y="949"/>
                  </a:lnTo>
                  <a:lnTo>
                    <a:pt x="803" y="956"/>
                  </a:lnTo>
                  <a:lnTo>
                    <a:pt x="796" y="971"/>
                  </a:lnTo>
                  <a:lnTo>
                    <a:pt x="775" y="980"/>
                  </a:lnTo>
                  <a:lnTo>
                    <a:pt x="796" y="949"/>
                  </a:lnTo>
                  <a:lnTo>
                    <a:pt x="783" y="949"/>
                  </a:lnTo>
                  <a:lnTo>
                    <a:pt x="803" y="941"/>
                  </a:lnTo>
                  <a:lnTo>
                    <a:pt x="803" y="904"/>
                  </a:lnTo>
                  <a:lnTo>
                    <a:pt x="816" y="926"/>
                  </a:lnTo>
                  <a:lnTo>
                    <a:pt x="825" y="911"/>
                  </a:lnTo>
                  <a:lnTo>
                    <a:pt x="810" y="897"/>
                  </a:lnTo>
                  <a:lnTo>
                    <a:pt x="768" y="879"/>
                  </a:lnTo>
                  <a:lnTo>
                    <a:pt x="761" y="874"/>
                  </a:lnTo>
                  <a:lnTo>
                    <a:pt x="753" y="850"/>
                  </a:lnTo>
                  <a:lnTo>
                    <a:pt x="746" y="850"/>
                  </a:lnTo>
                  <a:lnTo>
                    <a:pt x="731" y="828"/>
                  </a:lnTo>
                  <a:lnTo>
                    <a:pt x="718" y="822"/>
                  </a:lnTo>
                  <a:lnTo>
                    <a:pt x="687" y="850"/>
                  </a:lnTo>
                  <a:lnTo>
                    <a:pt x="667" y="850"/>
                  </a:lnTo>
                  <a:lnTo>
                    <a:pt x="646" y="828"/>
                  </a:lnTo>
                  <a:lnTo>
                    <a:pt x="634" y="828"/>
                  </a:lnTo>
                  <a:lnTo>
                    <a:pt x="624" y="813"/>
                  </a:lnTo>
                  <a:lnTo>
                    <a:pt x="619" y="822"/>
                  </a:lnTo>
                  <a:lnTo>
                    <a:pt x="240" y="822"/>
                  </a:lnTo>
                  <a:lnTo>
                    <a:pt x="178" y="775"/>
                  </a:lnTo>
                  <a:lnTo>
                    <a:pt x="170" y="746"/>
                  </a:lnTo>
                  <a:lnTo>
                    <a:pt x="135" y="709"/>
                  </a:lnTo>
                  <a:lnTo>
                    <a:pt x="141" y="699"/>
                  </a:lnTo>
                  <a:lnTo>
                    <a:pt x="141" y="655"/>
                  </a:lnTo>
                  <a:lnTo>
                    <a:pt x="119" y="632"/>
                  </a:lnTo>
                  <a:lnTo>
                    <a:pt x="93" y="580"/>
                  </a:lnTo>
                  <a:lnTo>
                    <a:pt x="86" y="580"/>
                  </a:lnTo>
                  <a:lnTo>
                    <a:pt x="78" y="549"/>
                  </a:lnTo>
                  <a:lnTo>
                    <a:pt x="64" y="565"/>
                  </a:lnTo>
                  <a:lnTo>
                    <a:pt x="47" y="573"/>
                  </a:lnTo>
                  <a:lnTo>
                    <a:pt x="27" y="543"/>
                  </a:lnTo>
                  <a:lnTo>
                    <a:pt x="27" y="534"/>
                  </a:lnTo>
                  <a:lnTo>
                    <a:pt x="0" y="543"/>
                  </a:lnTo>
                  <a:lnTo>
                    <a:pt x="0" y="210"/>
                  </a:lnTo>
                  <a:lnTo>
                    <a:pt x="21" y="210"/>
                  </a:lnTo>
                  <a:lnTo>
                    <a:pt x="71" y="247"/>
                  </a:lnTo>
                  <a:lnTo>
                    <a:pt x="71" y="223"/>
                  </a:lnTo>
                  <a:lnTo>
                    <a:pt x="78" y="217"/>
                  </a:lnTo>
                  <a:lnTo>
                    <a:pt x="93" y="210"/>
                  </a:lnTo>
                  <a:lnTo>
                    <a:pt x="106" y="217"/>
                  </a:lnTo>
                  <a:lnTo>
                    <a:pt x="156" y="180"/>
                  </a:lnTo>
                  <a:lnTo>
                    <a:pt x="156" y="201"/>
                  </a:lnTo>
                  <a:lnTo>
                    <a:pt x="170" y="201"/>
                  </a:lnTo>
                  <a:lnTo>
                    <a:pt x="178" y="171"/>
                  </a:lnTo>
                  <a:lnTo>
                    <a:pt x="200" y="188"/>
                  </a:lnTo>
                  <a:lnTo>
                    <a:pt x="200" y="210"/>
                  </a:lnTo>
                  <a:lnTo>
                    <a:pt x="215" y="217"/>
                  </a:lnTo>
                  <a:lnTo>
                    <a:pt x="222" y="201"/>
                  </a:lnTo>
                  <a:lnTo>
                    <a:pt x="222" y="217"/>
                  </a:lnTo>
                  <a:lnTo>
                    <a:pt x="240" y="217"/>
                  </a:lnTo>
                  <a:lnTo>
                    <a:pt x="240" y="201"/>
                  </a:lnTo>
                  <a:lnTo>
                    <a:pt x="262" y="201"/>
                  </a:lnTo>
                  <a:lnTo>
                    <a:pt x="300" y="223"/>
                  </a:lnTo>
                  <a:lnTo>
                    <a:pt x="312" y="238"/>
                  </a:lnTo>
                  <a:lnTo>
                    <a:pt x="334" y="238"/>
                  </a:lnTo>
                  <a:lnTo>
                    <a:pt x="354" y="247"/>
                  </a:lnTo>
                  <a:lnTo>
                    <a:pt x="354" y="264"/>
                  </a:lnTo>
                  <a:lnTo>
                    <a:pt x="349" y="270"/>
                  </a:lnTo>
                  <a:lnTo>
                    <a:pt x="349" y="284"/>
                  </a:lnTo>
                  <a:lnTo>
                    <a:pt x="377" y="292"/>
                  </a:lnTo>
                  <a:lnTo>
                    <a:pt x="419" y="270"/>
                  </a:lnTo>
                  <a:lnTo>
                    <a:pt x="448" y="292"/>
                  </a:lnTo>
                  <a:lnTo>
                    <a:pt x="448" y="270"/>
                  </a:lnTo>
                  <a:lnTo>
                    <a:pt x="433" y="264"/>
                  </a:lnTo>
                  <a:lnTo>
                    <a:pt x="475" y="238"/>
                  </a:lnTo>
                  <a:lnTo>
                    <a:pt x="491" y="264"/>
                  </a:lnTo>
                  <a:lnTo>
                    <a:pt x="555" y="292"/>
                  </a:lnTo>
                  <a:lnTo>
                    <a:pt x="577" y="292"/>
                  </a:lnTo>
                  <a:lnTo>
                    <a:pt x="577" y="264"/>
                  </a:lnTo>
                  <a:lnTo>
                    <a:pt x="584" y="254"/>
                  </a:lnTo>
                  <a:lnTo>
                    <a:pt x="555" y="238"/>
                  </a:lnTo>
                  <a:lnTo>
                    <a:pt x="577" y="223"/>
                  </a:lnTo>
                  <a:lnTo>
                    <a:pt x="584" y="201"/>
                  </a:lnTo>
                  <a:lnTo>
                    <a:pt x="597" y="223"/>
                  </a:lnTo>
                  <a:lnTo>
                    <a:pt x="619" y="247"/>
                  </a:lnTo>
                  <a:lnTo>
                    <a:pt x="597" y="264"/>
                  </a:lnTo>
                  <a:lnTo>
                    <a:pt x="597" y="284"/>
                  </a:lnTo>
                  <a:lnTo>
                    <a:pt x="604" y="292"/>
                  </a:lnTo>
                  <a:lnTo>
                    <a:pt x="634" y="254"/>
                  </a:lnTo>
                  <a:lnTo>
                    <a:pt x="624" y="238"/>
                  </a:lnTo>
                  <a:lnTo>
                    <a:pt x="634" y="217"/>
                  </a:lnTo>
                  <a:lnTo>
                    <a:pt x="597" y="180"/>
                  </a:lnTo>
                  <a:lnTo>
                    <a:pt x="604" y="126"/>
                  </a:lnTo>
                  <a:lnTo>
                    <a:pt x="624" y="117"/>
                  </a:lnTo>
                  <a:lnTo>
                    <a:pt x="619" y="6"/>
                  </a:lnTo>
                  <a:lnTo>
                    <a:pt x="646" y="0"/>
                  </a:lnTo>
                  <a:lnTo>
                    <a:pt x="676" y="6"/>
                  </a:lnTo>
                  <a:lnTo>
                    <a:pt x="681" y="15"/>
                  </a:lnTo>
                  <a:lnTo>
                    <a:pt x="661" y="67"/>
                  </a:lnTo>
                  <a:lnTo>
                    <a:pt x="646" y="67"/>
                  </a:lnTo>
                  <a:lnTo>
                    <a:pt x="634" y="82"/>
                  </a:lnTo>
                  <a:lnTo>
                    <a:pt x="639" y="99"/>
                  </a:lnTo>
                  <a:lnTo>
                    <a:pt x="634" y="114"/>
                  </a:lnTo>
                  <a:lnTo>
                    <a:pt x="667" y="188"/>
                  </a:lnTo>
                  <a:lnTo>
                    <a:pt x="661" y="210"/>
                  </a:lnTo>
                  <a:lnTo>
                    <a:pt x="667" y="217"/>
                  </a:lnTo>
                  <a:lnTo>
                    <a:pt x="687" y="254"/>
                  </a:lnTo>
                  <a:lnTo>
                    <a:pt x="702" y="223"/>
                  </a:lnTo>
                  <a:lnTo>
                    <a:pt x="718" y="247"/>
                  </a:lnTo>
                  <a:lnTo>
                    <a:pt x="709" y="284"/>
                  </a:lnTo>
                  <a:lnTo>
                    <a:pt x="726" y="299"/>
                  </a:lnTo>
                  <a:lnTo>
                    <a:pt x="731" y="299"/>
                  </a:lnTo>
                  <a:lnTo>
                    <a:pt x="731" y="284"/>
                  </a:lnTo>
                  <a:lnTo>
                    <a:pt x="753" y="270"/>
                  </a:lnTo>
                  <a:lnTo>
                    <a:pt x="753" y="201"/>
                  </a:lnTo>
                  <a:lnTo>
                    <a:pt x="768" y="201"/>
                  </a:lnTo>
                  <a:lnTo>
                    <a:pt x="783" y="210"/>
                  </a:lnTo>
                  <a:lnTo>
                    <a:pt x="783" y="223"/>
                  </a:lnTo>
                  <a:lnTo>
                    <a:pt x="803" y="223"/>
                  </a:lnTo>
                  <a:lnTo>
                    <a:pt x="803" y="254"/>
                  </a:lnTo>
                  <a:lnTo>
                    <a:pt x="783" y="264"/>
                  </a:lnTo>
                  <a:lnTo>
                    <a:pt x="783" y="284"/>
                  </a:lnTo>
                  <a:lnTo>
                    <a:pt x="803" y="292"/>
                  </a:lnTo>
                  <a:lnTo>
                    <a:pt x="803" y="307"/>
                  </a:lnTo>
                  <a:lnTo>
                    <a:pt x="768" y="344"/>
                  </a:lnTo>
                  <a:lnTo>
                    <a:pt x="753" y="338"/>
                  </a:lnTo>
                  <a:lnTo>
                    <a:pt x="753" y="331"/>
                  </a:lnTo>
                  <a:lnTo>
                    <a:pt x="731" y="331"/>
                  </a:lnTo>
                  <a:lnTo>
                    <a:pt x="746" y="344"/>
                  </a:lnTo>
                  <a:lnTo>
                    <a:pt x="726" y="366"/>
                  </a:lnTo>
                  <a:lnTo>
                    <a:pt x="726" y="383"/>
                  </a:lnTo>
                  <a:lnTo>
                    <a:pt x="709" y="422"/>
                  </a:lnTo>
                  <a:lnTo>
                    <a:pt x="687" y="422"/>
                  </a:lnTo>
                  <a:lnTo>
                    <a:pt x="676" y="442"/>
                  </a:lnTo>
                  <a:lnTo>
                    <a:pt x="681" y="457"/>
                  </a:lnTo>
                  <a:lnTo>
                    <a:pt x="661" y="465"/>
                  </a:lnTo>
                  <a:lnTo>
                    <a:pt x="661" y="487"/>
                  </a:lnTo>
                  <a:lnTo>
                    <a:pt x="646" y="487"/>
                  </a:lnTo>
                  <a:lnTo>
                    <a:pt x="624" y="543"/>
                  </a:lnTo>
                  <a:lnTo>
                    <a:pt x="624" y="573"/>
                  </a:lnTo>
                  <a:lnTo>
                    <a:pt x="634" y="580"/>
                  </a:lnTo>
                  <a:lnTo>
                    <a:pt x="646" y="580"/>
                  </a:lnTo>
                  <a:lnTo>
                    <a:pt x="661" y="632"/>
                  </a:lnTo>
                  <a:lnTo>
                    <a:pt x="676" y="625"/>
                  </a:lnTo>
                  <a:lnTo>
                    <a:pt x="702" y="632"/>
                  </a:lnTo>
                  <a:lnTo>
                    <a:pt x="718" y="655"/>
                  </a:lnTo>
                  <a:lnTo>
                    <a:pt x="753" y="670"/>
                  </a:lnTo>
                  <a:lnTo>
                    <a:pt x="783" y="670"/>
                  </a:lnTo>
                  <a:lnTo>
                    <a:pt x="796" y="686"/>
                  </a:lnTo>
                  <a:lnTo>
                    <a:pt x="796" y="739"/>
                  </a:lnTo>
                  <a:lnTo>
                    <a:pt x="825" y="775"/>
                  </a:lnTo>
                  <a:lnTo>
                    <a:pt x="847" y="753"/>
                  </a:lnTo>
                  <a:lnTo>
                    <a:pt x="825" y="692"/>
                  </a:lnTo>
                  <a:lnTo>
                    <a:pt x="847" y="686"/>
                  </a:lnTo>
                  <a:lnTo>
                    <a:pt x="858" y="655"/>
                  </a:lnTo>
                  <a:lnTo>
                    <a:pt x="853" y="600"/>
                  </a:lnTo>
                  <a:lnTo>
                    <a:pt x="836" y="580"/>
                  </a:lnTo>
                  <a:lnTo>
                    <a:pt x="847" y="573"/>
                  </a:lnTo>
                  <a:lnTo>
                    <a:pt x="853" y="573"/>
                  </a:lnTo>
                  <a:lnTo>
                    <a:pt x="853" y="534"/>
                  </a:lnTo>
                  <a:lnTo>
                    <a:pt x="847" y="524"/>
                  </a:lnTo>
                  <a:lnTo>
                    <a:pt x="853" y="497"/>
                  </a:lnTo>
                  <a:lnTo>
                    <a:pt x="847" y="487"/>
                  </a:lnTo>
                  <a:lnTo>
                    <a:pt x="847" y="480"/>
                  </a:lnTo>
                  <a:lnTo>
                    <a:pt x="853" y="465"/>
                  </a:lnTo>
                  <a:lnTo>
                    <a:pt x="880" y="480"/>
                  </a:lnTo>
                  <a:lnTo>
                    <a:pt x="900" y="465"/>
                  </a:lnTo>
                  <a:lnTo>
                    <a:pt x="937" y="497"/>
                  </a:lnTo>
                  <a:lnTo>
                    <a:pt x="930" y="504"/>
                  </a:lnTo>
                  <a:lnTo>
                    <a:pt x="937" y="512"/>
                  </a:lnTo>
                  <a:lnTo>
                    <a:pt x="966" y="512"/>
                  </a:lnTo>
                  <a:lnTo>
                    <a:pt x="966" y="573"/>
                  </a:lnTo>
                  <a:lnTo>
                    <a:pt x="986" y="600"/>
                  </a:lnTo>
                  <a:lnTo>
                    <a:pt x="1022" y="565"/>
                  </a:lnTo>
                  <a:lnTo>
                    <a:pt x="1016" y="549"/>
                  </a:lnTo>
                  <a:lnTo>
                    <a:pt x="1022" y="534"/>
                  </a:lnTo>
                  <a:lnTo>
                    <a:pt x="1073" y="625"/>
                  </a:lnTo>
                  <a:lnTo>
                    <a:pt x="1064" y="632"/>
                  </a:lnTo>
                  <a:lnTo>
                    <a:pt x="1064" y="655"/>
                  </a:lnTo>
                  <a:lnTo>
                    <a:pt x="1079" y="664"/>
                  </a:lnTo>
                  <a:lnTo>
                    <a:pt x="1079" y="670"/>
                  </a:lnTo>
                  <a:lnTo>
                    <a:pt x="1101" y="686"/>
                  </a:lnTo>
                  <a:lnTo>
                    <a:pt x="1108" y="686"/>
                  </a:lnTo>
                  <a:lnTo>
                    <a:pt x="1123" y="692"/>
                  </a:lnTo>
                  <a:lnTo>
                    <a:pt x="1108" y="699"/>
                  </a:lnTo>
                  <a:lnTo>
                    <a:pt x="1123" y="699"/>
                  </a:lnTo>
                  <a:lnTo>
                    <a:pt x="1123" y="723"/>
                  </a:lnTo>
                  <a:lnTo>
                    <a:pt x="1136" y="723"/>
                  </a:lnTo>
                  <a:lnTo>
                    <a:pt x="1145" y="731"/>
                  </a:lnTo>
                  <a:lnTo>
                    <a:pt x="1145" y="739"/>
                  </a:lnTo>
                  <a:lnTo>
                    <a:pt x="1151" y="753"/>
                  </a:lnTo>
                  <a:lnTo>
                    <a:pt x="1136" y="766"/>
                  </a:lnTo>
                  <a:lnTo>
                    <a:pt x="1108" y="775"/>
                  </a:lnTo>
                  <a:lnTo>
                    <a:pt x="1095" y="805"/>
                  </a:lnTo>
                  <a:lnTo>
                    <a:pt x="1064" y="805"/>
                  </a:lnTo>
                  <a:lnTo>
                    <a:pt x="1036" y="790"/>
                  </a:lnTo>
                  <a:lnTo>
                    <a:pt x="996" y="805"/>
                  </a:lnTo>
                  <a:lnTo>
                    <a:pt x="986" y="822"/>
                  </a:lnTo>
                  <a:lnTo>
                    <a:pt x="981" y="822"/>
                  </a:lnTo>
                  <a:lnTo>
                    <a:pt x="966" y="828"/>
                  </a:lnTo>
                  <a:lnTo>
                    <a:pt x="937" y="865"/>
                  </a:lnTo>
                  <a:lnTo>
                    <a:pt x="944" y="865"/>
                  </a:lnTo>
                  <a:lnTo>
                    <a:pt x="974" y="835"/>
                  </a:lnTo>
                  <a:lnTo>
                    <a:pt x="996" y="822"/>
                  </a:lnTo>
                  <a:lnTo>
                    <a:pt x="1031" y="822"/>
                  </a:lnTo>
                  <a:lnTo>
                    <a:pt x="1031" y="835"/>
                  </a:lnTo>
                  <a:lnTo>
                    <a:pt x="1016" y="850"/>
                  </a:lnTo>
                  <a:lnTo>
                    <a:pt x="1007" y="850"/>
                  </a:lnTo>
                  <a:lnTo>
                    <a:pt x="1016" y="857"/>
                  </a:lnTo>
                  <a:lnTo>
                    <a:pt x="1022" y="850"/>
                  </a:lnTo>
                  <a:lnTo>
                    <a:pt x="1022" y="874"/>
                  </a:lnTo>
                  <a:lnTo>
                    <a:pt x="1049" y="897"/>
                  </a:lnTo>
                  <a:lnTo>
                    <a:pt x="1064" y="897"/>
                  </a:lnTo>
                  <a:lnTo>
                    <a:pt x="1064" y="879"/>
                  </a:lnTo>
                  <a:lnTo>
                    <a:pt x="1079" y="865"/>
                  </a:lnTo>
                  <a:lnTo>
                    <a:pt x="1079" y="879"/>
                  </a:lnTo>
                  <a:lnTo>
                    <a:pt x="1095" y="879"/>
                  </a:lnTo>
                  <a:lnTo>
                    <a:pt x="1073" y="904"/>
                  </a:lnTo>
                  <a:lnTo>
                    <a:pt x="1031" y="926"/>
                  </a:lnTo>
                  <a:lnTo>
                    <a:pt x="1016" y="941"/>
                  </a:lnTo>
                  <a:lnTo>
                    <a:pt x="1007" y="926"/>
                  </a:lnTo>
                  <a:lnTo>
                    <a:pt x="1031" y="904"/>
                  </a:lnTo>
                  <a:lnTo>
                    <a:pt x="1022" y="904"/>
                  </a:lnTo>
                  <a:lnTo>
                    <a:pt x="1022" y="897"/>
                  </a:lnTo>
                  <a:lnTo>
                    <a:pt x="1007" y="904"/>
                  </a:lnTo>
                  <a:lnTo>
                    <a:pt x="996" y="904"/>
                  </a:lnTo>
                  <a:lnTo>
                    <a:pt x="986" y="897"/>
                  </a:lnTo>
                  <a:lnTo>
                    <a:pt x="981" y="857"/>
                  </a:lnTo>
                  <a:lnTo>
                    <a:pt x="974" y="865"/>
                  </a:lnTo>
                  <a:lnTo>
                    <a:pt x="966" y="857"/>
                  </a:lnTo>
                  <a:lnTo>
                    <a:pt x="944" y="904"/>
                  </a:lnTo>
                  <a:lnTo>
                    <a:pt x="930" y="911"/>
                  </a:lnTo>
                  <a:lnTo>
                    <a:pt x="887" y="911"/>
                  </a:lnTo>
                  <a:lnTo>
                    <a:pt x="858" y="933"/>
                  </a:lnTo>
                  <a:lnTo>
                    <a:pt x="836" y="933"/>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79" name="Freeform 35">
              <a:extLst>
                <a:ext uri="{FF2B5EF4-FFF2-40B4-BE49-F238E27FC236}">
                  <a16:creationId xmlns:a16="http://schemas.microsoft.com/office/drawing/2014/main" id="{3BC74A02-2C75-3948-A47B-138BF3CDF18F}"/>
                </a:ext>
              </a:extLst>
            </p:cNvPr>
            <p:cNvSpPr>
              <a:spLocks/>
            </p:cNvSpPr>
            <p:nvPr/>
          </p:nvSpPr>
          <p:spPr bwMode="auto">
            <a:xfrm>
              <a:off x="5359938" y="2991942"/>
              <a:ext cx="159257" cy="195874"/>
            </a:xfrm>
            <a:custGeom>
              <a:avLst/>
              <a:gdLst>
                <a:gd name="T0" fmla="*/ 0 w 86"/>
                <a:gd name="T1" fmla="*/ 85 h 107"/>
                <a:gd name="T2" fmla="*/ 0 w 86"/>
                <a:gd name="T3" fmla="*/ 92 h 107"/>
                <a:gd name="T4" fmla="*/ 50 w 86"/>
                <a:gd name="T5" fmla="*/ 92 h 107"/>
                <a:gd name="T6" fmla="*/ 50 w 86"/>
                <a:gd name="T7" fmla="*/ 99 h 107"/>
                <a:gd name="T8" fmla="*/ 58 w 86"/>
                <a:gd name="T9" fmla="*/ 92 h 107"/>
                <a:gd name="T10" fmla="*/ 80 w 86"/>
                <a:gd name="T11" fmla="*/ 99 h 107"/>
                <a:gd name="T12" fmla="*/ 80 w 86"/>
                <a:gd name="T13" fmla="*/ 107 h 107"/>
                <a:gd name="T14" fmla="*/ 87 w 86"/>
                <a:gd name="T15" fmla="*/ 107 h 107"/>
                <a:gd name="T16" fmla="*/ 87 w 86"/>
                <a:gd name="T17" fmla="*/ 92 h 107"/>
                <a:gd name="T18" fmla="*/ 67 w 86"/>
                <a:gd name="T19" fmla="*/ 85 h 107"/>
                <a:gd name="T20" fmla="*/ 80 w 86"/>
                <a:gd name="T21" fmla="*/ 70 h 107"/>
                <a:gd name="T22" fmla="*/ 67 w 86"/>
                <a:gd name="T23" fmla="*/ 63 h 107"/>
                <a:gd name="T24" fmla="*/ 80 w 86"/>
                <a:gd name="T25" fmla="*/ 55 h 107"/>
                <a:gd name="T26" fmla="*/ 50 w 86"/>
                <a:gd name="T27" fmla="*/ 55 h 107"/>
                <a:gd name="T28" fmla="*/ 46 w 86"/>
                <a:gd name="T29" fmla="*/ 47 h 107"/>
                <a:gd name="T30" fmla="*/ 50 w 86"/>
                <a:gd name="T31" fmla="*/ 38 h 107"/>
                <a:gd name="T32" fmla="*/ 46 w 86"/>
                <a:gd name="T33" fmla="*/ 38 h 107"/>
                <a:gd name="T34" fmla="*/ 50 w 86"/>
                <a:gd name="T35" fmla="*/ 0 h 107"/>
                <a:gd name="T36" fmla="*/ 34 w 86"/>
                <a:gd name="T37" fmla="*/ 10 h 107"/>
                <a:gd name="T38" fmla="*/ 7 w 86"/>
                <a:gd name="T39" fmla="*/ 63 h 107"/>
                <a:gd name="T40" fmla="*/ 7 w 86"/>
                <a:gd name="T41" fmla="*/ 70 h 107"/>
                <a:gd name="T42" fmla="*/ 0 w 86"/>
                <a:gd name="T43" fmla="*/ 85 h 107"/>
                <a:gd name="T44" fmla="*/ 0 w 86"/>
                <a:gd name="T45" fmla="*/ 85 h 107"/>
                <a:gd name="T46" fmla="*/ 0 w 86"/>
                <a:gd name="T47" fmla="*/ 85 h 1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6"/>
                <a:gd name="T73" fmla="*/ 0 h 107"/>
                <a:gd name="T74" fmla="*/ 86 w 86"/>
                <a:gd name="T75" fmla="*/ 107 h 1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6" h="107">
                  <a:moveTo>
                    <a:pt x="0" y="85"/>
                  </a:moveTo>
                  <a:lnTo>
                    <a:pt x="0" y="92"/>
                  </a:lnTo>
                  <a:lnTo>
                    <a:pt x="49" y="92"/>
                  </a:lnTo>
                  <a:lnTo>
                    <a:pt x="49" y="99"/>
                  </a:lnTo>
                  <a:lnTo>
                    <a:pt x="57" y="92"/>
                  </a:lnTo>
                  <a:lnTo>
                    <a:pt x="79" y="99"/>
                  </a:lnTo>
                  <a:lnTo>
                    <a:pt x="79" y="107"/>
                  </a:lnTo>
                  <a:lnTo>
                    <a:pt x="86" y="107"/>
                  </a:lnTo>
                  <a:lnTo>
                    <a:pt x="86" y="92"/>
                  </a:lnTo>
                  <a:lnTo>
                    <a:pt x="66" y="85"/>
                  </a:lnTo>
                  <a:lnTo>
                    <a:pt x="79" y="70"/>
                  </a:lnTo>
                  <a:lnTo>
                    <a:pt x="66" y="63"/>
                  </a:lnTo>
                  <a:lnTo>
                    <a:pt x="79" y="55"/>
                  </a:lnTo>
                  <a:lnTo>
                    <a:pt x="49" y="55"/>
                  </a:lnTo>
                  <a:lnTo>
                    <a:pt x="45" y="47"/>
                  </a:lnTo>
                  <a:lnTo>
                    <a:pt x="49" y="38"/>
                  </a:lnTo>
                  <a:lnTo>
                    <a:pt x="45" y="38"/>
                  </a:lnTo>
                  <a:lnTo>
                    <a:pt x="49" y="0"/>
                  </a:lnTo>
                  <a:lnTo>
                    <a:pt x="34" y="10"/>
                  </a:lnTo>
                  <a:lnTo>
                    <a:pt x="7" y="63"/>
                  </a:lnTo>
                  <a:lnTo>
                    <a:pt x="7" y="70"/>
                  </a:lnTo>
                  <a:lnTo>
                    <a:pt x="0" y="8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0" name="Freeform 36">
              <a:extLst>
                <a:ext uri="{FF2B5EF4-FFF2-40B4-BE49-F238E27FC236}">
                  <a16:creationId xmlns:a16="http://schemas.microsoft.com/office/drawing/2014/main" id="{99A28FF4-79A6-E642-8366-C375835D9428}"/>
                </a:ext>
              </a:extLst>
            </p:cNvPr>
            <p:cNvSpPr>
              <a:spLocks/>
            </p:cNvSpPr>
            <p:nvPr/>
          </p:nvSpPr>
          <p:spPr bwMode="auto">
            <a:xfrm>
              <a:off x="3930288" y="3682079"/>
              <a:ext cx="734046" cy="525382"/>
            </a:xfrm>
            <a:custGeom>
              <a:avLst/>
              <a:gdLst>
                <a:gd name="T0" fmla="*/ 260 w 398"/>
                <a:gd name="T1" fmla="*/ 131 h 286"/>
                <a:gd name="T2" fmla="*/ 266 w 398"/>
                <a:gd name="T3" fmla="*/ 178 h 286"/>
                <a:gd name="T4" fmla="*/ 281 w 398"/>
                <a:gd name="T5" fmla="*/ 230 h 286"/>
                <a:gd name="T6" fmla="*/ 353 w 398"/>
                <a:gd name="T7" fmla="*/ 230 h 286"/>
                <a:gd name="T8" fmla="*/ 353 w 398"/>
                <a:gd name="T9" fmla="*/ 215 h 286"/>
                <a:gd name="T10" fmla="*/ 395 w 398"/>
                <a:gd name="T11" fmla="*/ 178 h 286"/>
                <a:gd name="T12" fmla="*/ 395 w 398"/>
                <a:gd name="T13" fmla="*/ 235 h 286"/>
                <a:gd name="T14" fmla="*/ 379 w 398"/>
                <a:gd name="T15" fmla="*/ 235 h 286"/>
                <a:gd name="T16" fmla="*/ 344 w 398"/>
                <a:gd name="T17" fmla="*/ 245 h 286"/>
                <a:gd name="T18" fmla="*/ 344 w 398"/>
                <a:gd name="T19" fmla="*/ 260 h 286"/>
                <a:gd name="T20" fmla="*/ 310 w 398"/>
                <a:gd name="T21" fmla="*/ 260 h 286"/>
                <a:gd name="T22" fmla="*/ 281 w 398"/>
                <a:gd name="T23" fmla="*/ 273 h 286"/>
                <a:gd name="T24" fmla="*/ 216 w 398"/>
                <a:gd name="T25" fmla="*/ 245 h 286"/>
                <a:gd name="T26" fmla="*/ 180 w 398"/>
                <a:gd name="T27" fmla="*/ 235 h 286"/>
                <a:gd name="T28" fmla="*/ 150 w 398"/>
                <a:gd name="T29" fmla="*/ 199 h 286"/>
                <a:gd name="T30" fmla="*/ 150 w 398"/>
                <a:gd name="T31" fmla="*/ 169 h 286"/>
                <a:gd name="T32" fmla="*/ 101 w 398"/>
                <a:gd name="T33" fmla="*/ 114 h 286"/>
                <a:gd name="T34" fmla="*/ 86 w 398"/>
                <a:gd name="T35" fmla="*/ 86 h 286"/>
                <a:gd name="T36" fmla="*/ 73 w 398"/>
                <a:gd name="T37" fmla="*/ 76 h 286"/>
                <a:gd name="T38" fmla="*/ 45 w 398"/>
                <a:gd name="T39" fmla="*/ 24 h 286"/>
                <a:gd name="T40" fmla="*/ 28 w 398"/>
                <a:gd name="T41" fmla="*/ 39 h 286"/>
                <a:gd name="T42" fmla="*/ 94 w 398"/>
                <a:gd name="T43" fmla="*/ 138 h 286"/>
                <a:gd name="T44" fmla="*/ 94 w 398"/>
                <a:gd name="T45" fmla="*/ 162 h 286"/>
                <a:gd name="T46" fmla="*/ 65 w 398"/>
                <a:gd name="T47" fmla="*/ 121 h 286"/>
                <a:gd name="T48" fmla="*/ 28 w 398"/>
                <a:gd name="T49" fmla="*/ 93 h 286"/>
                <a:gd name="T50" fmla="*/ 28 w 398"/>
                <a:gd name="T51" fmla="*/ 86 h 286"/>
                <a:gd name="T52" fmla="*/ 16 w 398"/>
                <a:gd name="T53" fmla="*/ 45 h 286"/>
                <a:gd name="T54" fmla="*/ 23 w 398"/>
                <a:gd name="T55" fmla="*/ 0 h 286"/>
                <a:gd name="T56" fmla="*/ 143 w 398"/>
                <a:gd name="T57" fmla="*/ 10 h 286"/>
                <a:gd name="T58" fmla="*/ 166 w 398"/>
                <a:gd name="T59" fmla="*/ 45 h 286"/>
                <a:gd name="T60" fmla="*/ 188 w 398"/>
                <a:gd name="T61" fmla="*/ 56 h 286"/>
                <a:gd name="T62" fmla="*/ 209 w 398"/>
                <a:gd name="T63" fmla="*/ 45 h 286"/>
                <a:gd name="T64" fmla="*/ 266 w 398"/>
                <a:gd name="T65" fmla="*/ 114 h 2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8"/>
                <a:gd name="T100" fmla="*/ 0 h 286"/>
                <a:gd name="T101" fmla="*/ 398 w 398"/>
                <a:gd name="T102" fmla="*/ 286 h 2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8" h="286">
                  <a:moveTo>
                    <a:pt x="264" y="114"/>
                  </a:moveTo>
                  <a:lnTo>
                    <a:pt x="258" y="131"/>
                  </a:lnTo>
                  <a:lnTo>
                    <a:pt x="258" y="168"/>
                  </a:lnTo>
                  <a:lnTo>
                    <a:pt x="264" y="177"/>
                  </a:lnTo>
                  <a:lnTo>
                    <a:pt x="264" y="183"/>
                  </a:lnTo>
                  <a:lnTo>
                    <a:pt x="279" y="229"/>
                  </a:lnTo>
                  <a:lnTo>
                    <a:pt x="308" y="234"/>
                  </a:lnTo>
                  <a:lnTo>
                    <a:pt x="350" y="229"/>
                  </a:lnTo>
                  <a:lnTo>
                    <a:pt x="341" y="229"/>
                  </a:lnTo>
                  <a:lnTo>
                    <a:pt x="350" y="214"/>
                  </a:lnTo>
                  <a:lnTo>
                    <a:pt x="355" y="183"/>
                  </a:lnTo>
                  <a:lnTo>
                    <a:pt x="392" y="177"/>
                  </a:lnTo>
                  <a:lnTo>
                    <a:pt x="398" y="183"/>
                  </a:lnTo>
                  <a:lnTo>
                    <a:pt x="392" y="234"/>
                  </a:lnTo>
                  <a:lnTo>
                    <a:pt x="383" y="229"/>
                  </a:lnTo>
                  <a:lnTo>
                    <a:pt x="376" y="234"/>
                  </a:lnTo>
                  <a:lnTo>
                    <a:pt x="350" y="234"/>
                  </a:lnTo>
                  <a:lnTo>
                    <a:pt x="341" y="244"/>
                  </a:lnTo>
                  <a:lnTo>
                    <a:pt x="355" y="259"/>
                  </a:lnTo>
                  <a:lnTo>
                    <a:pt x="341" y="259"/>
                  </a:lnTo>
                  <a:lnTo>
                    <a:pt x="335" y="286"/>
                  </a:lnTo>
                  <a:lnTo>
                    <a:pt x="308" y="259"/>
                  </a:lnTo>
                  <a:lnTo>
                    <a:pt x="293" y="259"/>
                  </a:lnTo>
                  <a:lnTo>
                    <a:pt x="279" y="272"/>
                  </a:lnTo>
                  <a:lnTo>
                    <a:pt x="258" y="259"/>
                  </a:lnTo>
                  <a:lnTo>
                    <a:pt x="214" y="244"/>
                  </a:lnTo>
                  <a:lnTo>
                    <a:pt x="207" y="234"/>
                  </a:lnTo>
                  <a:lnTo>
                    <a:pt x="179" y="234"/>
                  </a:lnTo>
                  <a:lnTo>
                    <a:pt x="165" y="214"/>
                  </a:lnTo>
                  <a:lnTo>
                    <a:pt x="149" y="198"/>
                  </a:lnTo>
                  <a:lnTo>
                    <a:pt x="165" y="183"/>
                  </a:lnTo>
                  <a:lnTo>
                    <a:pt x="149" y="168"/>
                  </a:lnTo>
                  <a:lnTo>
                    <a:pt x="122" y="121"/>
                  </a:lnTo>
                  <a:lnTo>
                    <a:pt x="100" y="114"/>
                  </a:lnTo>
                  <a:lnTo>
                    <a:pt x="100" y="108"/>
                  </a:lnTo>
                  <a:lnTo>
                    <a:pt x="85" y="86"/>
                  </a:lnTo>
                  <a:lnTo>
                    <a:pt x="85" y="76"/>
                  </a:lnTo>
                  <a:lnTo>
                    <a:pt x="72" y="76"/>
                  </a:lnTo>
                  <a:lnTo>
                    <a:pt x="50" y="24"/>
                  </a:lnTo>
                  <a:lnTo>
                    <a:pt x="45" y="24"/>
                  </a:lnTo>
                  <a:lnTo>
                    <a:pt x="23" y="10"/>
                  </a:lnTo>
                  <a:lnTo>
                    <a:pt x="28" y="39"/>
                  </a:lnTo>
                  <a:lnTo>
                    <a:pt x="85" y="138"/>
                  </a:lnTo>
                  <a:lnTo>
                    <a:pt x="93" y="138"/>
                  </a:lnTo>
                  <a:lnTo>
                    <a:pt x="100" y="155"/>
                  </a:lnTo>
                  <a:lnTo>
                    <a:pt x="93" y="161"/>
                  </a:lnTo>
                  <a:lnTo>
                    <a:pt x="56" y="131"/>
                  </a:lnTo>
                  <a:lnTo>
                    <a:pt x="65" y="121"/>
                  </a:lnTo>
                  <a:lnTo>
                    <a:pt x="56" y="108"/>
                  </a:lnTo>
                  <a:lnTo>
                    <a:pt x="28" y="93"/>
                  </a:lnTo>
                  <a:lnTo>
                    <a:pt x="23" y="76"/>
                  </a:lnTo>
                  <a:lnTo>
                    <a:pt x="28" y="86"/>
                  </a:lnTo>
                  <a:lnTo>
                    <a:pt x="45" y="61"/>
                  </a:lnTo>
                  <a:lnTo>
                    <a:pt x="16" y="45"/>
                  </a:lnTo>
                  <a:lnTo>
                    <a:pt x="0" y="0"/>
                  </a:lnTo>
                  <a:lnTo>
                    <a:pt x="23" y="0"/>
                  </a:lnTo>
                  <a:lnTo>
                    <a:pt x="72" y="24"/>
                  </a:lnTo>
                  <a:lnTo>
                    <a:pt x="142" y="10"/>
                  </a:lnTo>
                  <a:lnTo>
                    <a:pt x="165" y="32"/>
                  </a:lnTo>
                  <a:lnTo>
                    <a:pt x="165" y="45"/>
                  </a:lnTo>
                  <a:lnTo>
                    <a:pt x="179" y="56"/>
                  </a:lnTo>
                  <a:lnTo>
                    <a:pt x="187" y="56"/>
                  </a:lnTo>
                  <a:lnTo>
                    <a:pt x="192" y="45"/>
                  </a:lnTo>
                  <a:lnTo>
                    <a:pt x="207" y="45"/>
                  </a:lnTo>
                  <a:lnTo>
                    <a:pt x="234" y="108"/>
                  </a:lnTo>
                  <a:lnTo>
                    <a:pt x="264" y="114"/>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1" name="Freeform 37">
              <a:extLst>
                <a:ext uri="{FF2B5EF4-FFF2-40B4-BE49-F238E27FC236}">
                  <a16:creationId xmlns:a16="http://schemas.microsoft.com/office/drawing/2014/main" id="{E0926641-B44E-4A42-AB5E-9B38A3FAE56C}"/>
                </a:ext>
              </a:extLst>
            </p:cNvPr>
            <p:cNvSpPr>
              <a:spLocks/>
            </p:cNvSpPr>
            <p:nvPr/>
          </p:nvSpPr>
          <p:spPr bwMode="auto">
            <a:xfrm>
              <a:off x="4667995" y="2223090"/>
              <a:ext cx="166579" cy="197705"/>
            </a:xfrm>
            <a:custGeom>
              <a:avLst/>
              <a:gdLst>
                <a:gd name="T0" fmla="*/ 0 w 90"/>
                <a:gd name="T1" fmla="*/ 86 h 108"/>
                <a:gd name="T2" fmla="*/ 20 w 90"/>
                <a:gd name="T3" fmla="*/ 86 h 108"/>
                <a:gd name="T4" fmla="*/ 20 w 90"/>
                <a:gd name="T5" fmla="*/ 108 h 108"/>
                <a:gd name="T6" fmla="*/ 35 w 90"/>
                <a:gd name="T7" fmla="*/ 108 h 108"/>
                <a:gd name="T8" fmla="*/ 48 w 90"/>
                <a:gd name="T9" fmla="*/ 79 h 108"/>
                <a:gd name="T10" fmla="*/ 58 w 90"/>
                <a:gd name="T11" fmla="*/ 79 h 108"/>
                <a:gd name="T12" fmla="*/ 78 w 90"/>
                <a:gd name="T13" fmla="*/ 99 h 108"/>
                <a:gd name="T14" fmla="*/ 91 w 90"/>
                <a:gd name="T15" fmla="*/ 79 h 108"/>
                <a:gd name="T16" fmla="*/ 78 w 90"/>
                <a:gd name="T17" fmla="*/ 79 h 108"/>
                <a:gd name="T18" fmla="*/ 35 w 90"/>
                <a:gd name="T19" fmla="*/ 22 h 108"/>
                <a:gd name="T20" fmla="*/ 25 w 90"/>
                <a:gd name="T21" fmla="*/ 0 h 108"/>
                <a:gd name="T22" fmla="*/ 20 w 90"/>
                <a:gd name="T23" fmla="*/ 22 h 108"/>
                <a:gd name="T24" fmla="*/ 5 w 90"/>
                <a:gd name="T25" fmla="*/ 32 h 108"/>
                <a:gd name="T26" fmla="*/ 20 w 90"/>
                <a:gd name="T27" fmla="*/ 79 h 108"/>
                <a:gd name="T28" fmla="*/ 0 w 90"/>
                <a:gd name="T29" fmla="*/ 86 h 108"/>
                <a:gd name="T30" fmla="*/ 0 w 90"/>
                <a:gd name="T31" fmla="*/ 86 h 108"/>
                <a:gd name="T32" fmla="*/ 0 w 90"/>
                <a:gd name="T33" fmla="*/ 86 h 10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08"/>
                <a:gd name="T53" fmla="*/ 90 w 90"/>
                <a:gd name="T54" fmla="*/ 108 h 10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08">
                  <a:moveTo>
                    <a:pt x="0" y="86"/>
                  </a:moveTo>
                  <a:lnTo>
                    <a:pt x="20" y="86"/>
                  </a:lnTo>
                  <a:lnTo>
                    <a:pt x="20" y="108"/>
                  </a:lnTo>
                  <a:lnTo>
                    <a:pt x="35" y="108"/>
                  </a:lnTo>
                  <a:lnTo>
                    <a:pt x="47" y="79"/>
                  </a:lnTo>
                  <a:lnTo>
                    <a:pt x="57" y="79"/>
                  </a:lnTo>
                  <a:lnTo>
                    <a:pt x="77" y="99"/>
                  </a:lnTo>
                  <a:lnTo>
                    <a:pt x="90" y="79"/>
                  </a:lnTo>
                  <a:lnTo>
                    <a:pt x="77" y="79"/>
                  </a:lnTo>
                  <a:lnTo>
                    <a:pt x="35" y="22"/>
                  </a:lnTo>
                  <a:lnTo>
                    <a:pt x="25" y="0"/>
                  </a:lnTo>
                  <a:lnTo>
                    <a:pt x="20" y="22"/>
                  </a:lnTo>
                  <a:lnTo>
                    <a:pt x="5" y="32"/>
                  </a:lnTo>
                  <a:lnTo>
                    <a:pt x="20" y="79"/>
                  </a:lnTo>
                  <a:lnTo>
                    <a:pt x="0" y="86"/>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2" name="Freeform 38">
              <a:extLst>
                <a:ext uri="{FF2B5EF4-FFF2-40B4-BE49-F238E27FC236}">
                  <a16:creationId xmlns:a16="http://schemas.microsoft.com/office/drawing/2014/main" id="{78027963-F9E2-A34B-B532-B351C24C2374}"/>
                </a:ext>
              </a:extLst>
            </p:cNvPr>
            <p:cNvSpPr>
              <a:spLocks/>
            </p:cNvSpPr>
            <p:nvPr/>
          </p:nvSpPr>
          <p:spPr bwMode="auto">
            <a:xfrm>
              <a:off x="4909626" y="2071150"/>
              <a:ext cx="56747" cy="82377"/>
            </a:xfrm>
            <a:custGeom>
              <a:avLst/>
              <a:gdLst>
                <a:gd name="T0" fmla="*/ 0 w 30"/>
                <a:gd name="T1" fmla="*/ 28 h 45"/>
                <a:gd name="T2" fmla="*/ 0 w 30"/>
                <a:gd name="T3" fmla="*/ 45 h 45"/>
                <a:gd name="T4" fmla="*/ 24 w 30"/>
                <a:gd name="T5" fmla="*/ 37 h 45"/>
                <a:gd name="T6" fmla="*/ 31 w 30"/>
                <a:gd name="T7" fmla="*/ 28 h 45"/>
                <a:gd name="T8" fmla="*/ 31 w 30"/>
                <a:gd name="T9" fmla="*/ 0 h 45"/>
                <a:gd name="T10" fmla="*/ 8 w 30"/>
                <a:gd name="T11" fmla="*/ 0 h 45"/>
                <a:gd name="T12" fmla="*/ 0 w 30"/>
                <a:gd name="T13" fmla="*/ 28 h 45"/>
                <a:gd name="T14" fmla="*/ 0 w 30"/>
                <a:gd name="T15" fmla="*/ 28 h 45"/>
                <a:gd name="T16" fmla="*/ 0 w 30"/>
                <a:gd name="T17" fmla="*/ 28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45"/>
                <a:gd name="T29" fmla="*/ 30 w 30"/>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45">
                  <a:moveTo>
                    <a:pt x="0" y="28"/>
                  </a:moveTo>
                  <a:lnTo>
                    <a:pt x="0" y="45"/>
                  </a:lnTo>
                  <a:lnTo>
                    <a:pt x="23" y="37"/>
                  </a:lnTo>
                  <a:lnTo>
                    <a:pt x="30" y="28"/>
                  </a:lnTo>
                  <a:lnTo>
                    <a:pt x="30" y="0"/>
                  </a:lnTo>
                  <a:lnTo>
                    <a:pt x="8" y="0"/>
                  </a:lnTo>
                  <a:lnTo>
                    <a:pt x="0" y="28"/>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3" name="Freeform 39">
              <a:extLst>
                <a:ext uri="{FF2B5EF4-FFF2-40B4-BE49-F238E27FC236}">
                  <a16:creationId xmlns:a16="http://schemas.microsoft.com/office/drawing/2014/main" id="{AC08A5ED-4EC4-324B-97AF-B9E4750393EB}"/>
                </a:ext>
              </a:extLst>
            </p:cNvPr>
            <p:cNvSpPr>
              <a:spLocks/>
            </p:cNvSpPr>
            <p:nvPr/>
          </p:nvSpPr>
          <p:spPr bwMode="auto">
            <a:xfrm>
              <a:off x="4667995" y="2223090"/>
              <a:ext cx="166579" cy="197705"/>
            </a:xfrm>
            <a:custGeom>
              <a:avLst/>
              <a:gdLst>
                <a:gd name="T0" fmla="*/ 0 w 90"/>
                <a:gd name="T1" fmla="*/ 86 h 108"/>
                <a:gd name="T2" fmla="*/ 20 w 90"/>
                <a:gd name="T3" fmla="*/ 86 h 108"/>
                <a:gd name="T4" fmla="*/ 20 w 90"/>
                <a:gd name="T5" fmla="*/ 108 h 108"/>
                <a:gd name="T6" fmla="*/ 35 w 90"/>
                <a:gd name="T7" fmla="*/ 108 h 108"/>
                <a:gd name="T8" fmla="*/ 48 w 90"/>
                <a:gd name="T9" fmla="*/ 79 h 108"/>
                <a:gd name="T10" fmla="*/ 58 w 90"/>
                <a:gd name="T11" fmla="*/ 79 h 108"/>
                <a:gd name="T12" fmla="*/ 78 w 90"/>
                <a:gd name="T13" fmla="*/ 99 h 108"/>
                <a:gd name="T14" fmla="*/ 91 w 90"/>
                <a:gd name="T15" fmla="*/ 79 h 108"/>
                <a:gd name="T16" fmla="*/ 78 w 90"/>
                <a:gd name="T17" fmla="*/ 79 h 108"/>
                <a:gd name="T18" fmla="*/ 35 w 90"/>
                <a:gd name="T19" fmla="*/ 22 h 108"/>
                <a:gd name="T20" fmla="*/ 25 w 90"/>
                <a:gd name="T21" fmla="*/ 0 h 108"/>
                <a:gd name="T22" fmla="*/ 20 w 90"/>
                <a:gd name="T23" fmla="*/ 22 h 108"/>
                <a:gd name="T24" fmla="*/ 5 w 90"/>
                <a:gd name="T25" fmla="*/ 32 h 108"/>
                <a:gd name="T26" fmla="*/ 20 w 90"/>
                <a:gd name="T27" fmla="*/ 79 h 108"/>
                <a:gd name="T28" fmla="*/ 0 w 90"/>
                <a:gd name="T29" fmla="*/ 86 h 108"/>
                <a:gd name="T30" fmla="*/ 0 w 90"/>
                <a:gd name="T31" fmla="*/ 86 h 108"/>
                <a:gd name="T32" fmla="*/ 0 w 90"/>
                <a:gd name="T33" fmla="*/ 86 h 10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08"/>
                <a:gd name="T53" fmla="*/ 90 w 90"/>
                <a:gd name="T54" fmla="*/ 108 h 10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08">
                  <a:moveTo>
                    <a:pt x="0" y="86"/>
                  </a:moveTo>
                  <a:lnTo>
                    <a:pt x="20" y="86"/>
                  </a:lnTo>
                  <a:lnTo>
                    <a:pt x="20" y="108"/>
                  </a:lnTo>
                  <a:lnTo>
                    <a:pt x="35" y="108"/>
                  </a:lnTo>
                  <a:lnTo>
                    <a:pt x="47" y="79"/>
                  </a:lnTo>
                  <a:lnTo>
                    <a:pt x="57" y="79"/>
                  </a:lnTo>
                  <a:lnTo>
                    <a:pt x="77" y="99"/>
                  </a:lnTo>
                  <a:lnTo>
                    <a:pt x="90" y="79"/>
                  </a:lnTo>
                  <a:lnTo>
                    <a:pt x="77" y="79"/>
                  </a:lnTo>
                  <a:lnTo>
                    <a:pt x="35" y="22"/>
                  </a:lnTo>
                  <a:lnTo>
                    <a:pt x="25" y="0"/>
                  </a:lnTo>
                  <a:lnTo>
                    <a:pt x="20" y="22"/>
                  </a:lnTo>
                  <a:lnTo>
                    <a:pt x="5" y="32"/>
                  </a:lnTo>
                  <a:lnTo>
                    <a:pt x="20" y="79"/>
                  </a:lnTo>
                  <a:lnTo>
                    <a:pt x="0" y="86"/>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4" name="Freeform 40">
              <a:extLst>
                <a:ext uri="{FF2B5EF4-FFF2-40B4-BE49-F238E27FC236}">
                  <a16:creationId xmlns:a16="http://schemas.microsoft.com/office/drawing/2014/main" id="{A6D225E6-DA02-B84F-A9C3-FD390CA5D304}"/>
                </a:ext>
              </a:extLst>
            </p:cNvPr>
            <p:cNvSpPr>
              <a:spLocks/>
            </p:cNvSpPr>
            <p:nvPr/>
          </p:nvSpPr>
          <p:spPr bwMode="auto">
            <a:xfrm>
              <a:off x="4957220" y="5084319"/>
              <a:ext cx="195868" cy="1213688"/>
            </a:xfrm>
            <a:custGeom>
              <a:avLst/>
              <a:gdLst>
                <a:gd name="T0" fmla="*/ 85 w 107"/>
                <a:gd name="T1" fmla="*/ 0 h 661"/>
                <a:gd name="T2" fmla="*/ 99 w 107"/>
                <a:gd name="T3" fmla="*/ 83 h 661"/>
                <a:gd name="T4" fmla="*/ 107 w 107"/>
                <a:gd name="T5" fmla="*/ 98 h 661"/>
                <a:gd name="T6" fmla="*/ 99 w 107"/>
                <a:gd name="T7" fmla="*/ 135 h 661"/>
                <a:gd name="T8" fmla="*/ 72 w 107"/>
                <a:gd name="T9" fmla="*/ 257 h 661"/>
                <a:gd name="T10" fmla="*/ 63 w 107"/>
                <a:gd name="T11" fmla="*/ 300 h 661"/>
                <a:gd name="T12" fmla="*/ 57 w 107"/>
                <a:gd name="T13" fmla="*/ 344 h 661"/>
                <a:gd name="T14" fmla="*/ 52 w 107"/>
                <a:gd name="T15" fmla="*/ 458 h 661"/>
                <a:gd name="T16" fmla="*/ 52 w 107"/>
                <a:gd name="T17" fmla="*/ 503 h 661"/>
                <a:gd name="T18" fmla="*/ 42 w 107"/>
                <a:gd name="T19" fmla="*/ 542 h 661"/>
                <a:gd name="T20" fmla="*/ 28 w 107"/>
                <a:gd name="T21" fmla="*/ 596 h 661"/>
                <a:gd name="T22" fmla="*/ 42 w 107"/>
                <a:gd name="T23" fmla="*/ 619 h 661"/>
                <a:gd name="T24" fmla="*/ 94 w 107"/>
                <a:gd name="T25" fmla="*/ 624 h 661"/>
                <a:gd name="T26" fmla="*/ 85 w 107"/>
                <a:gd name="T27" fmla="*/ 641 h 661"/>
                <a:gd name="T28" fmla="*/ 63 w 107"/>
                <a:gd name="T29" fmla="*/ 663 h 661"/>
                <a:gd name="T30" fmla="*/ 52 w 107"/>
                <a:gd name="T31" fmla="*/ 656 h 661"/>
                <a:gd name="T32" fmla="*/ 57 w 107"/>
                <a:gd name="T33" fmla="*/ 648 h 661"/>
                <a:gd name="T34" fmla="*/ 28 w 107"/>
                <a:gd name="T35" fmla="*/ 648 h 661"/>
                <a:gd name="T36" fmla="*/ 20 w 107"/>
                <a:gd name="T37" fmla="*/ 641 h 661"/>
                <a:gd name="T38" fmla="*/ 11 w 107"/>
                <a:gd name="T39" fmla="*/ 641 h 661"/>
                <a:gd name="T40" fmla="*/ 6 w 107"/>
                <a:gd name="T41" fmla="*/ 619 h 661"/>
                <a:gd name="T42" fmla="*/ 11 w 107"/>
                <a:gd name="T43" fmla="*/ 596 h 661"/>
                <a:gd name="T44" fmla="*/ 6 w 107"/>
                <a:gd name="T45" fmla="*/ 619 h 661"/>
                <a:gd name="T46" fmla="*/ 11 w 107"/>
                <a:gd name="T47" fmla="*/ 580 h 661"/>
                <a:gd name="T48" fmla="*/ 0 w 107"/>
                <a:gd name="T49" fmla="*/ 574 h 661"/>
                <a:gd name="T50" fmla="*/ 6 w 107"/>
                <a:gd name="T51" fmla="*/ 535 h 661"/>
                <a:gd name="T52" fmla="*/ 11 w 107"/>
                <a:gd name="T53" fmla="*/ 542 h 661"/>
                <a:gd name="T54" fmla="*/ 6 w 107"/>
                <a:gd name="T55" fmla="*/ 503 h 661"/>
                <a:gd name="T56" fmla="*/ 6 w 107"/>
                <a:gd name="T57" fmla="*/ 489 h 661"/>
                <a:gd name="T58" fmla="*/ 11 w 107"/>
                <a:gd name="T59" fmla="*/ 458 h 661"/>
                <a:gd name="T60" fmla="*/ 20 w 107"/>
                <a:gd name="T61" fmla="*/ 465 h 661"/>
                <a:gd name="T62" fmla="*/ 42 w 107"/>
                <a:gd name="T63" fmla="*/ 406 h 661"/>
                <a:gd name="T64" fmla="*/ 20 w 107"/>
                <a:gd name="T65" fmla="*/ 400 h 661"/>
                <a:gd name="T66" fmla="*/ 28 w 107"/>
                <a:gd name="T67" fmla="*/ 354 h 661"/>
                <a:gd name="T68" fmla="*/ 28 w 107"/>
                <a:gd name="T69" fmla="*/ 324 h 661"/>
                <a:gd name="T70" fmla="*/ 52 w 107"/>
                <a:gd name="T71" fmla="*/ 211 h 661"/>
                <a:gd name="T72" fmla="*/ 63 w 107"/>
                <a:gd name="T73" fmla="*/ 83 h 661"/>
                <a:gd name="T74" fmla="*/ 63 w 107"/>
                <a:gd name="T75" fmla="*/ 7 h 661"/>
                <a:gd name="T76" fmla="*/ 63 w 107"/>
                <a:gd name="T77" fmla="*/ 7 h 6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7"/>
                <a:gd name="T118" fmla="*/ 0 h 661"/>
                <a:gd name="T119" fmla="*/ 107 w 107"/>
                <a:gd name="T120" fmla="*/ 661 h 66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7" h="661">
                  <a:moveTo>
                    <a:pt x="63" y="7"/>
                  </a:moveTo>
                  <a:lnTo>
                    <a:pt x="85" y="0"/>
                  </a:lnTo>
                  <a:lnTo>
                    <a:pt x="94" y="22"/>
                  </a:lnTo>
                  <a:lnTo>
                    <a:pt x="99" y="83"/>
                  </a:lnTo>
                  <a:lnTo>
                    <a:pt x="107" y="83"/>
                  </a:lnTo>
                  <a:lnTo>
                    <a:pt x="107" y="98"/>
                  </a:lnTo>
                  <a:lnTo>
                    <a:pt x="94" y="103"/>
                  </a:lnTo>
                  <a:lnTo>
                    <a:pt x="99" y="135"/>
                  </a:lnTo>
                  <a:lnTo>
                    <a:pt x="63" y="217"/>
                  </a:lnTo>
                  <a:lnTo>
                    <a:pt x="72" y="256"/>
                  </a:lnTo>
                  <a:lnTo>
                    <a:pt x="63" y="286"/>
                  </a:lnTo>
                  <a:lnTo>
                    <a:pt x="63" y="299"/>
                  </a:lnTo>
                  <a:lnTo>
                    <a:pt x="57" y="308"/>
                  </a:lnTo>
                  <a:lnTo>
                    <a:pt x="57" y="343"/>
                  </a:lnTo>
                  <a:lnTo>
                    <a:pt x="52" y="368"/>
                  </a:lnTo>
                  <a:lnTo>
                    <a:pt x="52" y="457"/>
                  </a:lnTo>
                  <a:lnTo>
                    <a:pt x="57" y="457"/>
                  </a:lnTo>
                  <a:lnTo>
                    <a:pt x="52" y="501"/>
                  </a:lnTo>
                  <a:lnTo>
                    <a:pt x="42" y="526"/>
                  </a:lnTo>
                  <a:lnTo>
                    <a:pt x="42" y="540"/>
                  </a:lnTo>
                  <a:lnTo>
                    <a:pt x="28" y="572"/>
                  </a:lnTo>
                  <a:lnTo>
                    <a:pt x="28" y="594"/>
                  </a:lnTo>
                  <a:lnTo>
                    <a:pt x="42" y="585"/>
                  </a:lnTo>
                  <a:lnTo>
                    <a:pt x="42" y="617"/>
                  </a:lnTo>
                  <a:lnTo>
                    <a:pt x="52" y="622"/>
                  </a:lnTo>
                  <a:lnTo>
                    <a:pt x="94" y="622"/>
                  </a:lnTo>
                  <a:lnTo>
                    <a:pt x="94" y="639"/>
                  </a:lnTo>
                  <a:lnTo>
                    <a:pt x="85" y="639"/>
                  </a:lnTo>
                  <a:lnTo>
                    <a:pt x="63" y="646"/>
                  </a:lnTo>
                  <a:lnTo>
                    <a:pt x="63" y="661"/>
                  </a:lnTo>
                  <a:lnTo>
                    <a:pt x="57" y="661"/>
                  </a:lnTo>
                  <a:lnTo>
                    <a:pt x="52" y="654"/>
                  </a:lnTo>
                  <a:lnTo>
                    <a:pt x="57" y="654"/>
                  </a:lnTo>
                  <a:lnTo>
                    <a:pt x="57" y="646"/>
                  </a:lnTo>
                  <a:lnTo>
                    <a:pt x="42" y="654"/>
                  </a:lnTo>
                  <a:lnTo>
                    <a:pt x="28" y="646"/>
                  </a:lnTo>
                  <a:lnTo>
                    <a:pt x="28" y="639"/>
                  </a:lnTo>
                  <a:lnTo>
                    <a:pt x="20" y="639"/>
                  </a:lnTo>
                  <a:lnTo>
                    <a:pt x="11" y="622"/>
                  </a:lnTo>
                  <a:lnTo>
                    <a:pt x="11" y="639"/>
                  </a:lnTo>
                  <a:lnTo>
                    <a:pt x="6" y="622"/>
                  </a:lnTo>
                  <a:lnTo>
                    <a:pt x="6" y="617"/>
                  </a:lnTo>
                  <a:lnTo>
                    <a:pt x="11" y="610"/>
                  </a:lnTo>
                  <a:lnTo>
                    <a:pt x="11" y="594"/>
                  </a:lnTo>
                  <a:lnTo>
                    <a:pt x="11" y="610"/>
                  </a:lnTo>
                  <a:lnTo>
                    <a:pt x="6" y="617"/>
                  </a:lnTo>
                  <a:lnTo>
                    <a:pt x="11" y="610"/>
                  </a:lnTo>
                  <a:lnTo>
                    <a:pt x="11" y="578"/>
                  </a:lnTo>
                  <a:lnTo>
                    <a:pt x="6" y="578"/>
                  </a:lnTo>
                  <a:lnTo>
                    <a:pt x="0" y="572"/>
                  </a:lnTo>
                  <a:lnTo>
                    <a:pt x="0" y="563"/>
                  </a:lnTo>
                  <a:lnTo>
                    <a:pt x="6" y="533"/>
                  </a:lnTo>
                  <a:lnTo>
                    <a:pt x="6" y="526"/>
                  </a:lnTo>
                  <a:lnTo>
                    <a:pt x="11" y="540"/>
                  </a:lnTo>
                  <a:lnTo>
                    <a:pt x="20" y="518"/>
                  </a:lnTo>
                  <a:lnTo>
                    <a:pt x="6" y="501"/>
                  </a:lnTo>
                  <a:lnTo>
                    <a:pt x="0" y="501"/>
                  </a:lnTo>
                  <a:lnTo>
                    <a:pt x="6" y="488"/>
                  </a:lnTo>
                  <a:lnTo>
                    <a:pt x="11" y="488"/>
                  </a:lnTo>
                  <a:lnTo>
                    <a:pt x="11" y="457"/>
                  </a:lnTo>
                  <a:lnTo>
                    <a:pt x="20" y="451"/>
                  </a:lnTo>
                  <a:lnTo>
                    <a:pt x="20" y="464"/>
                  </a:lnTo>
                  <a:lnTo>
                    <a:pt x="42" y="412"/>
                  </a:lnTo>
                  <a:lnTo>
                    <a:pt x="42" y="405"/>
                  </a:lnTo>
                  <a:lnTo>
                    <a:pt x="28" y="405"/>
                  </a:lnTo>
                  <a:lnTo>
                    <a:pt x="20" y="399"/>
                  </a:lnTo>
                  <a:lnTo>
                    <a:pt x="20" y="368"/>
                  </a:lnTo>
                  <a:lnTo>
                    <a:pt x="28" y="353"/>
                  </a:lnTo>
                  <a:lnTo>
                    <a:pt x="20" y="331"/>
                  </a:lnTo>
                  <a:lnTo>
                    <a:pt x="28" y="323"/>
                  </a:lnTo>
                  <a:lnTo>
                    <a:pt x="57" y="232"/>
                  </a:lnTo>
                  <a:lnTo>
                    <a:pt x="52" y="210"/>
                  </a:lnTo>
                  <a:lnTo>
                    <a:pt x="57" y="195"/>
                  </a:lnTo>
                  <a:lnTo>
                    <a:pt x="63" y="83"/>
                  </a:lnTo>
                  <a:lnTo>
                    <a:pt x="72" y="52"/>
                  </a:lnTo>
                  <a:lnTo>
                    <a:pt x="63" y="7"/>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5" name="Freeform 41">
              <a:extLst>
                <a:ext uri="{FF2B5EF4-FFF2-40B4-BE49-F238E27FC236}">
                  <a16:creationId xmlns:a16="http://schemas.microsoft.com/office/drawing/2014/main" id="{1EA23D30-868A-034A-91C9-606B76616E42}"/>
                </a:ext>
              </a:extLst>
            </p:cNvPr>
            <p:cNvSpPr>
              <a:spLocks/>
            </p:cNvSpPr>
            <p:nvPr/>
          </p:nvSpPr>
          <p:spPr bwMode="auto">
            <a:xfrm>
              <a:off x="4993831" y="6257734"/>
              <a:ext cx="128138" cy="122650"/>
            </a:xfrm>
            <a:custGeom>
              <a:avLst/>
              <a:gdLst>
                <a:gd name="T0" fmla="*/ 70 w 70"/>
                <a:gd name="T1" fmla="*/ 52 h 67"/>
                <a:gd name="T2" fmla="*/ 70 w 70"/>
                <a:gd name="T3" fmla="*/ 0 h 67"/>
                <a:gd name="T4" fmla="*/ 50 w 70"/>
                <a:gd name="T5" fmla="*/ 8 h 67"/>
                <a:gd name="T6" fmla="*/ 50 w 70"/>
                <a:gd name="T7" fmla="*/ 22 h 67"/>
                <a:gd name="T8" fmla="*/ 42 w 70"/>
                <a:gd name="T9" fmla="*/ 30 h 67"/>
                <a:gd name="T10" fmla="*/ 35 w 70"/>
                <a:gd name="T11" fmla="*/ 30 h 67"/>
                <a:gd name="T12" fmla="*/ 7 w 70"/>
                <a:gd name="T13" fmla="*/ 15 h 67"/>
                <a:gd name="T14" fmla="*/ 0 w 70"/>
                <a:gd name="T15" fmla="*/ 22 h 67"/>
                <a:gd name="T16" fmla="*/ 7 w 70"/>
                <a:gd name="T17" fmla="*/ 30 h 67"/>
                <a:gd name="T18" fmla="*/ 20 w 70"/>
                <a:gd name="T19" fmla="*/ 30 h 67"/>
                <a:gd name="T20" fmla="*/ 20 w 70"/>
                <a:gd name="T21" fmla="*/ 45 h 67"/>
                <a:gd name="T22" fmla="*/ 30 w 70"/>
                <a:gd name="T23" fmla="*/ 45 h 67"/>
                <a:gd name="T24" fmla="*/ 30 w 70"/>
                <a:gd name="T25" fmla="*/ 52 h 67"/>
                <a:gd name="T26" fmla="*/ 42 w 70"/>
                <a:gd name="T27" fmla="*/ 60 h 67"/>
                <a:gd name="T28" fmla="*/ 50 w 70"/>
                <a:gd name="T29" fmla="*/ 60 h 67"/>
                <a:gd name="T30" fmla="*/ 62 w 70"/>
                <a:gd name="T31" fmla="*/ 67 h 67"/>
                <a:gd name="T32" fmla="*/ 70 w 70"/>
                <a:gd name="T33" fmla="*/ 52 h 67"/>
                <a:gd name="T34" fmla="*/ 70 w 70"/>
                <a:gd name="T35" fmla="*/ 52 h 67"/>
                <a:gd name="T36" fmla="*/ 70 w 70"/>
                <a:gd name="T37" fmla="*/ 52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67"/>
                <a:gd name="T59" fmla="*/ 70 w 70"/>
                <a:gd name="T60" fmla="*/ 67 h 6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67">
                  <a:moveTo>
                    <a:pt x="70" y="52"/>
                  </a:moveTo>
                  <a:lnTo>
                    <a:pt x="70" y="0"/>
                  </a:lnTo>
                  <a:lnTo>
                    <a:pt x="50" y="8"/>
                  </a:lnTo>
                  <a:lnTo>
                    <a:pt x="50" y="22"/>
                  </a:lnTo>
                  <a:lnTo>
                    <a:pt x="42" y="30"/>
                  </a:lnTo>
                  <a:lnTo>
                    <a:pt x="35" y="30"/>
                  </a:lnTo>
                  <a:lnTo>
                    <a:pt x="7" y="15"/>
                  </a:lnTo>
                  <a:lnTo>
                    <a:pt x="0" y="22"/>
                  </a:lnTo>
                  <a:lnTo>
                    <a:pt x="7" y="30"/>
                  </a:lnTo>
                  <a:lnTo>
                    <a:pt x="20" y="30"/>
                  </a:lnTo>
                  <a:lnTo>
                    <a:pt x="20" y="45"/>
                  </a:lnTo>
                  <a:lnTo>
                    <a:pt x="30" y="45"/>
                  </a:lnTo>
                  <a:lnTo>
                    <a:pt x="30" y="52"/>
                  </a:lnTo>
                  <a:lnTo>
                    <a:pt x="42" y="60"/>
                  </a:lnTo>
                  <a:lnTo>
                    <a:pt x="50" y="60"/>
                  </a:lnTo>
                  <a:lnTo>
                    <a:pt x="62" y="67"/>
                  </a:lnTo>
                  <a:lnTo>
                    <a:pt x="70" y="52"/>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6" name="Freeform 42">
              <a:extLst>
                <a:ext uri="{FF2B5EF4-FFF2-40B4-BE49-F238E27FC236}">
                  <a16:creationId xmlns:a16="http://schemas.microsoft.com/office/drawing/2014/main" id="{4520FE2D-0FE2-7244-8619-779F59375C0C}"/>
                </a:ext>
              </a:extLst>
            </p:cNvPr>
            <p:cNvSpPr>
              <a:spLocks/>
            </p:cNvSpPr>
            <p:nvPr/>
          </p:nvSpPr>
          <p:spPr bwMode="auto">
            <a:xfrm>
              <a:off x="5121968" y="6257734"/>
              <a:ext cx="93357" cy="131803"/>
            </a:xfrm>
            <a:custGeom>
              <a:avLst/>
              <a:gdLst>
                <a:gd name="T0" fmla="*/ 0 w 50"/>
                <a:gd name="T1" fmla="*/ 52 h 72"/>
                <a:gd name="T2" fmla="*/ 0 w 50"/>
                <a:gd name="T3" fmla="*/ 0 h 72"/>
                <a:gd name="T4" fmla="*/ 9 w 50"/>
                <a:gd name="T5" fmla="*/ 22 h 72"/>
                <a:gd name="T6" fmla="*/ 36 w 50"/>
                <a:gd name="T7" fmla="*/ 45 h 72"/>
                <a:gd name="T8" fmla="*/ 51 w 50"/>
                <a:gd name="T9" fmla="*/ 52 h 72"/>
                <a:gd name="T10" fmla="*/ 45 w 50"/>
                <a:gd name="T11" fmla="*/ 59 h 72"/>
                <a:gd name="T12" fmla="*/ 14 w 50"/>
                <a:gd name="T13" fmla="*/ 67 h 72"/>
                <a:gd name="T14" fmla="*/ 9 w 50"/>
                <a:gd name="T15" fmla="*/ 72 h 72"/>
                <a:gd name="T16" fmla="*/ 0 w 50"/>
                <a:gd name="T17" fmla="*/ 52 h 72"/>
                <a:gd name="T18" fmla="*/ 0 w 50"/>
                <a:gd name="T19" fmla="*/ 52 h 72"/>
                <a:gd name="T20" fmla="*/ 0 w 50"/>
                <a:gd name="T21" fmla="*/ 52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72"/>
                <a:gd name="T35" fmla="*/ 50 w 5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72">
                  <a:moveTo>
                    <a:pt x="0" y="52"/>
                  </a:moveTo>
                  <a:lnTo>
                    <a:pt x="0" y="0"/>
                  </a:lnTo>
                  <a:lnTo>
                    <a:pt x="9" y="22"/>
                  </a:lnTo>
                  <a:lnTo>
                    <a:pt x="35" y="45"/>
                  </a:lnTo>
                  <a:lnTo>
                    <a:pt x="50" y="52"/>
                  </a:lnTo>
                  <a:lnTo>
                    <a:pt x="44" y="59"/>
                  </a:lnTo>
                  <a:lnTo>
                    <a:pt x="14" y="67"/>
                  </a:lnTo>
                  <a:lnTo>
                    <a:pt x="9" y="72"/>
                  </a:lnTo>
                  <a:lnTo>
                    <a:pt x="0" y="52"/>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7" name="Freeform 43">
              <a:extLst>
                <a:ext uri="{FF2B5EF4-FFF2-40B4-BE49-F238E27FC236}">
                  <a16:creationId xmlns:a16="http://schemas.microsoft.com/office/drawing/2014/main" id="{FD30C43B-EBC6-CA4B-9DAB-73B0C423D3DB}"/>
                </a:ext>
              </a:extLst>
            </p:cNvPr>
            <p:cNvSpPr>
              <a:spLocks/>
            </p:cNvSpPr>
            <p:nvPr/>
          </p:nvSpPr>
          <p:spPr bwMode="auto">
            <a:xfrm>
              <a:off x="5012136" y="5188663"/>
              <a:ext cx="494245" cy="1037951"/>
            </a:xfrm>
            <a:custGeom>
              <a:avLst/>
              <a:gdLst>
                <a:gd name="T0" fmla="*/ 213 w 268"/>
                <a:gd name="T1" fmla="*/ 144 h 565"/>
                <a:gd name="T2" fmla="*/ 270 w 268"/>
                <a:gd name="T3" fmla="*/ 81 h 565"/>
                <a:gd name="T4" fmla="*/ 248 w 268"/>
                <a:gd name="T5" fmla="*/ 61 h 565"/>
                <a:gd name="T6" fmla="*/ 235 w 268"/>
                <a:gd name="T7" fmla="*/ 81 h 565"/>
                <a:gd name="T8" fmla="*/ 197 w 268"/>
                <a:gd name="T9" fmla="*/ 81 h 565"/>
                <a:gd name="T10" fmla="*/ 206 w 268"/>
                <a:gd name="T11" fmla="*/ 61 h 565"/>
                <a:gd name="T12" fmla="*/ 162 w 268"/>
                <a:gd name="T13" fmla="*/ 39 h 565"/>
                <a:gd name="T14" fmla="*/ 127 w 268"/>
                <a:gd name="T15" fmla="*/ 0 h 565"/>
                <a:gd name="T16" fmla="*/ 100 w 268"/>
                <a:gd name="T17" fmla="*/ 0 h 565"/>
                <a:gd name="T18" fmla="*/ 78 w 268"/>
                <a:gd name="T19" fmla="*/ 39 h 565"/>
                <a:gd name="T20" fmla="*/ 71 w 268"/>
                <a:gd name="T21" fmla="*/ 74 h 565"/>
                <a:gd name="T22" fmla="*/ 43 w 268"/>
                <a:gd name="T23" fmla="*/ 198 h 565"/>
                <a:gd name="T24" fmla="*/ 33 w 268"/>
                <a:gd name="T25" fmla="*/ 242 h 565"/>
                <a:gd name="T26" fmla="*/ 22 w 268"/>
                <a:gd name="T27" fmla="*/ 401 h 565"/>
                <a:gd name="T28" fmla="*/ 22 w 268"/>
                <a:gd name="T29" fmla="*/ 446 h 565"/>
                <a:gd name="T30" fmla="*/ 12 w 268"/>
                <a:gd name="T31" fmla="*/ 486 h 565"/>
                <a:gd name="T32" fmla="*/ 0 w 268"/>
                <a:gd name="T33" fmla="*/ 539 h 565"/>
                <a:gd name="T34" fmla="*/ 12 w 268"/>
                <a:gd name="T35" fmla="*/ 562 h 565"/>
                <a:gd name="T36" fmla="*/ 62 w 268"/>
                <a:gd name="T37" fmla="*/ 567 h 565"/>
                <a:gd name="T38" fmla="*/ 71 w 268"/>
                <a:gd name="T39" fmla="*/ 523 h 565"/>
                <a:gd name="T40" fmla="*/ 106 w 268"/>
                <a:gd name="T41" fmla="*/ 478 h 565"/>
                <a:gd name="T42" fmla="*/ 100 w 268"/>
                <a:gd name="T43" fmla="*/ 465 h 565"/>
                <a:gd name="T44" fmla="*/ 78 w 268"/>
                <a:gd name="T45" fmla="*/ 433 h 565"/>
                <a:gd name="T46" fmla="*/ 106 w 268"/>
                <a:gd name="T47" fmla="*/ 408 h 565"/>
                <a:gd name="T48" fmla="*/ 115 w 268"/>
                <a:gd name="T49" fmla="*/ 401 h 565"/>
                <a:gd name="T50" fmla="*/ 122 w 268"/>
                <a:gd name="T51" fmla="*/ 371 h 565"/>
                <a:gd name="T52" fmla="*/ 127 w 268"/>
                <a:gd name="T53" fmla="*/ 363 h 565"/>
                <a:gd name="T54" fmla="*/ 115 w 268"/>
                <a:gd name="T55" fmla="*/ 356 h 565"/>
                <a:gd name="T56" fmla="*/ 127 w 268"/>
                <a:gd name="T57" fmla="*/ 341 h 565"/>
                <a:gd name="T58" fmla="*/ 157 w 268"/>
                <a:gd name="T59" fmla="*/ 296 h 565"/>
                <a:gd name="T60" fmla="*/ 213 w 268"/>
                <a:gd name="T61" fmla="*/ 282 h 565"/>
                <a:gd name="T62" fmla="*/ 226 w 268"/>
                <a:gd name="T63" fmla="*/ 242 h 565"/>
                <a:gd name="T64" fmla="*/ 213 w 268"/>
                <a:gd name="T65" fmla="*/ 228 h 565"/>
                <a:gd name="T66" fmla="*/ 197 w 268"/>
                <a:gd name="T67" fmla="*/ 205 h 565"/>
                <a:gd name="T68" fmla="*/ 197 w 268"/>
                <a:gd name="T69" fmla="*/ 205 h 5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8"/>
                <a:gd name="T106" fmla="*/ 0 h 565"/>
                <a:gd name="T107" fmla="*/ 268 w 268"/>
                <a:gd name="T108" fmla="*/ 565 h 5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8" h="565">
                  <a:moveTo>
                    <a:pt x="196" y="204"/>
                  </a:moveTo>
                  <a:lnTo>
                    <a:pt x="211" y="143"/>
                  </a:lnTo>
                  <a:lnTo>
                    <a:pt x="246" y="96"/>
                  </a:lnTo>
                  <a:lnTo>
                    <a:pt x="268" y="81"/>
                  </a:lnTo>
                  <a:lnTo>
                    <a:pt x="255" y="61"/>
                  </a:lnTo>
                  <a:lnTo>
                    <a:pt x="246" y="61"/>
                  </a:lnTo>
                  <a:lnTo>
                    <a:pt x="246" y="74"/>
                  </a:lnTo>
                  <a:lnTo>
                    <a:pt x="233" y="81"/>
                  </a:lnTo>
                  <a:lnTo>
                    <a:pt x="224" y="96"/>
                  </a:lnTo>
                  <a:lnTo>
                    <a:pt x="196" y="81"/>
                  </a:lnTo>
                  <a:lnTo>
                    <a:pt x="204" y="69"/>
                  </a:lnTo>
                  <a:lnTo>
                    <a:pt x="204" y="61"/>
                  </a:lnTo>
                  <a:lnTo>
                    <a:pt x="191" y="39"/>
                  </a:lnTo>
                  <a:lnTo>
                    <a:pt x="161" y="39"/>
                  </a:lnTo>
                  <a:lnTo>
                    <a:pt x="147" y="16"/>
                  </a:lnTo>
                  <a:lnTo>
                    <a:pt x="126" y="0"/>
                  </a:lnTo>
                  <a:lnTo>
                    <a:pt x="121" y="16"/>
                  </a:lnTo>
                  <a:lnTo>
                    <a:pt x="99" y="0"/>
                  </a:lnTo>
                  <a:lnTo>
                    <a:pt x="77" y="24"/>
                  </a:lnTo>
                  <a:lnTo>
                    <a:pt x="77" y="39"/>
                  </a:lnTo>
                  <a:lnTo>
                    <a:pt x="62" y="42"/>
                  </a:lnTo>
                  <a:lnTo>
                    <a:pt x="70" y="74"/>
                  </a:lnTo>
                  <a:lnTo>
                    <a:pt x="33" y="158"/>
                  </a:lnTo>
                  <a:lnTo>
                    <a:pt x="43" y="197"/>
                  </a:lnTo>
                  <a:lnTo>
                    <a:pt x="33" y="227"/>
                  </a:lnTo>
                  <a:lnTo>
                    <a:pt x="33" y="241"/>
                  </a:lnTo>
                  <a:lnTo>
                    <a:pt x="27" y="249"/>
                  </a:lnTo>
                  <a:lnTo>
                    <a:pt x="22" y="400"/>
                  </a:lnTo>
                  <a:lnTo>
                    <a:pt x="27" y="400"/>
                  </a:lnTo>
                  <a:lnTo>
                    <a:pt x="22" y="444"/>
                  </a:lnTo>
                  <a:lnTo>
                    <a:pt x="12" y="469"/>
                  </a:lnTo>
                  <a:lnTo>
                    <a:pt x="12" y="484"/>
                  </a:lnTo>
                  <a:lnTo>
                    <a:pt x="0" y="515"/>
                  </a:lnTo>
                  <a:lnTo>
                    <a:pt x="0" y="537"/>
                  </a:lnTo>
                  <a:lnTo>
                    <a:pt x="12" y="530"/>
                  </a:lnTo>
                  <a:lnTo>
                    <a:pt x="12" y="560"/>
                  </a:lnTo>
                  <a:lnTo>
                    <a:pt x="22" y="565"/>
                  </a:lnTo>
                  <a:lnTo>
                    <a:pt x="62" y="565"/>
                  </a:lnTo>
                  <a:lnTo>
                    <a:pt x="55" y="537"/>
                  </a:lnTo>
                  <a:lnTo>
                    <a:pt x="70" y="521"/>
                  </a:lnTo>
                  <a:lnTo>
                    <a:pt x="77" y="491"/>
                  </a:lnTo>
                  <a:lnTo>
                    <a:pt x="105" y="476"/>
                  </a:lnTo>
                  <a:lnTo>
                    <a:pt x="105" y="463"/>
                  </a:lnTo>
                  <a:lnTo>
                    <a:pt x="99" y="463"/>
                  </a:lnTo>
                  <a:lnTo>
                    <a:pt x="77" y="439"/>
                  </a:lnTo>
                  <a:lnTo>
                    <a:pt x="77" y="431"/>
                  </a:lnTo>
                  <a:lnTo>
                    <a:pt x="85" y="416"/>
                  </a:lnTo>
                  <a:lnTo>
                    <a:pt x="105" y="407"/>
                  </a:lnTo>
                  <a:lnTo>
                    <a:pt x="105" y="400"/>
                  </a:lnTo>
                  <a:lnTo>
                    <a:pt x="114" y="400"/>
                  </a:lnTo>
                  <a:lnTo>
                    <a:pt x="114" y="387"/>
                  </a:lnTo>
                  <a:lnTo>
                    <a:pt x="121" y="370"/>
                  </a:lnTo>
                  <a:lnTo>
                    <a:pt x="121" y="362"/>
                  </a:lnTo>
                  <a:lnTo>
                    <a:pt x="126" y="362"/>
                  </a:lnTo>
                  <a:lnTo>
                    <a:pt x="126" y="355"/>
                  </a:lnTo>
                  <a:lnTo>
                    <a:pt x="114" y="355"/>
                  </a:lnTo>
                  <a:lnTo>
                    <a:pt x="114" y="325"/>
                  </a:lnTo>
                  <a:lnTo>
                    <a:pt x="126" y="340"/>
                  </a:lnTo>
                  <a:lnTo>
                    <a:pt x="147" y="325"/>
                  </a:lnTo>
                  <a:lnTo>
                    <a:pt x="156" y="295"/>
                  </a:lnTo>
                  <a:lnTo>
                    <a:pt x="147" y="286"/>
                  </a:lnTo>
                  <a:lnTo>
                    <a:pt x="211" y="281"/>
                  </a:lnTo>
                  <a:lnTo>
                    <a:pt x="224" y="249"/>
                  </a:lnTo>
                  <a:lnTo>
                    <a:pt x="224" y="241"/>
                  </a:lnTo>
                  <a:lnTo>
                    <a:pt x="211" y="234"/>
                  </a:lnTo>
                  <a:lnTo>
                    <a:pt x="211" y="227"/>
                  </a:lnTo>
                  <a:lnTo>
                    <a:pt x="196" y="219"/>
                  </a:lnTo>
                  <a:lnTo>
                    <a:pt x="196" y="204"/>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8" name="Freeform 44">
              <a:extLst>
                <a:ext uri="{FF2B5EF4-FFF2-40B4-BE49-F238E27FC236}">
                  <a16:creationId xmlns:a16="http://schemas.microsoft.com/office/drawing/2014/main" id="{955D34A7-4A6B-F746-815B-7AE163D4BC0D}"/>
                </a:ext>
              </a:extLst>
            </p:cNvPr>
            <p:cNvSpPr>
              <a:spLocks/>
            </p:cNvSpPr>
            <p:nvPr/>
          </p:nvSpPr>
          <p:spPr bwMode="auto">
            <a:xfrm>
              <a:off x="4624062" y="4104947"/>
              <a:ext cx="43933" cy="53087"/>
            </a:xfrm>
            <a:custGeom>
              <a:avLst/>
              <a:gdLst>
                <a:gd name="T0" fmla="*/ 0 w 24"/>
                <a:gd name="T1" fmla="*/ 29 h 29"/>
                <a:gd name="T2" fmla="*/ 24 w 24"/>
                <a:gd name="T3" fmla="*/ 29 h 29"/>
                <a:gd name="T4" fmla="*/ 24 w 24"/>
                <a:gd name="T5" fmla="*/ 0 h 29"/>
                <a:gd name="T6" fmla="*/ 0 w 24"/>
                <a:gd name="T7" fmla="*/ 5 h 29"/>
                <a:gd name="T8" fmla="*/ 0 w 24"/>
                <a:gd name="T9" fmla="*/ 29 h 29"/>
                <a:gd name="T10" fmla="*/ 0 w 24"/>
                <a:gd name="T11" fmla="*/ 29 h 29"/>
                <a:gd name="T12" fmla="*/ 0 w 24"/>
                <a:gd name="T13" fmla="*/ 29 h 29"/>
                <a:gd name="T14" fmla="*/ 0 60000 65536"/>
                <a:gd name="T15" fmla="*/ 0 60000 65536"/>
                <a:gd name="T16" fmla="*/ 0 60000 65536"/>
                <a:gd name="T17" fmla="*/ 0 60000 65536"/>
                <a:gd name="T18" fmla="*/ 0 60000 65536"/>
                <a:gd name="T19" fmla="*/ 0 60000 65536"/>
                <a:gd name="T20" fmla="*/ 0 60000 65536"/>
                <a:gd name="T21" fmla="*/ 0 w 24"/>
                <a:gd name="T22" fmla="*/ 0 h 29"/>
                <a:gd name="T23" fmla="*/ 24 w 24"/>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9">
                  <a:moveTo>
                    <a:pt x="0" y="29"/>
                  </a:moveTo>
                  <a:lnTo>
                    <a:pt x="24" y="29"/>
                  </a:lnTo>
                  <a:lnTo>
                    <a:pt x="24" y="0"/>
                  </a:lnTo>
                  <a:lnTo>
                    <a:pt x="0" y="5"/>
                  </a:lnTo>
                  <a:lnTo>
                    <a:pt x="0" y="29"/>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89" name="Freeform 45">
              <a:extLst>
                <a:ext uri="{FF2B5EF4-FFF2-40B4-BE49-F238E27FC236}">
                  <a16:creationId xmlns:a16="http://schemas.microsoft.com/office/drawing/2014/main" id="{F7DF0D89-410D-214A-B435-8A9C2F5CC140}"/>
                </a:ext>
              </a:extLst>
            </p:cNvPr>
            <p:cNvSpPr>
              <a:spLocks/>
            </p:cNvSpPr>
            <p:nvPr/>
          </p:nvSpPr>
          <p:spPr bwMode="auto">
            <a:xfrm>
              <a:off x="4545349" y="4108609"/>
              <a:ext cx="95188" cy="120820"/>
            </a:xfrm>
            <a:custGeom>
              <a:avLst/>
              <a:gdLst>
                <a:gd name="T0" fmla="*/ 43 w 52"/>
                <a:gd name="T1" fmla="*/ 25 h 66"/>
                <a:gd name="T2" fmla="*/ 52 w 52"/>
                <a:gd name="T3" fmla="*/ 39 h 66"/>
                <a:gd name="T4" fmla="*/ 27 w 52"/>
                <a:gd name="T5" fmla="*/ 56 h 66"/>
                <a:gd name="T6" fmla="*/ 22 w 52"/>
                <a:gd name="T7" fmla="*/ 66 h 66"/>
                <a:gd name="T8" fmla="*/ 0 w 52"/>
                <a:gd name="T9" fmla="*/ 56 h 66"/>
                <a:gd name="T10" fmla="*/ 7 w 52"/>
                <a:gd name="T11" fmla="*/ 25 h 66"/>
                <a:gd name="T12" fmla="*/ 22 w 52"/>
                <a:gd name="T13" fmla="*/ 25 h 66"/>
                <a:gd name="T14" fmla="*/ 7 w 52"/>
                <a:gd name="T15" fmla="*/ 10 h 66"/>
                <a:gd name="T16" fmla="*/ 13 w 52"/>
                <a:gd name="T17" fmla="*/ 0 h 66"/>
                <a:gd name="T18" fmla="*/ 43 w 52"/>
                <a:gd name="T19" fmla="*/ 0 h 66"/>
                <a:gd name="T20" fmla="*/ 43 w 52"/>
                <a:gd name="T21" fmla="*/ 25 h 66"/>
                <a:gd name="T22" fmla="*/ 43 w 52"/>
                <a:gd name="T23" fmla="*/ 25 h 66"/>
                <a:gd name="T24" fmla="*/ 43 w 52"/>
                <a:gd name="T25" fmla="*/ 25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
                <a:gd name="T40" fmla="*/ 0 h 66"/>
                <a:gd name="T41" fmla="*/ 52 w 5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 h="66">
                  <a:moveTo>
                    <a:pt x="43" y="25"/>
                  </a:moveTo>
                  <a:lnTo>
                    <a:pt x="52" y="39"/>
                  </a:lnTo>
                  <a:lnTo>
                    <a:pt x="27" y="56"/>
                  </a:lnTo>
                  <a:lnTo>
                    <a:pt x="22" y="66"/>
                  </a:lnTo>
                  <a:lnTo>
                    <a:pt x="0" y="56"/>
                  </a:lnTo>
                  <a:lnTo>
                    <a:pt x="7" y="25"/>
                  </a:lnTo>
                  <a:lnTo>
                    <a:pt x="22" y="25"/>
                  </a:lnTo>
                  <a:lnTo>
                    <a:pt x="7" y="10"/>
                  </a:lnTo>
                  <a:lnTo>
                    <a:pt x="13" y="0"/>
                  </a:lnTo>
                  <a:lnTo>
                    <a:pt x="43" y="0"/>
                  </a:lnTo>
                  <a:lnTo>
                    <a:pt x="43" y="2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0" name="Freeform 46">
              <a:extLst>
                <a:ext uri="{FF2B5EF4-FFF2-40B4-BE49-F238E27FC236}">
                  <a16:creationId xmlns:a16="http://schemas.microsoft.com/office/drawing/2014/main" id="{47E73724-5539-6C4F-9006-507779E6A975}"/>
                </a:ext>
              </a:extLst>
            </p:cNvPr>
            <p:cNvSpPr>
              <a:spLocks/>
            </p:cNvSpPr>
            <p:nvPr/>
          </p:nvSpPr>
          <p:spPr bwMode="auto">
            <a:xfrm>
              <a:off x="4596604" y="4176341"/>
              <a:ext cx="155596" cy="62240"/>
            </a:xfrm>
            <a:custGeom>
              <a:avLst/>
              <a:gdLst>
                <a:gd name="T0" fmla="*/ 22 w 84"/>
                <a:gd name="T1" fmla="*/ 0 h 34"/>
                <a:gd name="T2" fmla="*/ 65 w 84"/>
                <a:gd name="T3" fmla="*/ 0 h 34"/>
                <a:gd name="T4" fmla="*/ 85 w 84"/>
                <a:gd name="T5" fmla="*/ 8 h 34"/>
                <a:gd name="T6" fmla="*/ 39 w 84"/>
                <a:gd name="T7" fmla="*/ 34 h 34"/>
                <a:gd name="T8" fmla="*/ 31 w 84"/>
                <a:gd name="T9" fmla="*/ 34 h 34"/>
                <a:gd name="T10" fmla="*/ 31 w 84"/>
                <a:gd name="T11" fmla="*/ 29 h 34"/>
                <a:gd name="T12" fmla="*/ 0 w 84"/>
                <a:gd name="T13" fmla="*/ 17 h 34"/>
                <a:gd name="T14" fmla="*/ 22 w 84"/>
                <a:gd name="T15" fmla="*/ 0 h 34"/>
                <a:gd name="T16" fmla="*/ 22 w 84"/>
                <a:gd name="T17" fmla="*/ 0 h 34"/>
                <a:gd name="T18" fmla="*/ 22 w 84"/>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34"/>
                <a:gd name="T32" fmla="*/ 84 w 84"/>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34">
                  <a:moveTo>
                    <a:pt x="22" y="0"/>
                  </a:moveTo>
                  <a:lnTo>
                    <a:pt x="64" y="0"/>
                  </a:lnTo>
                  <a:lnTo>
                    <a:pt x="84" y="8"/>
                  </a:lnTo>
                  <a:lnTo>
                    <a:pt x="39" y="34"/>
                  </a:lnTo>
                  <a:lnTo>
                    <a:pt x="31" y="34"/>
                  </a:lnTo>
                  <a:lnTo>
                    <a:pt x="31" y="29"/>
                  </a:lnTo>
                  <a:lnTo>
                    <a:pt x="0" y="17"/>
                  </a:lnTo>
                  <a:lnTo>
                    <a:pt x="22"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1" name="Freeform 47">
              <a:extLst>
                <a:ext uri="{FF2B5EF4-FFF2-40B4-BE49-F238E27FC236}">
                  <a16:creationId xmlns:a16="http://schemas.microsoft.com/office/drawing/2014/main" id="{D1668C50-D6DC-254F-8B08-78A6FC5F252F}"/>
                </a:ext>
              </a:extLst>
            </p:cNvPr>
            <p:cNvSpPr>
              <a:spLocks/>
            </p:cNvSpPr>
            <p:nvPr/>
          </p:nvSpPr>
          <p:spPr bwMode="auto">
            <a:xfrm>
              <a:off x="4585620" y="4207461"/>
              <a:ext cx="67730" cy="49426"/>
            </a:xfrm>
            <a:custGeom>
              <a:avLst/>
              <a:gdLst>
                <a:gd name="T0" fmla="*/ 8 w 37"/>
                <a:gd name="T1" fmla="*/ 0 h 27"/>
                <a:gd name="T2" fmla="*/ 0 w 37"/>
                <a:gd name="T3" fmla="*/ 15 h 27"/>
                <a:gd name="T4" fmla="*/ 8 w 37"/>
                <a:gd name="T5" fmla="*/ 27 h 27"/>
                <a:gd name="T6" fmla="*/ 37 w 37"/>
                <a:gd name="T7" fmla="*/ 27 h 27"/>
                <a:gd name="T8" fmla="*/ 37 w 37"/>
                <a:gd name="T9" fmla="*/ 15 h 27"/>
                <a:gd name="T10" fmla="*/ 8 w 37"/>
                <a:gd name="T11" fmla="*/ 0 h 27"/>
                <a:gd name="T12" fmla="*/ 8 w 37"/>
                <a:gd name="T13" fmla="*/ 0 h 27"/>
                <a:gd name="T14" fmla="*/ 8 w 37"/>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27"/>
                <a:gd name="T26" fmla="*/ 37 w 37"/>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27">
                  <a:moveTo>
                    <a:pt x="8" y="0"/>
                  </a:moveTo>
                  <a:lnTo>
                    <a:pt x="0" y="15"/>
                  </a:lnTo>
                  <a:lnTo>
                    <a:pt x="8" y="27"/>
                  </a:lnTo>
                  <a:lnTo>
                    <a:pt x="37" y="27"/>
                  </a:lnTo>
                  <a:lnTo>
                    <a:pt x="37" y="15"/>
                  </a:lnTo>
                  <a:lnTo>
                    <a:pt x="8"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2" name="Freeform 48">
              <a:extLst>
                <a:ext uri="{FF2B5EF4-FFF2-40B4-BE49-F238E27FC236}">
                  <a16:creationId xmlns:a16="http://schemas.microsoft.com/office/drawing/2014/main" id="{07781BBD-A1C1-384A-B6F5-048F158D7091}"/>
                </a:ext>
              </a:extLst>
            </p:cNvPr>
            <p:cNvSpPr>
              <a:spLocks/>
            </p:cNvSpPr>
            <p:nvPr/>
          </p:nvSpPr>
          <p:spPr bwMode="auto">
            <a:xfrm>
              <a:off x="4667995" y="4198308"/>
              <a:ext cx="84205" cy="122650"/>
            </a:xfrm>
            <a:custGeom>
              <a:avLst/>
              <a:gdLst>
                <a:gd name="T0" fmla="*/ 46 w 45"/>
                <a:gd name="T1" fmla="*/ 0 h 67"/>
                <a:gd name="T2" fmla="*/ 39 w 45"/>
                <a:gd name="T3" fmla="*/ 54 h 67"/>
                <a:gd name="T4" fmla="*/ 46 w 45"/>
                <a:gd name="T5" fmla="*/ 67 h 67"/>
                <a:gd name="T6" fmla="*/ 39 w 45"/>
                <a:gd name="T7" fmla="*/ 67 h 67"/>
                <a:gd name="T8" fmla="*/ 0 w 45"/>
                <a:gd name="T9" fmla="*/ 40 h 67"/>
                <a:gd name="T10" fmla="*/ 0 w 45"/>
                <a:gd name="T11" fmla="*/ 23 h 67"/>
                <a:gd name="T12" fmla="*/ 46 w 45"/>
                <a:gd name="T13" fmla="*/ 0 h 67"/>
                <a:gd name="T14" fmla="*/ 46 w 45"/>
                <a:gd name="T15" fmla="*/ 0 h 67"/>
                <a:gd name="T16" fmla="*/ 46 w 45"/>
                <a:gd name="T17" fmla="*/ 0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67"/>
                <a:gd name="T29" fmla="*/ 45 w 45"/>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67">
                  <a:moveTo>
                    <a:pt x="45" y="0"/>
                  </a:moveTo>
                  <a:lnTo>
                    <a:pt x="38" y="54"/>
                  </a:lnTo>
                  <a:lnTo>
                    <a:pt x="45" y="67"/>
                  </a:lnTo>
                  <a:lnTo>
                    <a:pt x="38" y="67"/>
                  </a:lnTo>
                  <a:lnTo>
                    <a:pt x="0" y="40"/>
                  </a:lnTo>
                  <a:lnTo>
                    <a:pt x="0" y="23"/>
                  </a:lnTo>
                  <a:lnTo>
                    <a:pt x="45"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3" name="Freeform 49">
              <a:extLst>
                <a:ext uri="{FF2B5EF4-FFF2-40B4-BE49-F238E27FC236}">
                  <a16:creationId xmlns:a16="http://schemas.microsoft.com/office/drawing/2014/main" id="{0B796595-8264-8544-B03F-19A95C775B75}"/>
                </a:ext>
              </a:extLst>
            </p:cNvPr>
            <p:cNvSpPr>
              <a:spLocks/>
            </p:cNvSpPr>
            <p:nvPr/>
          </p:nvSpPr>
          <p:spPr bwMode="auto">
            <a:xfrm>
              <a:off x="4700944" y="4297161"/>
              <a:ext cx="73222" cy="78716"/>
            </a:xfrm>
            <a:custGeom>
              <a:avLst/>
              <a:gdLst>
                <a:gd name="T0" fmla="*/ 40 w 39"/>
                <a:gd name="T1" fmla="*/ 43 h 43"/>
                <a:gd name="T2" fmla="*/ 40 w 39"/>
                <a:gd name="T3" fmla="*/ 28 h 43"/>
                <a:gd name="T4" fmla="*/ 30 w 39"/>
                <a:gd name="T5" fmla="*/ 20 h 43"/>
                <a:gd name="T6" fmla="*/ 30 w 39"/>
                <a:gd name="T7" fmla="*/ 13 h 43"/>
                <a:gd name="T8" fmla="*/ 25 w 39"/>
                <a:gd name="T9" fmla="*/ 13 h 43"/>
                <a:gd name="T10" fmla="*/ 0 w 39"/>
                <a:gd name="T11" fmla="*/ 0 h 43"/>
                <a:gd name="T12" fmla="*/ 0 w 39"/>
                <a:gd name="T13" fmla="*/ 20 h 43"/>
                <a:gd name="T14" fmla="*/ 7 w 39"/>
                <a:gd name="T15" fmla="*/ 28 h 43"/>
                <a:gd name="T16" fmla="*/ 17 w 39"/>
                <a:gd name="T17" fmla="*/ 20 h 43"/>
                <a:gd name="T18" fmla="*/ 25 w 39"/>
                <a:gd name="T19" fmla="*/ 35 h 43"/>
                <a:gd name="T20" fmla="*/ 40 w 39"/>
                <a:gd name="T21" fmla="*/ 43 h 43"/>
                <a:gd name="T22" fmla="*/ 40 w 39"/>
                <a:gd name="T23" fmla="*/ 43 h 43"/>
                <a:gd name="T24" fmla="*/ 40 w 39"/>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3"/>
                <a:gd name="T41" fmla="*/ 39 w 39"/>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3">
                  <a:moveTo>
                    <a:pt x="39" y="43"/>
                  </a:moveTo>
                  <a:lnTo>
                    <a:pt x="39" y="28"/>
                  </a:lnTo>
                  <a:lnTo>
                    <a:pt x="29" y="20"/>
                  </a:lnTo>
                  <a:lnTo>
                    <a:pt x="29" y="13"/>
                  </a:lnTo>
                  <a:lnTo>
                    <a:pt x="24" y="13"/>
                  </a:lnTo>
                  <a:lnTo>
                    <a:pt x="0" y="0"/>
                  </a:lnTo>
                  <a:lnTo>
                    <a:pt x="0" y="20"/>
                  </a:lnTo>
                  <a:lnTo>
                    <a:pt x="7" y="28"/>
                  </a:lnTo>
                  <a:lnTo>
                    <a:pt x="17" y="20"/>
                  </a:lnTo>
                  <a:lnTo>
                    <a:pt x="24" y="35"/>
                  </a:lnTo>
                  <a:lnTo>
                    <a:pt x="39" y="43"/>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4" name="Freeform 50">
              <a:extLst>
                <a:ext uri="{FF2B5EF4-FFF2-40B4-BE49-F238E27FC236}">
                  <a16:creationId xmlns:a16="http://schemas.microsoft.com/office/drawing/2014/main" id="{8786AE62-616C-6C4E-AE0E-08361050F60D}"/>
                </a:ext>
              </a:extLst>
            </p:cNvPr>
            <p:cNvSpPr>
              <a:spLocks/>
            </p:cNvSpPr>
            <p:nvPr/>
          </p:nvSpPr>
          <p:spPr bwMode="auto">
            <a:xfrm>
              <a:off x="4774166" y="4348417"/>
              <a:ext cx="140951" cy="64071"/>
            </a:xfrm>
            <a:custGeom>
              <a:avLst/>
              <a:gdLst>
                <a:gd name="T0" fmla="*/ 0 w 77"/>
                <a:gd name="T1" fmla="*/ 15 h 35"/>
                <a:gd name="T2" fmla="*/ 32 w 77"/>
                <a:gd name="T3" fmla="*/ 27 h 35"/>
                <a:gd name="T4" fmla="*/ 32 w 77"/>
                <a:gd name="T5" fmla="*/ 35 h 35"/>
                <a:gd name="T6" fmla="*/ 38 w 77"/>
                <a:gd name="T7" fmla="*/ 27 h 35"/>
                <a:gd name="T8" fmla="*/ 70 w 77"/>
                <a:gd name="T9" fmla="*/ 35 h 35"/>
                <a:gd name="T10" fmla="*/ 77 w 77"/>
                <a:gd name="T11" fmla="*/ 22 h 35"/>
                <a:gd name="T12" fmla="*/ 48 w 77"/>
                <a:gd name="T13" fmla="*/ 0 h 35"/>
                <a:gd name="T14" fmla="*/ 25 w 77"/>
                <a:gd name="T15" fmla="*/ 5 h 35"/>
                <a:gd name="T16" fmla="*/ 17 w 77"/>
                <a:gd name="T17" fmla="*/ 5 h 35"/>
                <a:gd name="T18" fmla="*/ 0 w 77"/>
                <a:gd name="T19" fmla="*/ 0 h 35"/>
                <a:gd name="T20" fmla="*/ 0 w 77"/>
                <a:gd name="T21" fmla="*/ 15 h 35"/>
                <a:gd name="T22" fmla="*/ 0 w 77"/>
                <a:gd name="T23" fmla="*/ 15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35"/>
                <a:gd name="T38" fmla="*/ 77 w 77"/>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35">
                  <a:moveTo>
                    <a:pt x="0" y="15"/>
                  </a:moveTo>
                  <a:lnTo>
                    <a:pt x="32" y="27"/>
                  </a:lnTo>
                  <a:lnTo>
                    <a:pt x="32" y="35"/>
                  </a:lnTo>
                  <a:lnTo>
                    <a:pt x="38" y="27"/>
                  </a:lnTo>
                  <a:lnTo>
                    <a:pt x="70" y="35"/>
                  </a:lnTo>
                  <a:lnTo>
                    <a:pt x="77" y="22"/>
                  </a:lnTo>
                  <a:lnTo>
                    <a:pt x="48" y="0"/>
                  </a:lnTo>
                  <a:lnTo>
                    <a:pt x="25" y="5"/>
                  </a:lnTo>
                  <a:lnTo>
                    <a:pt x="17" y="5"/>
                  </a:lnTo>
                  <a:lnTo>
                    <a:pt x="0" y="0"/>
                  </a:lnTo>
                  <a:lnTo>
                    <a:pt x="0" y="1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5" name="Freeform 51">
              <a:extLst>
                <a:ext uri="{FF2B5EF4-FFF2-40B4-BE49-F238E27FC236}">
                  <a16:creationId xmlns:a16="http://schemas.microsoft.com/office/drawing/2014/main" id="{70D27C05-AB29-BA40-8C14-24A867A96769}"/>
                </a:ext>
              </a:extLst>
            </p:cNvPr>
            <p:cNvSpPr>
              <a:spLocks/>
            </p:cNvSpPr>
            <p:nvPr/>
          </p:nvSpPr>
          <p:spPr bwMode="auto">
            <a:xfrm>
              <a:off x="4878507" y="4266040"/>
              <a:ext cx="274581" cy="444836"/>
            </a:xfrm>
            <a:custGeom>
              <a:avLst/>
              <a:gdLst>
                <a:gd name="T0" fmla="*/ 116 w 149"/>
                <a:gd name="T1" fmla="*/ 243 h 242"/>
                <a:gd name="T2" fmla="*/ 130 w 149"/>
                <a:gd name="T3" fmla="*/ 208 h 242"/>
                <a:gd name="T4" fmla="*/ 116 w 149"/>
                <a:gd name="T5" fmla="*/ 177 h 242"/>
                <a:gd name="T6" fmla="*/ 130 w 149"/>
                <a:gd name="T7" fmla="*/ 177 h 242"/>
                <a:gd name="T8" fmla="*/ 116 w 149"/>
                <a:gd name="T9" fmla="*/ 169 h 242"/>
                <a:gd name="T10" fmla="*/ 116 w 149"/>
                <a:gd name="T11" fmla="*/ 160 h 242"/>
                <a:gd name="T12" fmla="*/ 150 w 149"/>
                <a:gd name="T13" fmla="*/ 160 h 242"/>
                <a:gd name="T14" fmla="*/ 150 w 149"/>
                <a:gd name="T15" fmla="*/ 139 h 242"/>
                <a:gd name="T16" fmla="*/ 143 w 149"/>
                <a:gd name="T17" fmla="*/ 123 h 242"/>
                <a:gd name="T18" fmla="*/ 150 w 149"/>
                <a:gd name="T19" fmla="*/ 92 h 242"/>
                <a:gd name="T20" fmla="*/ 130 w 149"/>
                <a:gd name="T21" fmla="*/ 92 h 242"/>
                <a:gd name="T22" fmla="*/ 116 w 149"/>
                <a:gd name="T23" fmla="*/ 84 h 242"/>
                <a:gd name="T24" fmla="*/ 96 w 149"/>
                <a:gd name="T25" fmla="*/ 84 h 242"/>
                <a:gd name="T26" fmla="*/ 86 w 149"/>
                <a:gd name="T27" fmla="*/ 77 h 242"/>
                <a:gd name="T28" fmla="*/ 86 w 149"/>
                <a:gd name="T29" fmla="*/ 62 h 242"/>
                <a:gd name="T30" fmla="*/ 74 w 149"/>
                <a:gd name="T31" fmla="*/ 47 h 242"/>
                <a:gd name="T32" fmla="*/ 101 w 149"/>
                <a:gd name="T33" fmla="*/ 10 h 242"/>
                <a:gd name="T34" fmla="*/ 96 w 149"/>
                <a:gd name="T35" fmla="*/ 0 h 242"/>
                <a:gd name="T36" fmla="*/ 50 w 149"/>
                <a:gd name="T37" fmla="*/ 30 h 242"/>
                <a:gd name="T38" fmla="*/ 43 w 149"/>
                <a:gd name="T39" fmla="*/ 47 h 242"/>
                <a:gd name="T40" fmla="*/ 22 w 149"/>
                <a:gd name="T41" fmla="*/ 54 h 242"/>
                <a:gd name="T42" fmla="*/ 23 w 149"/>
                <a:gd name="T43" fmla="*/ 60 h 242"/>
                <a:gd name="T44" fmla="*/ 22 w 149"/>
                <a:gd name="T45" fmla="*/ 64 h 242"/>
                <a:gd name="T46" fmla="*/ 22 w 149"/>
                <a:gd name="T47" fmla="*/ 62 h 242"/>
                <a:gd name="T48" fmla="*/ 15 w 149"/>
                <a:gd name="T49" fmla="*/ 77 h 242"/>
                <a:gd name="T50" fmla="*/ 15 w 149"/>
                <a:gd name="T51" fmla="*/ 130 h 242"/>
                <a:gd name="T52" fmla="*/ 22 w 149"/>
                <a:gd name="T53" fmla="*/ 130 h 242"/>
                <a:gd name="T54" fmla="*/ 15 w 149"/>
                <a:gd name="T55" fmla="*/ 154 h 242"/>
                <a:gd name="T56" fmla="*/ 10 w 149"/>
                <a:gd name="T57" fmla="*/ 154 h 242"/>
                <a:gd name="T58" fmla="*/ 10 w 149"/>
                <a:gd name="T59" fmla="*/ 160 h 242"/>
                <a:gd name="T60" fmla="*/ 0 w 149"/>
                <a:gd name="T61" fmla="*/ 160 h 242"/>
                <a:gd name="T62" fmla="*/ 0 w 149"/>
                <a:gd name="T63" fmla="*/ 169 h 242"/>
                <a:gd name="T64" fmla="*/ 22 w 149"/>
                <a:gd name="T65" fmla="*/ 186 h 242"/>
                <a:gd name="T66" fmla="*/ 43 w 149"/>
                <a:gd name="T67" fmla="*/ 177 h 242"/>
                <a:gd name="T68" fmla="*/ 74 w 149"/>
                <a:gd name="T69" fmla="*/ 223 h 242"/>
                <a:gd name="T70" fmla="*/ 108 w 149"/>
                <a:gd name="T71" fmla="*/ 216 h 242"/>
                <a:gd name="T72" fmla="*/ 116 w 149"/>
                <a:gd name="T73" fmla="*/ 223 h 242"/>
                <a:gd name="T74" fmla="*/ 116 w 149"/>
                <a:gd name="T75" fmla="*/ 228 h 242"/>
                <a:gd name="T76" fmla="*/ 108 w 149"/>
                <a:gd name="T77" fmla="*/ 228 h 242"/>
                <a:gd name="T78" fmla="*/ 116 w 149"/>
                <a:gd name="T79" fmla="*/ 243 h 242"/>
                <a:gd name="T80" fmla="*/ 116 w 149"/>
                <a:gd name="T81" fmla="*/ 243 h 242"/>
                <a:gd name="T82" fmla="*/ 116 w 149"/>
                <a:gd name="T83" fmla="*/ 243 h 2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242"/>
                <a:gd name="T128" fmla="*/ 149 w 149"/>
                <a:gd name="T129" fmla="*/ 242 h 2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242">
                  <a:moveTo>
                    <a:pt x="115" y="242"/>
                  </a:moveTo>
                  <a:lnTo>
                    <a:pt x="129" y="207"/>
                  </a:lnTo>
                  <a:lnTo>
                    <a:pt x="115" y="176"/>
                  </a:lnTo>
                  <a:lnTo>
                    <a:pt x="129" y="176"/>
                  </a:lnTo>
                  <a:lnTo>
                    <a:pt x="115" y="168"/>
                  </a:lnTo>
                  <a:lnTo>
                    <a:pt x="115" y="159"/>
                  </a:lnTo>
                  <a:lnTo>
                    <a:pt x="149" y="159"/>
                  </a:lnTo>
                  <a:lnTo>
                    <a:pt x="149" y="138"/>
                  </a:lnTo>
                  <a:lnTo>
                    <a:pt x="142" y="122"/>
                  </a:lnTo>
                  <a:lnTo>
                    <a:pt x="149" y="92"/>
                  </a:lnTo>
                  <a:lnTo>
                    <a:pt x="129" y="92"/>
                  </a:lnTo>
                  <a:lnTo>
                    <a:pt x="115" y="84"/>
                  </a:lnTo>
                  <a:lnTo>
                    <a:pt x="95" y="84"/>
                  </a:lnTo>
                  <a:lnTo>
                    <a:pt x="85" y="77"/>
                  </a:lnTo>
                  <a:lnTo>
                    <a:pt x="85" y="62"/>
                  </a:lnTo>
                  <a:lnTo>
                    <a:pt x="74" y="47"/>
                  </a:lnTo>
                  <a:lnTo>
                    <a:pt x="100" y="10"/>
                  </a:lnTo>
                  <a:lnTo>
                    <a:pt x="95" y="0"/>
                  </a:lnTo>
                  <a:lnTo>
                    <a:pt x="50" y="30"/>
                  </a:lnTo>
                  <a:lnTo>
                    <a:pt x="43" y="47"/>
                  </a:lnTo>
                  <a:lnTo>
                    <a:pt x="22" y="54"/>
                  </a:lnTo>
                  <a:lnTo>
                    <a:pt x="23" y="60"/>
                  </a:lnTo>
                  <a:lnTo>
                    <a:pt x="22" y="64"/>
                  </a:lnTo>
                  <a:lnTo>
                    <a:pt x="22" y="62"/>
                  </a:lnTo>
                  <a:lnTo>
                    <a:pt x="15" y="77"/>
                  </a:lnTo>
                  <a:lnTo>
                    <a:pt x="15" y="129"/>
                  </a:lnTo>
                  <a:lnTo>
                    <a:pt x="22" y="129"/>
                  </a:lnTo>
                  <a:lnTo>
                    <a:pt x="15" y="153"/>
                  </a:lnTo>
                  <a:lnTo>
                    <a:pt x="10" y="153"/>
                  </a:lnTo>
                  <a:lnTo>
                    <a:pt x="10" y="159"/>
                  </a:lnTo>
                  <a:lnTo>
                    <a:pt x="0" y="159"/>
                  </a:lnTo>
                  <a:lnTo>
                    <a:pt x="0" y="168"/>
                  </a:lnTo>
                  <a:lnTo>
                    <a:pt x="22" y="185"/>
                  </a:lnTo>
                  <a:lnTo>
                    <a:pt x="43" y="176"/>
                  </a:lnTo>
                  <a:lnTo>
                    <a:pt x="74" y="222"/>
                  </a:lnTo>
                  <a:lnTo>
                    <a:pt x="107" y="215"/>
                  </a:lnTo>
                  <a:lnTo>
                    <a:pt x="115" y="222"/>
                  </a:lnTo>
                  <a:lnTo>
                    <a:pt x="115" y="227"/>
                  </a:lnTo>
                  <a:lnTo>
                    <a:pt x="107" y="227"/>
                  </a:lnTo>
                  <a:lnTo>
                    <a:pt x="115" y="242"/>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6" name="Freeform 52">
              <a:extLst>
                <a:ext uri="{FF2B5EF4-FFF2-40B4-BE49-F238E27FC236}">
                  <a16:creationId xmlns:a16="http://schemas.microsoft.com/office/drawing/2014/main" id="{7A16D441-1F44-1545-8E8E-60687EB8ED92}"/>
                </a:ext>
              </a:extLst>
            </p:cNvPr>
            <p:cNvSpPr>
              <a:spLocks/>
            </p:cNvSpPr>
            <p:nvPr/>
          </p:nvSpPr>
          <p:spPr bwMode="auto">
            <a:xfrm>
              <a:off x="4825421" y="4571751"/>
              <a:ext cx="142782" cy="166585"/>
            </a:xfrm>
            <a:custGeom>
              <a:avLst/>
              <a:gdLst>
                <a:gd name="T0" fmla="*/ 78 w 77"/>
                <a:gd name="T1" fmla="*/ 15 h 91"/>
                <a:gd name="T2" fmla="*/ 72 w 77"/>
                <a:gd name="T3" fmla="*/ 9 h 91"/>
                <a:gd name="T4" fmla="*/ 50 w 77"/>
                <a:gd name="T5" fmla="*/ 15 h 91"/>
                <a:gd name="T6" fmla="*/ 27 w 77"/>
                <a:gd name="T7" fmla="*/ 0 h 91"/>
                <a:gd name="T8" fmla="*/ 5 w 77"/>
                <a:gd name="T9" fmla="*/ 9 h 91"/>
                <a:gd name="T10" fmla="*/ 5 w 77"/>
                <a:gd name="T11" fmla="*/ 15 h 91"/>
                <a:gd name="T12" fmla="*/ 0 w 77"/>
                <a:gd name="T13" fmla="*/ 30 h 91"/>
                <a:gd name="T14" fmla="*/ 0 w 77"/>
                <a:gd name="T15" fmla="*/ 46 h 91"/>
                <a:gd name="T16" fmla="*/ 5 w 77"/>
                <a:gd name="T17" fmla="*/ 59 h 91"/>
                <a:gd name="T18" fmla="*/ 5 w 77"/>
                <a:gd name="T19" fmla="*/ 54 h 91"/>
                <a:gd name="T20" fmla="*/ 14 w 77"/>
                <a:gd name="T21" fmla="*/ 54 h 91"/>
                <a:gd name="T22" fmla="*/ 5 w 77"/>
                <a:gd name="T23" fmla="*/ 59 h 91"/>
                <a:gd name="T24" fmla="*/ 0 w 77"/>
                <a:gd name="T25" fmla="*/ 83 h 91"/>
                <a:gd name="T26" fmla="*/ 14 w 77"/>
                <a:gd name="T27" fmla="*/ 91 h 91"/>
                <a:gd name="T28" fmla="*/ 43 w 77"/>
                <a:gd name="T29" fmla="*/ 59 h 91"/>
                <a:gd name="T30" fmla="*/ 72 w 77"/>
                <a:gd name="T31" fmla="*/ 46 h 91"/>
                <a:gd name="T32" fmla="*/ 78 w 77"/>
                <a:gd name="T33" fmla="*/ 30 h 91"/>
                <a:gd name="T34" fmla="*/ 72 w 77"/>
                <a:gd name="T35" fmla="*/ 15 h 91"/>
                <a:gd name="T36" fmla="*/ 78 w 77"/>
                <a:gd name="T37" fmla="*/ 15 h 91"/>
                <a:gd name="T38" fmla="*/ 78 w 77"/>
                <a:gd name="T39" fmla="*/ 15 h 9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7"/>
                <a:gd name="T61" fmla="*/ 0 h 91"/>
                <a:gd name="T62" fmla="*/ 77 w 77"/>
                <a:gd name="T63" fmla="*/ 91 h 9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7" h="91">
                  <a:moveTo>
                    <a:pt x="77" y="15"/>
                  </a:moveTo>
                  <a:lnTo>
                    <a:pt x="71" y="9"/>
                  </a:lnTo>
                  <a:lnTo>
                    <a:pt x="49" y="15"/>
                  </a:lnTo>
                  <a:lnTo>
                    <a:pt x="27" y="0"/>
                  </a:lnTo>
                  <a:lnTo>
                    <a:pt x="5" y="9"/>
                  </a:lnTo>
                  <a:lnTo>
                    <a:pt x="5" y="15"/>
                  </a:lnTo>
                  <a:lnTo>
                    <a:pt x="0" y="30"/>
                  </a:lnTo>
                  <a:lnTo>
                    <a:pt x="0" y="46"/>
                  </a:lnTo>
                  <a:lnTo>
                    <a:pt x="5" y="59"/>
                  </a:lnTo>
                  <a:lnTo>
                    <a:pt x="5" y="54"/>
                  </a:lnTo>
                  <a:lnTo>
                    <a:pt x="14" y="54"/>
                  </a:lnTo>
                  <a:lnTo>
                    <a:pt x="5" y="59"/>
                  </a:lnTo>
                  <a:lnTo>
                    <a:pt x="0" y="83"/>
                  </a:lnTo>
                  <a:lnTo>
                    <a:pt x="14" y="91"/>
                  </a:lnTo>
                  <a:lnTo>
                    <a:pt x="42" y="59"/>
                  </a:lnTo>
                  <a:lnTo>
                    <a:pt x="71" y="46"/>
                  </a:lnTo>
                  <a:lnTo>
                    <a:pt x="77" y="30"/>
                  </a:lnTo>
                  <a:lnTo>
                    <a:pt x="71" y="15"/>
                  </a:lnTo>
                  <a:lnTo>
                    <a:pt x="77" y="1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7" name="Freeform 53">
              <a:extLst>
                <a:ext uri="{FF2B5EF4-FFF2-40B4-BE49-F238E27FC236}">
                  <a16:creationId xmlns:a16="http://schemas.microsoft.com/office/drawing/2014/main" id="{48A80A19-3E42-C64C-B1AB-6B025817EEFB}"/>
                </a:ext>
              </a:extLst>
            </p:cNvPr>
            <p:cNvSpPr>
              <a:spLocks/>
            </p:cNvSpPr>
            <p:nvPr/>
          </p:nvSpPr>
          <p:spPr bwMode="auto">
            <a:xfrm>
              <a:off x="4810777" y="4597379"/>
              <a:ext cx="314853" cy="499754"/>
            </a:xfrm>
            <a:custGeom>
              <a:avLst/>
              <a:gdLst>
                <a:gd name="T0" fmla="*/ 165 w 171"/>
                <a:gd name="T1" fmla="*/ 159 h 272"/>
                <a:gd name="T2" fmla="*/ 143 w 171"/>
                <a:gd name="T3" fmla="*/ 159 h 272"/>
                <a:gd name="T4" fmla="*/ 143 w 171"/>
                <a:gd name="T5" fmla="*/ 144 h 272"/>
                <a:gd name="T6" fmla="*/ 130 w 171"/>
                <a:gd name="T7" fmla="*/ 152 h 272"/>
                <a:gd name="T8" fmla="*/ 108 w 171"/>
                <a:gd name="T9" fmla="*/ 144 h 272"/>
                <a:gd name="T10" fmla="*/ 100 w 171"/>
                <a:gd name="T11" fmla="*/ 112 h 272"/>
                <a:gd name="T12" fmla="*/ 122 w 171"/>
                <a:gd name="T13" fmla="*/ 75 h 272"/>
                <a:gd name="T14" fmla="*/ 152 w 171"/>
                <a:gd name="T15" fmla="*/ 60 h 272"/>
                <a:gd name="T16" fmla="*/ 143 w 171"/>
                <a:gd name="T17" fmla="*/ 45 h 272"/>
                <a:gd name="T18" fmla="*/ 152 w 171"/>
                <a:gd name="T19" fmla="*/ 45 h 272"/>
                <a:gd name="T20" fmla="*/ 152 w 171"/>
                <a:gd name="T21" fmla="*/ 38 h 272"/>
                <a:gd name="T22" fmla="*/ 143 w 171"/>
                <a:gd name="T23" fmla="*/ 30 h 272"/>
                <a:gd name="T24" fmla="*/ 108 w 171"/>
                <a:gd name="T25" fmla="*/ 38 h 272"/>
                <a:gd name="T26" fmla="*/ 84 w 171"/>
                <a:gd name="T27" fmla="*/ 0 h 272"/>
                <a:gd name="T28" fmla="*/ 79 w 171"/>
                <a:gd name="T29" fmla="*/ 0 h 272"/>
                <a:gd name="T30" fmla="*/ 84 w 171"/>
                <a:gd name="T31" fmla="*/ 15 h 272"/>
                <a:gd name="T32" fmla="*/ 79 w 171"/>
                <a:gd name="T33" fmla="*/ 30 h 272"/>
                <a:gd name="T34" fmla="*/ 50 w 171"/>
                <a:gd name="T35" fmla="*/ 45 h 272"/>
                <a:gd name="T36" fmla="*/ 22 w 171"/>
                <a:gd name="T37" fmla="*/ 75 h 272"/>
                <a:gd name="T38" fmla="*/ 8 w 171"/>
                <a:gd name="T39" fmla="*/ 67 h 272"/>
                <a:gd name="T40" fmla="*/ 13 w 171"/>
                <a:gd name="T41" fmla="*/ 45 h 272"/>
                <a:gd name="T42" fmla="*/ 0 w 171"/>
                <a:gd name="T43" fmla="*/ 67 h 272"/>
                <a:gd name="T44" fmla="*/ 8 w 171"/>
                <a:gd name="T45" fmla="*/ 82 h 272"/>
                <a:gd name="T46" fmla="*/ 0 w 171"/>
                <a:gd name="T47" fmla="*/ 82 h 272"/>
                <a:gd name="T48" fmla="*/ 13 w 171"/>
                <a:gd name="T49" fmla="*/ 106 h 272"/>
                <a:gd name="T50" fmla="*/ 35 w 171"/>
                <a:gd name="T51" fmla="*/ 121 h 272"/>
                <a:gd name="T52" fmla="*/ 79 w 171"/>
                <a:gd name="T53" fmla="*/ 221 h 272"/>
                <a:gd name="T54" fmla="*/ 143 w 171"/>
                <a:gd name="T55" fmla="*/ 273 h 272"/>
                <a:gd name="T56" fmla="*/ 165 w 171"/>
                <a:gd name="T57" fmla="*/ 266 h 272"/>
                <a:gd name="T58" fmla="*/ 172 w 171"/>
                <a:gd name="T59" fmla="*/ 243 h 272"/>
                <a:gd name="T60" fmla="*/ 165 w 171"/>
                <a:gd name="T61" fmla="*/ 234 h 272"/>
                <a:gd name="T62" fmla="*/ 172 w 171"/>
                <a:gd name="T63" fmla="*/ 180 h 272"/>
                <a:gd name="T64" fmla="*/ 165 w 171"/>
                <a:gd name="T65" fmla="*/ 159 h 272"/>
                <a:gd name="T66" fmla="*/ 165 w 171"/>
                <a:gd name="T67" fmla="*/ 159 h 272"/>
                <a:gd name="T68" fmla="*/ 165 w 171"/>
                <a:gd name="T69" fmla="*/ 159 h 2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1"/>
                <a:gd name="T106" fmla="*/ 0 h 272"/>
                <a:gd name="T107" fmla="*/ 171 w 171"/>
                <a:gd name="T108" fmla="*/ 272 h 2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1" h="272">
                  <a:moveTo>
                    <a:pt x="164" y="158"/>
                  </a:moveTo>
                  <a:lnTo>
                    <a:pt x="142" y="158"/>
                  </a:lnTo>
                  <a:lnTo>
                    <a:pt x="142" y="143"/>
                  </a:lnTo>
                  <a:lnTo>
                    <a:pt x="129" y="151"/>
                  </a:lnTo>
                  <a:lnTo>
                    <a:pt x="107" y="143"/>
                  </a:lnTo>
                  <a:lnTo>
                    <a:pt x="99" y="112"/>
                  </a:lnTo>
                  <a:lnTo>
                    <a:pt x="121" y="75"/>
                  </a:lnTo>
                  <a:lnTo>
                    <a:pt x="151" y="60"/>
                  </a:lnTo>
                  <a:lnTo>
                    <a:pt x="142" y="45"/>
                  </a:lnTo>
                  <a:lnTo>
                    <a:pt x="151" y="45"/>
                  </a:lnTo>
                  <a:lnTo>
                    <a:pt x="151" y="38"/>
                  </a:lnTo>
                  <a:lnTo>
                    <a:pt x="142" y="30"/>
                  </a:lnTo>
                  <a:lnTo>
                    <a:pt x="107" y="38"/>
                  </a:lnTo>
                  <a:lnTo>
                    <a:pt x="84" y="0"/>
                  </a:lnTo>
                  <a:lnTo>
                    <a:pt x="79" y="0"/>
                  </a:lnTo>
                  <a:lnTo>
                    <a:pt x="84" y="15"/>
                  </a:lnTo>
                  <a:lnTo>
                    <a:pt x="79" y="30"/>
                  </a:lnTo>
                  <a:lnTo>
                    <a:pt x="50" y="45"/>
                  </a:lnTo>
                  <a:lnTo>
                    <a:pt x="22" y="75"/>
                  </a:lnTo>
                  <a:lnTo>
                    <a:pt x="8" y="67"/>
                  </a:lnTo>
                  <a:lnTo>
                    <a:pt x="13" y="45"/>
                  </a:lnTo>
                  <a:lnTo>
                    <a:pt x="0" y="67"/>
                  </a:lnTo>
                  <a:lnTo>
                    <a:pt x="8" y="82"/>
                  </a:lnTo>
                  <a:lnTo>
                    <a:pt x="0" y="82"/>
                  </a:lnTo>
                  <a:lnTo>
                    <a:pt x="13" y="106"/>
                  </a:lnTo>
                  <a:lnTo>
                    <a:pt x="35" y="121"/>
                  </a:lnTo>
                  <a:lnTo>
                    <a:pt x="79" y="220"/>
                  </a:lnTo>
                  <a:lnTo>
                    <a:pt x="142" y="272"/>
                  </a:lnTo>
                  <a:lnTo>
                    <a:pt x="164" y="265"/>
                  </a:lnTo>
                  <a:lnTo>
                    <a:pt x="171" y="242"/>
                  </a:lnTo>
                  <a:lnTo>
                    <a:pt x="164" y="233"/>
                  </a:lnTo>
                  <a:lnTo>
                    <a:pt x="171" y="179"/>
                  </a:lnTo>
                  <a:lnTo>
                    <a:pt x="164" y="158"/>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8" name="Freeform 54">
              <a:extLst>
                <a:ext uri="{FF2B5EF4-FFF2-40B4-BE49-F238E27FC236}">
                  <a16:creationId xmlns:a16="http://schemas.microsoft.com/office/drawing/2014/main" id="{78375D55-3269-F84B-8240-94FBDC36B6A9}"/>
                </a:ext>
              </a:extLst>
            </p:cNvPr>
            <p:cNvSpPr>
              <a:spLocks/>
            </p:cNvSpPr>
            <p:nvPr/>
          </p:nvSpPr>
          <p:spPr bwMode="auto">
            <a:xfrm>
              <a:off x="5110985" y="4859155"/>
              <a:ext cx="280072" cy="373443"/>
            </a:xfrm>
            <a:custGeom>
              <a:avLst/>
              <a:gdLst>
                <a:gd name="T0" fmla="*/ 153 w 152"/>
                <a:gd name="T1" fmla="*/ 160 h 203"/>
                <a:gd name="T2" fmla="*/ 153 w 152"/>
                <a:gd name="T3" fmla="*/ 130 h 203"/>
                <a:gd name="T4" fmla="*/ 146 w 152"/>
                <a:gd name="T5" fmla="*/ 106 h 203"/>
                <a:gd name="T6" fmla="*/ 146 w 152"/>
                <a:gd name="T7" fmla="*/ 100 h 203"/>
                <a:gd name="T8" fmla="*/ 131 w 152"/>
                <a:gd name="T9" fmla="*/ 100 h 203"/>
                <a:gd name="T10" fmla="*/ 116 w 152"/>
                <a:gd name="T11" fmla="*/ 84 h 203"/>
                <a:gd name="T12" fmla="*/ 116 w 152"/>
                <a:gd name="T13" fmla="*/ 77 h 203"/>
                <a:gd name="T14" fmla="*/ 109 w 152"/>
                <a:gd name="T15" fmla="*/ 55 h 203"/>
                <a:gd name="T16" fmla="*/ 58 w 152"/>
                <a:gd name="T17" fmla="*/ 38 h 203"/>
                <a:gd name="T18" fmla="*/ 50 w 152"/>
                <a:gd name="T19" fmla="*/ 23 h 203"/>
                <a:gd name="T20" fmla="*/ 50 w 152"/>
                <a:gd name="T21" fmla="*/ 0 h 203"/>
                <a:gd name="T22" fmla="*/ 31 w 152"/>
                <a:gd name="T23" fmla="*/ 0 h 203"/>
                <a:gd name="T24" fmla="*/ 15 w 152"/>
                <a:gd name="T25" fmla="*/ 18 h 203"/>
                <a:gd name="T26" fmla="*/ 0 w 152"/>
                <a:gd name="T27" fmla="*/ 18 h 203"/>
                <a:gd name="T28" fmla="*/ 8 w 152"/>
                <a:gd name="T29" fmla="*/ 38 h 203"/>
                <a:gd name="T30" fmla="*/ 0 w 152"/>
                <a:gd name="T31" fmla="*/ 92 h 203"/>
                <a:gd name="T32" fmla="*/ 8 w 152"/>
                <a:gd name="T33" fmla="*/ 100 h 203"/>
                <a:gd name="T34" fmla="*/ 0 w 152"/>
                <a:gd name="T35" fmla="*/ 123 h 203"/>
                <a:gd name="T36" fmla="*/ 8 w 152"/>
                <a:gd name="T37" fmla="*/ 145 h 203"/>
                <a:gd name="T38" fmla="*/ 15 w 152"/>
                <a:gd name="T39" fmla="*/ 204 h 203"/>
                <a:gd name="T40" fmla="*/ 21 w 152"/>
                <a:gd name="T41" fmla="*/ 204 h 203"/>
                <a:gd name="T42" fmla="*/ 43 w 152"/>
                <a:gd name="T43" fmla="*/ 182 h 203"/>
                <a:gd name="T44" fmla="*/ 65 w 152"/>
                <a:gd name="T45" fmla="*/ 199 h 203"/>
                <a:gd name="T46" fmla="*/ 73 w 152"/>
                <a:gd name="T47" fmla="*/ 182 h 203"/>
                <a:gd name="T48" fmla="*/ 96 w 152"/>
                <a:gd name="T49" fmla="*/ 199 h 203"/>
                <a:gd name="T50" fmla="*/ 103 w 152"/>
                <a:gd name="T51" fmla="*/ 145 h 203"/>
                <a:gd name="T52" fmla="*/ 140 w 152"/>
                <a:gd name="T53" fmla="*/ 145 h 203"/>
                <a:gd name="T54" fmla="*/ 153 w 152"/>
                <a:gd name="T55" fmla="*/ 160 h 203"/>
                <a:gd name="T56" fmla="*/ 153 w 152"/>
                <a:gd name="T57" fmla="*/ 160 h 203"/>
                <a:gd name="T58" fmla="*/ 153 w 152"/>
                <a:gd name="T59" fmla="*/ 160 h 2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203"/>
                <a:gd name="T92" fmla="*/ 152 w 152"/>
                <a:gd name="T93" fmla="*/ 203 h 20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203">
                  <a:moveTo>
                    <a:pt x="152" y="159"/>
                  </a:moveTo>
                  <a:lnTo>
                    <a:pt x="152" y="129"/>
                  </a:lnTo>
                  <a:lnTo>
                    <a:pt x="145" y="105"/>
                  </a:lnTo>
                  <a:lnTo>
                    <a:pt x="145" y="100"/>
                  </a:lnTo>
                  <a:lnTo>
                    <a:pt x="130" y="100"/>
                  </a:lnTo>
                  <a:lnTo>
                    <a:pt x="115" y="84"/>
                  </a:lnTo>
                  <a:lnTo>
                    <a:pt x="115" y="77"/>
                  </a:lnTo>
                  <a:lnTo>
                    <a:pt x="108" y="55"/>
                  </a:lnTo>
                  <a:lnTo>
                    <a:pt x="58" y="38"/>
                  </a:lnTo>
                  <a:lnTo>
                    <a:pt x="50" y="23"/>
                  </a:lnTo>
                  <a:lnTo>
                    <a:pt x="50" y="0"/>
                  </a:lnTo>
                  <a:lnTo>
                    <a:pt x="31" y="0"/>
                  </a:lnTo>
                  <a:lnTo>
                    <a:pt x="15" y="18"/>
                  </a:lnTo>
                  <a:lnTo>
                    <a:pt x="0" y="18"/>
                  </a:lnTo>
                  <a:lnTo>
                    <a:pt x="8" y="38"/>
                  </a:lnTo>
                  <a:lnTo>
                    <a:pt x="0" y="92"/>
                  </a:lnTo>
                  <a:lnTo>
                    <a:pt x="8" y="100"/>
                  </a:lnTo>
                  <a:lnTo>
                    <a:pt x="0" y="122"/>
                  </a:lnTo>
                  <a:lnTo>
                    <a:pt x="8" y="144"/>
                  </a:lnTo>
                  <a:lnTo>
                    <a:pt x="15" y="203"/>
                  </a:lnTo>
                  <a:lnTo>
                    <a:pt x="21" y="203"/>
                  </a:lnTo>
                  <a:lnTo>
                    <a:pt x="43" y="181"/>
                  </a:lnTo>
                  <a:lnTo>
                    <a:pt x="65" y="198"/>
                  </a:lnTo>
                  <a:lnTo>
                    <a:pt x="73" y="181"/>
                  </a:lnTo>
                  <a:lnTo>
                    <a:pt x="95" y="198"/>
                  </a:lnTo>
                  <a:lnTo>
                    <a:pt x="102" y="144"/>
                  </a:lnTo>
                  <a:lnTo>
                    <a:pt x="139" y="144"/>
                  </a:lnTo>
                  <a:lnTo>
                    <a:pt x="152" y="159"/>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299" name="Freeform 55">
              <a:extLst>
                <a:ext uri="{FF2B5EF4-FFF2-40B4-BE49-F238E27FC236}">
                  <a16:creationId xmlns:a16="http://schemas.microsoft.com/office/drawing/2014/main" id="{549110DB-515D-2249-9D41-CA5858627E87}"/>
                </a:ext>
              </a:extLst>
            </p:cNvPr>
            <p:cNvSpPr>
              <a:spLocks/>
            </p:cNvSpPr>
            <p:nvPr/>
          </p:nvSpPr>
          <p:spPr bwMode="auto">
            <a:xfrm>
              <a:off x="5283056" y="5120931"/>
              <a:ext cx="195868" cy="247131"/>
            </a:xfrm>
            <a:custGeom>
              <a:avLst/>
              <a:gdLst>
                <a:gd name="T0" fmla="*/ 100 w 106"/>
                <a:gd name="T1" fmla="*/ 100 h 135"/>
                <a:gd name="T2" fmla="*/ 107 w 106"/>
                <a:gd name="T3" fmla="*/ 78 h 135"/>
                <a:gd name="T4" fmla="*/ 93 w 106"/>
                <a:gd name="T5" fmla="*/ 69 h 135"/>
                <a:gd name="T6" fmla="*/ 93 w 106"/>
                <a:gd name="T7" fmla="*/ 56 h 135"/>
                <a:gd name="T8" fmla="*/ 88 w 106"/>
                <a:gd name="T9" fmla="*/ 56 h 135"/>
                <a:gd name="T10" fmla="*/ 58 w 106"/>
                <a:gd name="T11" fmla="*/ 37 h 135"/>
                <a:gd name="T12" fmla="*/ 58 w 106"/>
                <a:gd name="T13" fmla="*/ 16 h 135"/>
                <a:gd name="T14" fmla="*/ 44 w 106"/>
                <a:gd name="T15" fmla="*/ 0 h 135"/>
                <a:gd name="T16" fmla="*/ 9 w 106"/>
                <a:gd name="T17" fmla="*/ 0 h 135"/>
                <a:gd name="T18" fmla="*/ 0 w 106"/>
                <a:gd name="T19" fmla="*/ 56 h 135"/>
                <a:gd name="T20" fmla="*/ 14 w 106"/>
                <a:gd name="T21" fmla="*/ 78 h 135"/>
                <a:gd name="T22" fmla="*/ 44 w 106"/>
                <a:gd name="T23" fmla="*/ 78 h 135"/>
                <a:gd name="T24" fmla="*/ 58 w 106"/>
                <a:gd name="T25" fmla="*/ 100 h 135"/>
                <a:gd name="T26" fmla="*/ 58 w 106"/>
                <a:gd name="T27" fmla="*/ 106 h 135"/>
                <a:gd name="T28" fmla="*/ 51 w 106"/>
                <a:gd name="T29" fmla="*/ 121 h 135"/>
                <a:gd name="T30" fmla="*/ 77 w 106"/>
                <a:gd name="T31" fmla="*/ 135 h 135"/>
                <a:gd name="T32" fmla="*/ 88 w 106"/>
                <a:gd name="T33" fmla="*/ 121 h 135"/>
                <a:gd name="T34" fmla="*/ 100 w 106"/>
                <a:gd name="T35" fmla="*/ 115 h 135"/>
                <a:gd name="T36" fmla="*/ 100 w 106"/>
                <a:gd name="T37" fmla="*/ 100 h 135"/>
                <a:gd name="T38" fmla="*/ 100 w 106"/>
                <a:gd name="T39" fmla="*/ 100 h 135"/>
                <a:gd name="T40" fmla="*/ 100 w 106"/>
                <a:gd name="T41" fmla="*/ 100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6"/>
                <a:gd name="T64" fmla="*/ 0 h 135"/>
                <a:gd name="T65" fmla="*/ 106 w 106"/>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6" h="135">
                  <a:moveTo>
                    <a:pt x="99" y="100"/>
                  </a:moveTo>
                  <a:lnTo>
                    <a:pt x="106" y="78"/>
                  </a:lnTo>
                  <a:lnTo>
                    <a:pt x="92" y="69"/>
                  </a:lnTo>
                  <a:lnTo>
                    <a:pt x="92" y="56"/>
                  </a:lnTo>
                  <a:lnTo>
                    <a:pt x="87" y="56"/>
                  </a:lnTo>
                  <a:lnTo>
                    <a:pt x="57" y="37"/>
                  </a:lnTo>
                  <a:lnTo>
                    <a:pt x="57" y="16"/>
                  </a:lnTo>
                  <a:lnTo>
                    <a:pt x="44" y="0"/>
                  </a:lnTo>
                  <a:lnTo>
                    <a:pt x="9" y="0"/>
                  </a:lnTo>
                  <a:lnTo>
                    <a:pt x="0" y="56"/>
                  </a:lnTo>
                  <a:lnTo>
                    <a:pt x="14" y="78"/>
                  </a:lnTo>
                  <a:lnTo>
                    <a:pt x="44" y="78"/>
                  </a:lnTo>
                  <a:lnTo>
                    <a:pt x="57" y="100"/>
                  </a:lnTo>
                  <a:lnTo>
                    <a:pt x="57" y="106"/>
                  </a:lnTo>
                  <a:lnTo>
                    <a:pt x="51" y="121"/>
                  </a:lnTo>
                  <a:lnTo>
                    <a:pt x="76" y="135"/>
                  </a:lnTo>
                  <a:lnTo>
                    <a:pt x="87" y="121"/>
                  </a:lnTo>
                  <a:lnTo>
                    <a:pt x="99" y="115"/>
                  </a:lnTo>
                  <a:lnTo>
                    <a:pt x="99" y="10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0" name="Freeform 56">
              <a:extLst>
                <a:ext uri="{FF2B5EF4-FFF2-40B4-BE49-F238E27FC236}">
                  <a16:creationId xmlns:a16="http://schemas.microsoft.com/office/drawing/2014/main" id="{86977478-211D-3941-98A9-F28A9ECFF636}"/>
                </a:ext>
              </a:extLst>
            </p:cNvPr>
            <p:cNvSpPr>
              <a:spLocks/>
            </p:cNvSpPr>
            <p:nvPr/>
          </p:nvSpPr>
          <p:spPr bwMode="auto">
            <a:xfrm>
              <a:off x="4990170" y="4458253"/>
              <a:ext cx="977508" cy="1098360"/>
            </a:xfrm>
            <a:custGeom>
              <a:avLst/>
              <a:gdLst>
                <a:gd name="T0" fmla="*/ 299 w 530"/>
                <a:gd name="T1" fmla="*/ 25 h 598"/>
                <a:gd name="T2" fmla="*/ 279 w 530"/>
                <a:gd name="T3" fmla="*/ 55 h 598"/>
                <a:gd name="T4" fmla="*/ 252 w 530"/>
                <a:gd name="T5" fmla="*/ 47 h 598"/>
                <a:gd name="T6" fmla="*/ 237 w 530"/>
                <a:gd name="T7" fmla="*/ 55 h 598"/>
                <a:gd name="T8" fmla="*/ 202 w 530"/>
                <a:gd name="T9" fmla="*/ 64 h 598"/>
                <a:gd name="T10" fmla="*/ 194 w 530"/>
                <a:gd name="T11" fmla="*/ 0 h 598"/>
                <a:gd name="T12" fmla="*/ 172 w 530"/>
                <a:gd name="T13" fmla="*/ 17 h 598"/>
                <a:gd name="T14" fmla="*/ 123 w 530"/>
                <a:gd name="T15" fmla="*/ 17 h 598"/>
                <a:gd name="T16" fmla="*/ 132 w 530"/>
                <a:gd name="T17" fmla="*/ 47 h 598"/>
                <a:gd name="T18" fmla="*/ 117 w 530"/>
                <a:gd name="T19" fmla="*/ 71 h 598"/>
                <a:gd name="T20" fmla="*/ 97 w 530"/>
                <a:gd name="T21" fmla="*/ 64 h 598"/>
                <a:gd name="T22" fmla="*/ 52 w 530"/>
                <a:gd name="T23" fmla="*/ 55 h 598"/>
                <a:gd name="T24" fmla="*/ 66 w 530"/>
                <a:gd name="T25" fmla="*/ 71 h 598"/>
                <a:gd name="T26" fmla="*/ 66 w 530"/>
                <a:gd name="T27" fmla="*/ 99 h 598"/>
                <a:gd name="T28" fmla="*/ 24 w 530"/>
                <a:gd name="T29" fmla="*/ 156 h 598"/>
                <a:gd name="T30" fmla="*/ 10 w 530"/>
                <a:gd name="T31" fmla="*/ 221 h 598"/>
                <a:gd name="T32" fmla="*/ 45 w 530"/>
                <a:gd name="T33" fmla="*/ 221 h 598"/>
                <a:gd name="T34" fmla="*/ 82 w 530"/>
                <a:gd name="T35" fmla="*/ 236 h 598"/>
                <a:gd name="T36" fmla="*/ 117 w 530"/>
                <a:gd name="T37" fmla="*/ 221 h 598"/>
                <a:gd name="T38" fmla="*/ 123 w 530"/>
                <a:gd name="T39" fmla="*/ 258 h 598"/>
                <a:gd name="T40" fmla="*/ 179 w 530"/>
                <a:gd name="T41" fmla="*/ 299 h 598"/>
                <a:gd name="T42" fmla="*/ 194 w 530"/>
                <a:gd name="T43" fmla="*/ 320 h 598"/>
                <a:gd name="T44" fmla="*/ 210 w 530"/>
                <a:gd name="T45" fmla="*/ 327 h 598"/>
                <a:gd name="T46" fmla="*/ 217 w 530"/>
                <a:gd name="T47" fmla="*/ 403 h 598"/>
                <a:gd name="T48" fmla="*/ 252 w 530"/>
                <a:gd name="T49" fmla="*/ 420 h 598"/>
                <a:gd name="T50" fmla="*/ 265 w 530"/>
                <a:gd name="T51" fmla="*/ 440 h 598"/>
                <a:gd name="T52" fmla="*/ 265 w 530"/>
                <a:gd name="T53" fmla="*/ 464 h 598"/>
                <a:gd name="T54" fmla="*/ 258 w 530"/>
                <a:gd name="T55" fmla="*/ 500 h 598"/>
                <a:gd name="T56" fmla="*/ 237 w 530"/>
                <a:gd name="T57" fmla="*/ 547 h 598"/>
                <a:gd name="T58" fmla="*/ 252 w 530"/>
                <a:gd name="T59" fmla="*/ 553 h 598"/>
                <a:gd name="T60" fmla="*/ 287 w 530"/>
                <a:gd name="T61" fmla="*/ 577 h 598"/>
                <a:gd name="T62" fmla="*/ 331 w 530"/>
                <a:gd name="T63" fmla="*/ 521 h 598"/>
                <a:gd name="T64" fmla="*/ 345 w 530"/>
                <a:gd name="T65" fmla="*/ 471 h 598"/>
                <a:gd name="T66" fmla="*/ 372 w 530"/>
                <a:gd name="T67" fmla="*/ 440 h 598"/>
                <a:gd name="T68" fmla="*/ 430 w 530"/>
                <a:gd name="T69" fmla="*/ 425 h 598"/>
                <a:gd name="T70" fmla="*/ 449 w 530"/>
                <a:gd name="T71" fmla="*/ 403 h 598"/>
                <a:gd name="T72" fmla="*/ 464 w 530"/>
                <a:gd name="T73" fmla="*/ 366 h 598"/>
                <a:gd name="T74" fmla="*/ 472 w 530"/>
                <a:gd name="T75" fmla="*/ 344 h 598"/>
                <a:gd name="T76" fmla="*/ 534 w 530"/>
                <a:gd name="T77" fmla="*/ 191 h 598"/>
                <a:gd name="T78" fmla="*/ 500 w 530"/>
                <a:gd name="T79" fmla="*/ 156 h 598"/>
                <a:gd name="T80" fmla="*/ 442 w 530"/>
                <a:gd name="T81" fmla="*/ 121 h 598"/>
                <a:gd name="T82" fmla="*/ 402 w 530"/>
                <a:gd name="T83" fmla="*/ 116 h 598"/>
                <a:gd name="T84" fmla="*/ 350 w 530"/>
                <a:gd name="T85" fmla="*/ 92 h 598"/>
                <a:gd name="T86" fmla="*/ 345 w 530"/>
                <a:gd name="T87" fmla="*/ 77 h 598"/>
                <a:gd name="T88" fmla="*/ 322 w 530"/>
                <a:gd name="T89" fmla="*/ 99 h 598"/>
                <a:gd name="T90" fmla="*/ 299 w 530"/>
                <a:gd name="T91" fmla="*/ 99 h 598"/>
                <a:gd name="T92" fmla="*/ 331 w 530"/>
                <a:gd name="T93" fmla="*/ 64 h 598"/>
                <a:gd name="T94" fmla="*/ 322 w 530"/>
                <a:gd name="T95" fmla="*/ 55 h 598"/>
                <a:gd name="T96" fmla="*/ 309 w 530"/>
                <a:gd name="T97" fmla="*/ 25 h 5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0"/>
                <a:gd name="T148" fmla="*/ 0 h 598"/>
                <a:gd name="T149" fmla="*/ 530 w 530"/>
                <a:gd name="T150" fmla="*/ 598 h 5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0" h="598">
                  <a:moveTo>
                    <a:pt x="307" y="25"/>
                  </a:moveTo>
                  <a:lnTo>
                    <a:pt x="297" y="25"/>
                  </a:lnTo>
                  <a:lnTo>
                    <a:pt x="285" y="47"/>
                  </a:lnTo>
                  <a:lnTo>
                    <a:pt x="277" y="55"/>
                  </a:lnTo>
                  <a:lnTo>
                    <a:pt x="263" y="47"/>
                  </a:lnTo>
                  <a:lnTo>
                    <a:pt x="250" y="47"/>
                  </a:lnTo>
                  <a:lnTo>
                    <a:pt x="245" y="55"/>
                  </a:lnTo>
                  <a:lnTo>
                    <a:pt x="235" y="55"/>
                  </a:lnTo>
                  <a:lnTo>
                    <a:pt x="208" y="64"/>
                  </a:lnTo>
                  <a:lnTo>
                    <a:pt x="200" y="64"/>
                  </a:lnTo>
                  <a:lnTo>
                    <a:pt x="193" y="47"/>
                  </a:lnTo>
                  <a:lnTo>
                    <a:pt x="193" y="0"/>
                  </a:lnTo>
                  <a:lnTo>
                    <a:pt x="178" y="0"/>
                  </a:lnTo>
                  <a:lnTo>
                    <a:pt x="171" y="17"/>
                  </a:lnTo>
                  <a:lnTo>
                    <a:pt x="149" y="25"/>
                  </a:lnTo>
                  <a:lnTo>
                    <a:pt x="122" y="17"/>
                  </a:lnTo>
                  <a:lnTo>
                    <a:pt x="131" y="25"/>
                  </a:lnTo>
                  <a:lnTo>
                    <a:pt x="131" y="47"/>
                  </a:lnTo>
                  <a:lnTo>
                    <a:pt x="136" y="55"/>
                  </a:lnTo>
                  <a:lnTo>
                    <a:pt x="116" y="71"/>
                  </a:lnTo>
                  <a:lnTo>
                    <a:pt x="109" y="71"/>
                  </a:lnTo>
                  <a:lnTo>
                    <a:pt x="96" y="64"/>
                  </a:lnTo>
                  <a:lnTo>
                    <a:pt x="87" y="55"/>
                  </a:lnTo>
                  <a:lnTo>
                    <a:pt x="52" y="55"/>
                  </a:lnTo>
                  <a:lnTo>
                    <a:pt x="52" y="64"/>
                  </a:lnTo>
                  <a:lnTo>
                    <a:pt x="66" y="71"/>
                  </a:lnTo>
                  <a:lnTo>
                    <a:pt x="52" y="71"/>
                  </a:lnTo>
                  <a:lnTo>
                    <a:pt x="66" y="99"/>
                  </a:lnTo>
                  <a:lnTo>
                    <a:pt x="52" y="138"/>
                  </a:lnTo>
                  <a:lnTo>
                    <a:pt x="24" y="155"/>
                  </a:lnTo>
                  <a:lnTo>
                    <a:pt x="0" y="190"/>
                  </a:lnTo>
                  <a:lnTo>
                    <a:pt x="10" y="220"/>
                  </a:lnTo>
                  <a:lnTo>
                    <a:pt x="32" y="229"/>
                  </a:lnTo>
                  <a:lnTo>
                    <a:pt x="45" y="220"/>
                  </a:lnTo>
                  <a:lnTo>
                    <a:pt x="45" y="235"/>
                  </a:lnTo>
                  <a:lnTo>
                    <a:pt x="81" y="235"/>
                  </a:lnTo>
                  <a:lnTo>
                    <a:pt x="96" y="220"/>
                  </a:lnTo>
                  <a:lnTo>
                    <a:pt x="116" y="220"/>
                  </a:lnTo>
                  <a:lnTo>
                    <a:pt x="116" y="242"/>
                  </a:lnTo>
                  <a:lnTo>
                    <a:pt x="122" y="257"/>
                  </a:lnTo>
                  <a:lnTo>
                    <a:pt x="171" y="274"/>
                  </a:lnTo>
                  <a:lnTo>
                    <a:pt x="178" y="298"/>
                  </a:lnTo>
                  <a:lnTo>
                    <a:pt x="178" y="304"/>
                  </a:lnTo>
                  <a:lnTo>
                    <a:pt x="193" y="319"/>
                  </a:lnTo>
                  <a:lnTo>
                    <a:pt x="208" y="319"/>
                  </a:lnTo>
                  <a:lnTo>
                    <a:pt x="208" y="326"/>
                  </a:lnTo>
                  <a:lnTo>
                    <a:pt x="215" y="350"/>
                  </a:lnTo>
                  <a:lnTo>
                    <a:pt x="215" y="402"/>
                  </a:lnTo>
                  <a:lnTo>
                    <a:pt x="245" y="419"/>
                  </a:lnTo>
                  <a:lnTo>
                    <a:pt x="250" y="419"/>
                  </a:lnTo>
                  <a:lnTo>
                    <a:pt x="250" y="432"/>
                  </a:lnTo>
                  <a:lnTo>
                    <a:pt x="263" y="439"/>
                  </a:lnTo>
                  <a:lnTo>
                    <a:pt x="256" y="462"/>
                  </a:lnTo>
                  <a:lnTo>
                    <a:pt x="263" y="462"/>
                  </a:lnTo>
                  <a:lnTo>
                    <a:pt x="277" y="484"/>
                  </a:lnTo>
                  <a:lnTo>
                    <a:pt x="256" y="498"/>
                  </a:lnTo>
                  <a:lnTo>
                    <a:pt x="221" y="545"/>
                  </a:lnTo>
                  <a:lnTo>
                    <a:pt x="235" y="545"/>
                  </a:lnTo>
                  <a:lnTo>
                    <a:pt x="245" y="551"/>
                  </a:lnTo>
                  <a:lnTo>
                    <a:pt x="250" y="551"/>
                  </a:lnTo>
                  <a:lnTo>
                    <a:pt x="277" y="566"/>
                  </a:lnTo>
                  <a:lnTo>
                    <a:pt x="285" y="575"/>
                  </a:lnTo>
                  <a:lnTo>
                    <a:pt x="277" y="598"/>
                  </a:lnTo>
                  <a:lnTo>
                    <a:pt x="329" y="519"/>
                  </a:lnTo>
                  <a:lnTo>
                    <a:pt x="342" y="508"/>
                  </a:lnTo>
                  <a:lnTo>
                    <a:pt x="342" y="469"/>
                  </a:lnTo>
                  <a:lnTo>
                    <a:pt x="347" y="445"/>
                  </a:lnTo>
                  <a:lnTo>
                    <a:pt x="369" y="439"/>
                  </a:lnTo>
                  <a:lnTo>
                    <a:pt x="399" y="424"/>
                  </a:lnTo>
                  <a:lnTo>
                    <a:pt x="427" y="424"/>
                  </a:lnTo>
                  <a:lnTo>
                    <a:pt x="427" y="419"/>
                  </a:lnTo>
                  <a:lnTo>
                    <a:pt x="446" y="402"/>
                  </a:lnTo>
                  <a:lnTo>
                    <a:pt x="446" y="395"/>
                  </a:lnTo>
                  <a:lnTo>
                    <a:pt x="461" y="365"/>
                  </a:lnTo>
                  <a:lnTo>
                    <a:pt x="461" y="350"/>
                  </a:lnTo>
                  <a:lnTo>
                    <a:pt x="468" y="343"/>
                  </a:lnTo>
                  <a:lnTo>
                    <a:pt x="468" y="274"/>
                  </a:lnTo>
                  <a:lnTo>
                    <a:pt x="530" y="190"/>
                  </a:lnTo>
                  <a:lnTo>
                    <a:pt x="525" y="155"/>
                  </a:lnTo>
                  <a:lnTo>
                    <a:pt x="496" y="155"/>
                  </a:lnTo>
                  <a:lnTo>
                    <a:pt x="454" y="116"/>
                  </a:lnTo>
                  <a:lnTo>
                    <a:pt x="439" y="121"/>
                  </a:lnTo>
                  <a:lnTo>
                    <a:pt x="412" y="116"/>
                  </a:lnTo>
                  <a:lnTo>
                    <a:pt x="399" y="116"/>
                  </a:lnTo>
                  <a:lnTo>
                    <a:pt x="399" y="99"/>
                  </a:lnTo>
                  <a:lnTo>
                    <a:pt x="347" y="92"/>
                  </a:lnTo>
                  <a:lnTo>
                    <a:pt x="342" y="99"/>
                  </a:lnTo>
                  <a:lnTo>
                    <a:pt x="342" y="77"/>
                  </a:lnTo>
                  <a:lnTo>
                    <a:pt x="320" y="77"/>
                  </a:lnTo>
                  <a:lnTo>
                    <a:pt x="320" y="99"/>
                  </a:lnTo>
                  <a:lnTo>
                    <a:pt x="307" y="92"/>
                  </a:lnTo>
                  <a:lnTo>
                    <a:pt x="297" y="99"/>
                  </a:lnTo>
                  <a:lnTo>
                    <a:pt x="307" y="77"/>
                  </a:lnTo>
                  <a:lnTo>
                    <a:pt x="329" y="64"/>
                  </a:lnTo>
                  <a:lnTo>
                    <a:pt x="329" y="55"/>
                  </a:lnTo>
                  <a:lnTo>
                    <a:pt x="320" y="55"/>
                  </a:lnTo>
                  <a:lnTo>
                    <a:pt x="307" y="2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1" name="Freeform 57">
              <a:extLst>
                <a:ext uri="{FF2B5EF4-FFF2-40B4-BE49-F238E27FC236}">
                  <a16:creationId xmlns:a16="http://schemas.microsoft.com/office/drawing/2014/main" id="{56206EE9-15CE-5949-BBD1-2D6600D486D9}"/>
                </a:ext>
              </a:extLst>
            </p:cNvPr>
            <p:cNvSpPr>
              <a:spLocks/>
            </p:cNvSpPr>
            <p:nvPr/>
          </p:nvSpPr>
          <p:spPr bwMode="auto">
            <a:xfrm>
              <a:off x="5478923" y="4452762"/>
              <a:ext cx="60408" cy="104344"/>
            </a:xfrm>
            <a:custGeom>
              <a:avLst/>
              <a:gdLst>
                <a:gd name="T0" fmla="*/ 0 w 33"/>
                <a:gd name="T1" fmla="*/ 50 h 57"/>
                <a:gd name="T2" fmla="*/ 13 w 33"/>
                <a:gd name="T3" fmla="*/ 57 h 57"/>
                <a:gd name="T4" fmla="*/ 22 w 33"/>
                <a:gd name="T5" fmla="*/ 50 h 57"/>
                <a:gd name="T6" fmla="*/ 33 w 33"/>
                <a:gd name="T7" fmla="*/ 28 h 57"/>
                <a:gd name="T8" fmla="*/ 0 w 33"/>
                <a:gd name="T9" fmla="*/ 0 h 57"/>
                <a:gd name="T10" fmla="*/ 0 w 33"/>
                <a:gd name="T11" fmla="*/ 50 h 57"/>
                <a:gd name="T12" fmla="*/ 0 w 33"/>
                <a:gd name="T13" fmla="*/ 50 h 57"/>
                <a:gd name="T14" fmla="*/ 0 w 33"/>
                <a:gd name="T15" fmla="*/ 50 h 5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57"/>
                <a:gd name="T26" fmla="*/ 33 w 33"/>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57">
                  <a:moveTo>
                    <a:pt x="0" y="50"/>
                  </a:moveTo>
                  <a:lnTo>
                    <a:pt x="13" y="57"/>
                  </a:lnTo>
                  <a:lnTo>
                    <a:pt x="22" y="50"/>
                  </a:lnTo>
                  <a:lnTo>
                    <a:pt x="33" y="28"/>
                  </a:lnTo>
                  <a:lnTo>
                    <a:pt x="0" y="0"/>
                  </a:lnTo>
                  <a:lnTo>
                    <a:pt x="0" y="5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2" name="Freeform 58">
              <a:extLst>
                <a:ext uri="{FF2B5EF4-FFF2-40B4-BE49-F238E27FC236}">
                  <a16:creationId xmlns:a16="http://schemas.microsoft.com/office/drawing/2014/main" id="{096A926D-1BD7-F345-8D38-0EB28F7572F4}"/>
                </a:ext>
              </a:extLst>
            </p:cNvPr>
            <p:cNvSpPr>
              <a:spLocks/>
            </p:cNvSpPr>
            <p:nvPr/>
          </p:nvSpPr>
          <p:spPr bwMode="auto">
            <a:xfrm>
              <a:off x="5381905" y="4452762"/>
              <a:ext cx="97019" cy="104344"/>
            </a:xfrm>
            <a:custGeom>
              <a:avLst/>
              <a:gdLst>
                <a:gd name="T0" fmla="*/ 53 w 52"/>
                <a:gd name="T1" fmla="*/ 50 h 57"/>
                <a:gd name="T2" fmla="*/ 53 w 52"/>
                <a:gd name="T3" fmla="*/ 0 h 57"/>
                <a:gd name="T4" fmla="*/ 22 w 52"/>
                <a:gd name="T5" fmla="*/ 0 h 57"/>
                <a:gd name="T6" fmla="*/ 0 w 52"/>
                <a:gd name="T7" fmla="*/ 21 h 57"/>
                <a:gd name="T8" fmla="*/ 22 w 52"/>
                <a:gd name="T9" fmla="*/ 57 h 57"/>
                <a:gd name="T10" fmla="*/ 33 w 52"/>
                <a:gd name="T11" fmla="*/ 57 h 57"/>
                <a:gd name="T12" fmla="*/ 39 w 52"/>
                <a:gd name="T13" fmla="*/ 50 h 57"/>
                <a:gd name="T14" fmla="*/ 53 w 52"/>
                <a:gd name="T15" fmla="*/ 50 h 57"/>
                <a:gd name="T16" fmla="*/ 53 w 52"/>
                <a:gd name="T17" fmla="*/ 50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57"/>
                <a:gd name="T29" fmla="*/ 52 w 52"/>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57">
                  <a:moveTo>
                    <a:pt x="52" y="50"/>
                  </a:moveTo>
                  <a:lnTo>
                    <a:pt x="52" y="0"/>
                  </a:lnTo>
                  <a:lnTo>
                    <a:pt x="22" y="0"/>
                  </a:lnTo>
                  <a:lnTo>
                    <a:pt x="0" y="21"/>
                  </a:lnTo>
                  <a:lnTo>
                    <a:pt x="22" y="57"/>
                  </a:lnTo>
                  <a:lnTo>
                    <a:pt x="32" y="57"/>
                  </a:lnTo>
                  <a:lnTo>
                    <a:pt x="38" y="50"/>
                  </a:lnTo>
                  <a:lnTo>
                    <a:pt x="52" y="5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3" name="Freeform 59">
              <a:extLst>
                <a:ext uri="{FF2B5EF4-FFF2-40B4-BE49-F238E27FC236}">
                  <a16:creationId xmlns:a16="http://schemas.microsoft.com/office/drawing/2014/main" id="{5763B0F2-CB8B-6C4B-BF6C-6EE84620A7CA}"/>
                </a:ext>
              </a:extLst>
            </p:cNvPr>
            <p:cNvSpPr>
              <a:spLocks/>
            </p:cNvSpPr>
            <p:nvPr/>
          </p:nvSpPr>
          <p:spPr bwMode="auto">
            <a:xfrm>
              <a:off x="5305022" y="4370385"/>
              <a:ext cx="117154" cy="208688"/>
            </a:xfrm>
            <a:custGeom>
              <a:avLst/>
              <a:gdLst>
                <a:gd name="T0" fmla="*/ 24 w 64"/>
                <a:gd name="T1" fmla="*/ 0 h 113"/>
                <a:gd name="T2" fmla="*/ 37 w 64"/>
                <a:gd name="T3" fmla="*/ 17 h 113"/>
                <a:gd name="T4" fmla="*/ 37 w 64"/>
                <a:gd name="T5" fmla="*/ 23 h 113"/>
                <a:gd name="T6" fmla="*/ 44 w 64"/>
                <a:gd name="T7" fmla="*/ 23 h 113"/>
                <a:gd name="T8" fmla="*/ 64 w 64"/>
                <a:gd name="T9" fmla="*/ 40 h 113"/>
                <a:gd name="T10" fmla="*/ 44 w 64"/>
                <a:gd name="T11" fmla="*/ 63 h 113"/>
                <a:gd name="T12" fmla="*/ 64 w 64"/>
                <a:gd name="T13" fmla="*/ 103 h 113"/>
                <a:gd name="T14" fmla="*/ 37 w 64"/>
                <a:gd name="T15" fmla="*/ 114 h 113"/>
                <a:gd name="T16" fmla="*/ 32 w 64"/>
                <a:gd name="T17" fmla="*/ 114 h 113"/>
                <a:gd name="T18" fmla="*/ 24 w 64"/>
                <a:gd name="T19" fmla="*/ 95 h 113"/>
                <a:gd name="T20" fmla="*/ 24 w 64"/>
                <a:gd name="T21" fmla="*/ 47 h 113"/>
                <a:gd name="T22" fmla="*/ 8 w 64"/>
                <a:gd name="T23" fmla="*/ 47 h 113"/>
                <a:gd name="T24" fmla="*/ 0 w 64"/>
                <a:gd name="T25" fmla="*/ 40 h 113"/>
                <a:gd name="T26" fmla="*/ 0 w 64"/>
                <a:gd name="T27" fmla="*/ 23 h 113"/>
                <a:gd name="T28" fmla="*/ 8 w 64"/>
                <a:gd name="T29" fmla="*/ 23 h 113"/>
                <a:gd name="T30" fmla="*/ 8 w 64"/>
                <a:gd name="T31" fmla="*/ 17 h 113"/>
                <a:gd name="T32" fmla="*/ 24 w 64"/>
                <a:gd name="T33" fmla="*/ 0 h 113"/>
                <a:gd name="T34" fmla="*/ 24 w 64"/>
                <a:gd name="T35" fmla="*/ 0 h 113"/>
                <a:gd name="T36" fmla="*/ 24 w 64"/>
                <a:gd name="T37" fmla="*/ 0 h 1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113"/>
                <a:gd name="T59" fmla="*/ 64 w 64"/>
                <a:gd name="T60" fmla="*/ 113 h 1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113">
                  <a:moveTo>
                    <a:pt x="24" y="0"/>
                  </a:moveTo>
                  <a:lnTo>
                    <a:pt x="37" y="17"/>
                  </a:lnTo>
                  <a:lnTo>
                    <a:pt x="37" y="23"/>
                  </a:lnTo>
                  <a:lnTo>
                    <a:pt x="44" y="23"/>
                  </a:lnTo>
                  <a:lnTo>
                    <a:pt x="64" y="40"/>
                  </a:lnTo>
                  <a:lnTo>
                    <a:pt x="44" y="62"/>
                  </a:lnTo>
                  <a:lnTo>
                    <a:pt x="64" y="102"/>
                  </a:lnTo>
                  <a:lnTo>
                    <a:pt x="37" y="113"/>
                  </a:lnTo>
                  <a:lnTo>
                    <a:pt x="32" y="113"/>
                  </a:lnTo>
                  <a:lnTo>
                    <a:pt x="24" y="94"/>
                  </a:lnTo>
                  <a:lnTo>
                    <a:pt x="24" y="47"/>
                  </a:lnTo>
                  <a:lnTo>
                    <a:pt x="8" y="47"/>
                  </a:lnTo>
                  <a:lnTo>
                    <a:pt x="0" y="40"/>
                  </a:lnTo>
                  <a:lnTo>
                    <a:pt x="0" y="23"/>
                  </a:lnTo>
                  <a:lnTo>
                    <a:pt x="8" y="23"/>
                  </a:lnTo>
                  <a:lnTo>
                    <a:pt x="8" y="17"/>
                  </a:lnTo>
                  <a:lnTo>
                    <a:pt x="24"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4" name="Freeform 60">
              <a:extLst>
                <a:ext uri="{FF2B5EF4-FFF2-40B4-BE49-F238E27FC236}">
                  <a16:creationId xmlns:a16="http://schemas.microsoft.com/office/drawing/2014/main" id="{FAE33BC6-DDA5-D04B-8699-F76925AF5F91}"/>
                </a:ext>
              </a:extLst>
            </p:cNvPr>
            <p:cNvSpPr>
              <a:spLocks/>
            </p:cNvSpPr>
            <p:nvPr/>
          </p:nvSpPr>
          <p:spPr bwMode="auto">
            <a:xfrm>
              <a:off x="5012136" y="4280685"/>
              <a:ext cx="336819" cy="307541"/>
            </a:xfrm>
            <a:custGeom>
              <a:avLst/>
              <a:gdLst>
                <a:gd name="T0" fmla="*/ 184 w 183"/>
                <a:gd name="T1" fmla="*/ 52 h 167"/>
                <a:gd name="T2" fmla="*/ 168 w 183"/>
                <a:gd name="T3" fmla="*/ 69 h 167"/>
                <a:gd name="T4" fmla="*/ 168 w 183"/>
                <a:gd name="T5" fmla="*/ 76 h 167"/>
                <a:gd name="T6" fmla="*/ 162 w 183"/>
                <a:gd name="T7" fmla="*/ 76 h 167"/>
                <a:gd name="T8" fmla="*/ 162 w 183"/>
                <a:gd name="T9" fmla="*/ 94 h 167"/>
                <a:gd name="T10" fmla="*/ 168 w 183"/>
                <a:gd name="T11" fmla="*/ 97 h 167"/>
                <a:gd name="T12" fmla="*/ 162 w 183"/>
                <a:gd name="T13" fmla="*/ 115 h 167"/>
                <a:gd name="T14" fmla="*/ 138 w 183"/>
                <a:gd name="T15" fmla="*/ 122 h 167"/>
                <a:gd name="T16" fmla="*/ 113 w 183"/>
                <a:gd name="T17" fmla="*/ 115 h 167"/>
                <a:gd name="T18" fmla="*/ 120 w 183"/>
                <a:gd name="T19" fmla="*/ 122 h 167"/>
                <a:gd name="T20" fmla="*/ 120 w 183"/>
                <a:gd name="T21" fmla="*/ 144 h 167"/>
                <a:gd name="T22" fmla="*/ 127 w 183"/>
                <a:gd name="T23" fmla="*/ 151 h 167"/>
                <a:gd name="T24" fmla="*/ 106 w 183"/>
                <a:gd name="T25" fmla="*/ 168 h 167"/>
                <a:gd name="T26" fmla="*/ 98 w 183"/>
                <a:gd name="T27" fmla="*/ 168 h 167"/>
                <a:gd name="T28" fmla="*/ 85 w 183"/>
                <a:gd name="T29" fmla="*/ 159 h 167"/>
                <a:gd name="T30" fmla="*/ 75 w 183"/>
                <a:gd name="T31" fmla="*/ 151 h 167"/>
                <a:gd name="T32" fmla="*/ 75 w 183"/>
                <a:gd name="T33" fmla="*/ 129 h 167"/>
                <a:gd name="T34" fmla="*/ 70 w 183"/>
                <a:gd name="T35" fmla="*/ 115 h 167"/>
                <a:gd name="T36" fmla="*/ 75 w 183"/>
                <a:gd name="T37" fmla="*/ 85 h 167"/>
                <a:gd name="T38" fmla="*/ 55 w 183"/>
                <a:gd name="T39" fmla="*/ 85 h 167"/>
                <a:gd name="T40" fmla="*/ 43 w 183"/>
                <a:gd name="T41" fmla="*/ 76 h 167"/>
                <a:gd name="T42" fmla="*/ 22 w 183"/>
                <a:gd name="T43" fmla="*/ 76 h 167"/>
                <a:gd name="T44" fmla="*/ 12 w 183"/>
                <a:gd name="T45" fmla="*/ 69 h 167"/>
                <a:gd name="T46" fmla="*/ 12 w 183"/>
                <a:gd name="T47" fmla="*/ 52 h 167"/>
                <a:gd name="T48" fmla="*/ 0 w 183"/>
                <a:gd name="T49" fmla="*/ 37 h 167"/>
                <a:gd name="T50" fmla="*/ 22 w 183"/>
                <a:gd name="T51" fmla="*/ 9 h 167"/>
                <a:gd name="T52" fmla="*/ 27 w 183"/>
                <a:gd name="T53" fmla="*/ 22 h 167"/>
                <a:gd name="T54" fmla="*/ 22 w 183"/>
                <a:gd name="T55" fmla="*/ 29 h 167"/>
                <a:gd name="T56" fmla="*/ 22 w 183"/>
                <a:gd name="T57" fmla="*/ 46 h 167"/>
                <a:gd name="T58" fmla="*/ 27 w 183"/>
                <a:gd name="T59" fmla="*/ 37 h 167"/>
                <a:gd name="T60" fmla="*/ 27 w 183"/>
                <a:gd name="T61" fmla="*/ 22 h 167"/>
                <a:gd name="T62" fmla="*/ 43 w 183"/>
                <a:gd name="T63" fmla="*/ 9 h 167"/>
                <a:gd name="T64" fmla="*/ 43 w 183"/>
                <a:gd name="T65" fmla="*/ 0 h 167"/>
                <a:gd name="T66" fmla="*/ 43 w 183"/>
                <a:gd name="T67" fmla="*/ 9 h 167"/>
                <a:gd name="T68" fmla="*/ 70 w 183"/>
                <a:gd name="T69" fmla="*/ 9 h 167"/>
                <a:gd name="T70" fmla="*/ 70 w 183"/>
                <a:gd name="T71" fmla="*/ 22 h 167"/>
                <a:gd name="T72" fmla="*/ 98 w 183"/>
                <a:gd name="T73" fmla="*/ 22 h 167"/>
                <a:gd name="T74" fmla="*/ 113 w 183"/>
                <a:gd name="T75" fmla="*/ 29 h 167"/>
                <a:gd name="T76" fmla="*/ 127 w 183"/>
                <a:gd name="T77" fmla="*/ 22 h 167"/>
                <a:gd name="T78" fmla="*/ 148 w 183"/>
                <a:gd name="T79" fmla="*/ 22 h 167"/>
                <a:gd name="T80" fmla="*/ 138 w 183"/>
                <a:gd name="T81" fmla="*/ 22 h 167"/>
                <a:gd name="T82" fmla="*/ 162 w 183"/>
                <a:gd name="T83" fmla="*/ 37 h 167"/>
                <a:gd name="T84" fmla="*/ 162 w 183"/>
                <a:gd name="T85" fmla="*/ 52 h 167"/>
                <a:gd name="T86" fmla="*/ 168 w 183"/>
                <a:gd name="T87" fmla="*/ 46 h 167"/>
                <a:gd name="T88" fmla="*/ 184 w 183"/>
                <a:gd name="T89" fmla="*/ 52 h 167"/>
                <a:gd name="T90" fmla="*/ 184 w 183"/>
                <a:gd name="T91" fmla="*/ 52 h 167"/>
                <a:gd name="T92" fmla="*/ 184 w 183"/>
                <a:gd name="T93" fmla="*/ 52 h 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3"/>
                <a:gd name="T142" fmla="*/ 0 h 167"/>
                <a:gd name="T143" fmla="*/ 183 w 183"/>
                <a:gd name="T144" fmla="*/ 167 h 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3" h="167">
                  <a:moveTo>
                    <a:pt x="183" y="52"/>
                  </a:moveTo>
                  <a:lnTo>
                    <a:pt x="167" y="69"/>
                  </a:lnTo>
                  <a:lnTo>
                    <a:pt x="167" y="76"/>
                  </a:lnTo>
                  <a:lnTo>
                    <a:pt x="161" y="76"/>
                  </a:lnTo>
                  <a:lnTo>
                    <a:pt x="161" y="93"/>
                  </a:lnTo>
                  <a:lnTo>
                    <a:pt x="167" y="96"/>
                  </a:lnTo>
                  <a:lnTo>
                    <a:pt x="161" y="114"/>
                  </a:lnTo>
                  <a:lnTo>
                    <a:pt x="137" y="121"/>
                  </a:lnTo>
                  <a:lnTo>
                    <a:pt x="112" y="114"/>
                  </a:lnTo>
                  <a:lnTo>
                    <a:pt x="119" y="121"/>
                  </a:lnTo>
                  <a:lnTo>
                    <a:pt x="119" y="143"/>
                  </a:lnTo>
                  <a:lnTo>
                    <a:pt x="126" y="150"/>
                  </a:lnTo>
                  <a:lnTo>
                    <a:pt x="105" y="167"/>
                  </a:lnTo>
                  <a:lnTo>
                    <a:pt x="97" y="167"/>
                  </a:lnTo>
                  <a:lnTo>
                    <a:pt x="85" y="158"/>
                  </a:lnTo>
                  <a:lnTo>
                    <a:pt x="75" y="150"/>
                  </a:lnTo>
                  <a:lnTo>
                    <a:pt x="75" y="128"/>
                  </a:lnTo>
                  <a:lnTo>
                    <a:pt x="70" y="114"/>
                  </a:lnTo>
                  <a:lnTo>
                    <a:pt x="75" y="84"/>
                  </a:lnTo>
                  <a:lnTo>
                    <a:pt x="55" y="84"/>
                  </a:lnTo>
                  <a:lnTo>
                    <a:pt x="43" y="76"/>
                  </a:lnTo>
                  <a:lnTo>
                    <a:pt x="22" y="76"/>
                  </a:lnTo>
                  <a:lnTo>
                    <a:pt x="12" y="69"/>
                  </a:lnTo>
                  <a:lnTo>
                    <a:pt x="12" y="52"/>
                  </a:lnTo>
                  <a:lnTo>
                    <a:pt x="0" y="37"/>
                  </a:lnTo>
                  <a:lnTo>
                    <a:pt x="22" y="9"/>
                  </a:lnTo>
                  <a:lnTo>
                    <a:pt x="27" y="22"/>
                  </a:lnTo>
                  <a:lnTo>
                    <a:pt x="22" y="29"/>
                  </a:lnTo>
                  <a:lnTo>
                    <a:pt x="22" y="46"/>
                  </a:lnTo>
                  <a:lnTo>
                    <a:pt x="27" y="37"/>
                  </a:lnTo>
                  <a:lnTo>
                    <a:pt x="27" y="22"/>
                  </a:lnTo>
                  <a:lnTo>
                    <a:pt x="43" y="9"/>
                  </a:lnTo>
                  <a:lnTo>
                    <a:pt x="43" y="0"/>
                  </a:lnTo>
                  <a:lnTo>
                    <a:pt x="43" y="9"/>
                  </a:lnTo>
                  <a:lnTo>
                    <a:pt x="70" y="9"/>
                  </a:lnTo>
                  <a:lnTo>
                    <a:pt x="70" y="22"/>
                  </a:lnTo>
                  <a:lnTo>
                    <a:pt x="97" y="22"/>
                  </a:lnTo>
                  <a:lnTo>
                    <a:pt x="112" y="29"/>
                  </a:lnTo>
                  <a:lnTo>
                    <a:pt x="126" y="22"/>
                  </a:lnTo>
                  <a:lnTo>
                    <a:pt x="147" y="22"/>
                  </a:lnTo>
                  <a:lnTo>
                    <a:pt x="137" y="22"/>
                  </a:lnTo>
                  <a:lnTo>
                    <a:pt x="161" y="37"/>
                  </a:lnTo>
                  <a:lnTo>
                    <a:pt x="161" y="52"/>
                  </a:lnTo>
                  <a:lnTo>
                    <a:pt x="167" y="46"/>
                  </a:lnTo>
                  <a:lnTo>
                    <a:pt x="183" y="52"/>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5" name="Freeform 61">
              <a:extLst>
                <a:ext uri="{FF2B5EF4-FFF2-40B4-BE49-F238E27FC236}">
                  <a16:creationId xmlns:a16="http://schemas.microsoft.com/office/drawing/2014/main" id="{36A97250-3B2A-E147-BA27-E7B70B6C68AA}"/>
                </a:ext>
              </a:extLst>
            </p:cNvPr>
            <p:cNvSpPr>
              <a:spLocks/>
            </p:cNvSpPr>
            <p:nvPr/>
          </p:nvSpPr>
          <p:spPr bwMode="auto">
            <a:xfrm>
              <a:off x="5052408" y="4062844"/>
              <a:ext cx="87866" cy="67732"/>
            </a:xfrm>
            <a:custGeom>
              <a:avLst/>
              <a:gdLst>
                <a:gd name="T0" fmla="*/ 0 w 48"/>
                <a:gd name="T1" fmla="*/ 28 h 37"/>
                <a:gd name="T2" fmla="*/ 0 w 48"/>
                <a:gd name="T3" fmla="*/ 0 h 37"/>
                <a:gd name="T4" fmla="*/ 21 w 48"/>
                <a:gd name="T5" fmla="*/ 0 h 37"/>
                <a:gd name="T6" fmla="*/ 21 w 48"/>
                <a:gd name="T7" fmla="*/ 7 h 37"/>
                <a:gd name="T8" fmla="*/ 35 w 48"/>
                <a:gd name="T9" fmla="*/ 7 h 37"/>
                <a:gd name="T10" fmla="*/ 48 w 48"/>
                <a:gd name="T11" fmla="*/ 22 h 37"/>
                <a:gd name="T12" fmla="*/ 42 w 48"/>
                <a:gd name="T13" fmla="*/ 28 h 37"/>
                <a:gd name="T14" fmla="*/ 42 w 48"/>
                <a:gd name="T15" fmla="*/ 22 h 37"/>
                <a:gd name="T16" fmla="*/ 13 w 48"/>
                <a:gd name="T17" fmla="*/ 28 h 37"/>
                <a:gd name="T18" fmla="*/ 13 w 48"/>
                <a:gd name="T19" fmla="*/ 22 h 37"/>
                <a:gd name="T20" fmla="*/ 6 w 48"/>
                <a:gd name="T21" fmla="*/ 28 h 37"/>
                <a:gd name="T22" fmla="*/ 6 w 48"/>
                <a:gd name="T23" fmla="*/ 37 h 37"/>
                <a:gd name="T24" fmla="*/ 0 w 48"/>
                <a:gd name="T25" fmla="*/ 28 h 37"/>
                <a:gd name="T26" fmla="*/ 0 w 48"/>
                <a:gd name="T27" fmla="*/ 28 h 37"/>
                <a:gd name="T28" fmla="*/ 0 w 48"/>
                <a:gd name="T29" fmla="*/ 28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37"/>
                <a:gd name="T47" fmla="*/ 48 w 48"/>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37">
                  <a:moveTo>
                    <a:pt x="0" y="28"/>
                  </a:moveTo>
                  <a:lnTo>
                    <a:pt x="0" y="0"/>
                  </a:lnTo>
                  <a:lnTo>
                    <a:pt x="21" y="0"/>
                  </a:lnTo>
                  <a:lnTo>
                    <a:pt x="21" y="7"/>
                  </a:lnTo>
                  <a:lnTo>
                    <a:pt x="35" y="7"/>
                  </a:lnTo>
                  <a:lnTo>
                    <a:pt x="48" y="22"/>
                  </a:lnTo>
                  <a:lnTo>
                    <a:pt x="42" y="28"/>
                  </a:lnTo>
                  <a:lnTo>
                    <a:pt x="42" y="22"/>
                  </a:lnTo>
                  <a:lnTo>
                    <a:pt x="13" y="28"/>
                  </a:lnTo>
                  <a:lnTo>
                    <a:pt x="13" y="22"/>
                  </a:lnTo>
                  <a:lnTo>
                    <a:pt x="6" y="28"/>
                  </a:lnTo>
                  <a:lnTo>
                    <a:pt x="6" y="37"/>
                  </a:lnTo>
                  <a:lnTo>
                    <a:pt x="0" y="28"/>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6" name="Freeform 62">
              <a:extLst>
                <a:ext uri="{FF2B5EF4-FFF2-40B4-BE49-F238E27FC236}">
                  <a16:creationId xmlns:a16="http://schemas.microsoft.com/office/drawing/2014/main" id="{2DCFF591-E3C8-A24F-8E62-0E791233B253}"/>
                </a:ext>
              </a:extLst>
            </p:cNvPr>
            <p:cNvSpPr>
              <a:spLocks/>
            </p:cNvSpPr>
            <p:nvPr/>
          </p:nvSpPr>
          <p:spPr bwMode="auto">
            <a:xfrm>
              <a:off x="4984678" y="4062844"/>
              <a:ext cx="67730" cy="45765"/>
            </a:xfrm>
            <a:custGeom>
              <a:avLst/>
              <a:gdLst>
                <a:gd name="T0" fmla="*/ 37 w 37"/>
                <a:gd name="T1" fmla="*/ 25 h 25"/>
                <a:gd name="T2" fmla="*/ 37 w 37"/>
                <a:gd name="T3" fmla="*/ 0 h 25"/>
                <a:gd name="T4" fmla="*/ 15 w 37"/>
                <a:gd name="T5" fmla="*/ 0 h 25"/>
                <a:gd name="T6" fmla="*/ 27 w 37"/>
                <a:gd name="T7" fmla="*/ 22 h 25"/>
                <a:gd name="T8" fmla="*/ 0 w 37"/>
                <a:gd name="T9" fmla="*/ 25 h 25"/>
                <a:gd name="T10" fmla="*/ 37 w 37"/>
                <a:gd name="T11" fmla="*/ 25 h 25"/>
                <a:gd name="T12" fmla="*/ 37 w 37"/>
                <a:gd name="T13" fmla="*/ 25 h 25"/>
                <a:gd name="T14" fmla="*/ 0 60000 65536"/>
                <a:gd name="T15" fmla="*/ 0 60000 65536"/>
                <a:gd name="T16" fmla="*/ 0 60000 65536"/>
                <a:gd name="T17" fmla="*/ 0 60000 65536"/>
                <a:gd name="T18" fmla="*/ 0 60000 65536"/>
                <a:gd name="T19" fmla="*/ 0 60000 65536"/>
                <a:gd name="T20" fmla="*/ 0 60000 65536"/>
                <a:gd name="T21" fmla="*/ 0 w 37"/>
                <a:gd name="T22" fmla="*/ 0 h 25"/>
                <a:gd name="T23" fmla="*/ 37 w 3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25">
                  <a:moveTo>
                    <a:pt x="37" y="25"/>
                  </a:moveTo>
                  <a:lnTo>
                    <a:pt x="37" y="0"/>
                  </a:lnTo>
                  <a:lnTo>
                    <a:pt x="15" y="0"/>
                  </a:lnTo>
                  <a:lnTo>
                    <a:pt x="27" y="22"/>
                  </a:lnTo>
                  <a:lnTo>
                    <a:pt x="0" y="25"/>
                  </a:lnTo>
                  <a:lnTo>
                    <a:pt x="37" y="25"/>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7" name="Freeform 63">
              <a:extLst>
                <a:ext uri="{FF2B5EF4-FFF2-40B4-BE49-F238E27FC236}">
                  <a16:creationId xmlns:a16="http://schemas.microsoft.com/office/drawing/2014/main" id="{11269DB2-4202-B249-A94D-9C570F6A1928}"/>
                </a:ext>
              </a:extLst>
            </p:cNvPr>
            <p:cNvSpPr>
              <a:spLocks/>
            </p:cNvSpPr>
            <p:nvPr/>
          </p:nvSpPr>
          <p:spPr bwMode="auto">
            <a:xfrm>
              <a:off x="5376413" y="5457761"/>
              <a:ext cx="148274" cy="139126"/>
            </a:xfrm>
            <a:custGeom>
              <a:avLst/>
              <a:gdLst>
                <a:gd name="T0" fmla="*/ 73 w 80"/>
                <a:gd name="T1" fmla="*/ 54 h 75"/>
                <a:gd name="T2" fmla="*/ 81 w 80"/>
                <a:gd name="T3" fmla="*/ 30 h 75"/>
                <a:gd name="T4" fmla="*/ 73 w 80"/>
                <a:gd name="T5" fmla="*/ 21 h 75"/>
                <a:gd name="T6" fmla="*/ 44 w 80"/>
                <a:gd name="T7" fmla="*/ 6 h 75"/>
                <a:gd name="T8" fmla="*/ 36 w 80"/>
                <a:gd name="T9" fmla="*/ 6 h 75"/>
                <a:gd name="T10" fmla="*/ 26 w 80"/>
                <a:gd name="T11" fmla="*/ 0 h 75"/>
                <a:gd name="T12" fmla="*/ 13 w 80"/>
                <a:gd name="T13" fmla="*/ 0 h 75"/>
                <a:gd name="T14" fmla="*/ 0 w 80"/>
                <a:gd name="T15" fmla="*/ 59 h 75"/>
                <a:gd name="T16" fmla="*/ 6 w 80"/>
                <a:gd name="T17" fmla="*/ 59 h 75"/>
                <a:gd name="T18" fmla="*/ 36 w 80"/>
                <a:gd name="T19" fmla="*/ 76 h 75"/>
                <a:gd name="T20" fmla="*/ 59 w 80"/>
                <a:gd name="T21" fmla="*/ 76 h 75"/>
                <a:gd name="T22" fmla="*/ 73 w 80"/>
                <a:gd name="T23" fmla="*/ 54 h 75"/>
                <a:gd name="T24" fmla="*/ 73 w 80"/>
                <a:gd name="T25" fmla="*/ 54 h 75"/>
                <a:gd name="T26" fmla="*/ 73 w 80"/>
                <a:gd name="T27" fmla="*/ 54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75"/>
                <a:gd name="T44" fmla="*/ 80 w 80"/>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75">
                  <a:moveTo>
                    <a:pt x="72" y="53"/>
                  </a:moveTo>
                  <a:lnTo>
                    <a:pt x="80" y="30"/>
                  </a:lnTo>
                  <a:lnTo>
                    <a:pt x="72" y="21"/>
                  </a:lnTo>
                  <a:lnTo>
                    <a:pt x="43" y="6"/>
                  </a:lnTo>
                  <a:lnTo>
                    <a:pt x="36" y="6"/>
                  </a:lnTo>
                  <a:lnTo>
                    <a:pt x="26" y="0"/>
                  </a:lnTo>
                  <a:lnTo>
                    <a:pt x="13" y="0"/>
                  </a:lnTo>
                  <a:lnTo>
                    <a:pt x="0" y="58"/>
                  </a:lnTo>
                  <a:lnTo>
                    <a:pt x="6" y="58"/>
                  </a:lnTo>
                  <a:lnTo>
                    <a:pt x="36" y="75"/>
                  </a:lnTo>
                  <a:lnTo>
                    <a:pt x="58" y="75"/>
                  </a:lnTo>
                  <a:lnTo>
                    <a:pt x="72" y="53"/>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8" name="Freeform 64">
              <a:extLst>
                <a:ext uri="{FF2B5EF4-FFF2-40B4-BE49-F238E27FC236}">
                  <a16:creationId xmlns:a16="http://schemas.microsoft.com/office/drawing/2014/main" id="{E653465C-304B-394C-A23D-4222A3C7ABB7}"/>
                </a:ext>
              </a:extLst>
            </p:cNvPr>
            <p:cNvSpPr>
              <a:spLocks/>
            </p:cNvSpPr>
            <p:nvPr/>
          </p:nvSpPr>
          <p:spPr bwMode="auto">
            <a:xfrm>
              <a:off x="4891320" y="4104947"/>
              <a:ext cx="38441" cy="47596"/>
            </a:xfrm>
            <a:custGeom>
              <a:avLst/>
              <a:gdLst>
                <a:gd name="T0" fmla="*/ 0 w 21"/>
                <a:gd name="T1" fmla="*/ 10 h 26"/>
                <a:gd name="T2" fmla="*/ 13 w 21"/>
                <a:gd name="T3" fmla="*/ 26 h 26"/>
                <a:gd name="T4" fmla="*/ 21 w 21"/>
                <a:gd name="T5" fmla="*/ 10 h 26"/>
                <a:gd name="T6" fmla="*/ 6 w 21"/>
                <a:gd name="T7" fmla="*/ 0 h 26"/>
                <a:gd name="T8" fmla="*/ 0 w 21"/>
                <a:gd name="T9" fmla="*/ 10 h 26"/>
                <a:gd name="T10" fmla="*/ 0 w 21"/>
                <a:gd name="T11" fmla="*/ 10 h 26"/>
                <a:gd name="T12" fmla="*/ 0 w 21"/>
                <a:gd name="T13" fmla="*/ 10 h 26"/>
                <a:gd name="T14" fmla="*/ 0 60000 65536"/>
                <a:gd name="T15" fmla="*/ 0 60000 65536"/>
                <a:gd name="T16" fmla="*/ 0 60000 65536"/>
                <a:gd name="T17" fmla="*/ 0 60000 65536"/>
                <a:gd name="T18" fmla="*/ 0 60000 65536"/>
                <a:gd name="T19" fmla="*/ 0 60000 65536"/>
                <a:gd name="T20" fmla="*/ 0 60000 65536"/>
                <a:gd name="T21" fmla="*/ 0 w 21"/>
                <a:gd name="T22" fmla="*/ 0 h 26"/>
                <a:gd name="T23" fmla="*/ 21 w 2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6">
                  <a:moveTo>
                    <a:pt x="0" y="10"/>
                  </a:moveTo>
                  <a:lnTo>
                    <a:pt x="13" y="26"/>
                  </a:lnTo>
                  <a:lnTo>
                    <a:pt x="21" y="10"/>
                  </a:lnTo>
                  <a:lnTo>
                    <a:pt x="6" y="0"/>
                  </a:lnTo>
                  <a:lnTo>
                    <a:pt x="0" y="1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09" name="Freeform 65">
              <a:extLst>
                <a:ext uri="{FF2B5EF4-FFF2-40B4-BE49-F238E27FC236}">
                  <a16:creationId xmlns:a16="http://schemas.microsoft.com/office/drawing/2014/main" id="{D3F1BCA4-927F-D949-8DBB-5A17C78AAF03}"/>
                </a:ext>
              </a:extLst>
            </p:cNvPr>
            <p:cNvSpPr>
              <a:spLocks/>
            </p:cNvSpPr>
            <p:nvPr/>
          </p:nvSpPr>
          <p:spPr bwMode="auto">
            <a:xfrm>
              <a:off x="4733894" y="3967652"/>
              <a:ext cx="247123" cy="95191"/>
            </a:xfrm>
            <a:custGeom>
              <a:avLst/>
              <a:gdLst>
                <a:gd name="T0" fmla="*/ 0 w 134"/>
                <a:gd name="T1" fmla="*/ 22 h 52"/>
                <a:gd name="T2" fmla="*/ 7 w 134"/>
                <a:gd name="T3" fmla="*/ 22 h 52"/>
                <a:gd name="T4" fmla="*/ 22 w 134"/>
                <a:gd name="T5" fmla="*/ 6 h 52"/>
                <a:gd name="T6" fmla="*/ 44 w 134"/>
                <a:gd name="T7" fmla="*/ 13 h 52"/>
                <a:gd name="T8" fmla="*/ 35 w 134"/>
                <a:gd name="T9" fmla="*/ 13 h 52"/>
                <a:gd name="T10" fmla="*/ 44 w 134"/>
                <a:gd name="T11" fmla="*/ 13 h 52"/>
                <a:gd name="T12" fmla="*/ 78 w 134"/>
                <a:gd name="T13" fmla="*/ 22 h 52"/>
                <a:gd name="T14" fmla="*/ 87 w 134"/>
                <a:gd name="T15" fmla="*/ 45 h 52"/>
                <a:gd name="T16" fmla="*/ 100 w 134"/>
                <a:gd name="T17" fmla="*/ 45 h 52"/>
                <a:gd name="T18" fmla="*/ 95 w 134"/>
                <a:gd name="T19" fmla="*/ 52 h 52"/>
                <a:gd name="T20" fmla="*/ 135 w 134"/>
                <a:gd name="T21" fmla="*/ 52 h 52"/>
                <a:gd name="T22" fmla="*/ 128 w 134"/>
                <a:gd name="T23" fmla="*/ 45 h 52"/>
                <a:gd name="T24" fmla="*/ 122 w 134"/>
                <a:gd name="T25" fmla="*/ 45 h 52"/>
                <a:gd name="T26" fmla="*/ 122 w 134"/>
                <a:gd name="T27" fmla="*/ 28 h 52"/>
                <a:gd name="T28" fmla="*/ 44 w 134"/>
                <a:gd name="T29" fmla="*/ 0 h 52"/>
                <a:gd name="T30" fmla="*/ 14 w 134"/>
                <a:gd name="T31" fmla="*/ 6 h 52"/>
                <a:gd name="T32" fmla="*/ 0 w 134"/>
                <a:gd name="T33" fmla="*/ 22 h 52"/>
                <a:gd name="T34" fmla="*/ 0 w 134"/>
                <a:gd name="T35" fmla="*/ 22 h 52"/>
                <a:gd name="T36" fmla="*/ 0 w 134"/>
                <a:gd name="T37" fmla="*/ 22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4"/>
                <a:gd name="T58" fmla="*/ 0 h 52"/>
                <a:gd name="T59" fmla="*/ 134 w 134"/>
                <a:gd name="T60" fmla="*/ 52 h 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4" h="52">
                  <a:moveTo>
                    <a:pt x="0" y="22"/>
                  </a:moveTo>
                  <a:lnTo>
                    <a:pt x="7" y="22"/>
                  </a:lnTo>
                  <a:lnTo>
                    <a:pt x="22" y="6"/>
                  </a:lnTo>
                  <a:lnTo>
                    <a:pt x="44" y="13"/>
                  </a:lnTo>
                  <a:lnTo>
                    <a:pt x="35" y="13"/>
                  </a:lnTo>
                  <a:lnTo>
                    <a:pt x="44" y="13"/>
                  </a:lnTo>
                  <a:lnTo>
                    <a:pt x="77" y="22"/>
                  </a:lnTo>
                  <a:lnTo>
                    <a:pt x="86" y="45"/>
                  </a:lnTo>
                  <a:lnTo>
                    <a:pt x="99" y="45"/>
                  </a:lnTo>
                  <a:lnTo>
                    <a:pt x="94" y="52"/>
                  </a:lnTo>
                  <a:lnTo>
                    <a:pt x="134" y="52"/>
                  </a:lnTo>
                  <a:lnTo>
                    <a:pt x="127" y="45"/>
                  </a:lnTo>
                  <a:lnTo>
                    <a:pt x="121" y="45"/>
                  </a:lnTo>
                  <a:lnTo>
                    <a:pt x="121" y="28"/>
                  </a:lnTo>
                  <a:lnTo>
                    <a:pt x="44" y="0"/>
                  </a:lnTo>
                  <a:lnTo>
                    <a:pt x="14" y="6"/>
                  </a:lnTo>
                  <a:lnTo>
                    <a:pt x="0" y="22"/>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10" name="Freeform 66">
              <a:extLst>
                <a:ext uri="{FF2B5EF4-FFF2-40B4-BE49-F238E27FC236}">
                  <a16:creationId xmlns:a16="http://schemas.microsoft.com/office/drawing/2014/main" id="{EAB53857-EF14-0241-9292-8164F498BF7F}"/>
                </a:ext>
              </a:extLst>
            </p:cNvPr>
            <p:cNvSpPr>
              <a:spLocks/>
            </p:cNvSpPr>
            <p:nvPr/>
          </p:nvSpPr>
          <p:spPr bwMode="auto">
            <a:xfrm>
              <a:off x="4911456" y="3899920"/>
              <a:ext cx="47594" cy="49426"/>
            </a:xfrm>
            <a:custGeom>
              <a:avLst/>
              <a:gdLst>
                <a:gd name="T0" fmla="*/ 0 w 25"/>
                <a:gd name="T1" fmla="*/ 0 h 27"/>
                <a:gd name="T2" fmla="*/ 0 w 25"/>
                <a:gd name="T3" fmla="*/ 10 h 27"/>
                <a:gd name="T4" fmla="*/ 26 w 25"/>
                <a:gd name="T5" fmla="*/ 27 h 27"/>
                <a:gd name="T6" fmla="*/ 26 w 25"/>
                <a:gd name="T7" fmla="*/ 10 h 27"/>
                <a:gd name="T8" fmla="*/ 0 w 25"/>
                <a:gd name="T9" fmla="*/ 0 h 27"/>
                <a:gd name="T10" fmla="*/ 0 w 25"/>
                <a:gd name="T11" fmla="*/ 0 h 27"/>
                <a:gd name="T12" fmla="*/ 0 w 25"/>
                <a:gd name="T13" fmla="*/ 0 h 27"/>
                <a:gd name="T14" fmla="*/ 0 60000 65536"/>
                <a:gd name="T15" fmla="*/ 0 60000 65536"/>
                <a:gd name="T16" fmla="*/ 0 60000 65536"/>
                <a:gd name="T17" fmla="*/ 0 60000 65536"/>
                <a:gd name="T18" fmla="*/ 0 60000 65536"/>
                <a:gd name="T19" fmla="*/ 0 60000 65536"/>
                <a:gd name="T20" fmla="*/ 0 60000 65536"/>
                <a:gd name="T21" fmla="*/ 0 w 25"/>
                <a:gd name="T22" fmla="*/ 0 h 27"/>
                <a:gd name="T23" fmla="*/ 25 w 25"/>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7">
                  <a:moveTo>
                    <a:pt x="0" y="0"/>
                  </a:moveTo>
                  <a:lnTo>
                    <a:pt x="0" y="10"/>
                  </a:lnTo>
                  <a:lnTo>
                    <a:pt x="25" y="27"/>
                  </a:lnTo>
                  <a:lnTo>
                    <a:pt x="25" y="10"/>
                  </a:lnTo>
                  <a:lnTo>
                    <a:pt x="0"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sp>
          <p:nvSpPr>
            <p:cNvPr id="311" name="Freeform 67">
              <a:extLst>
                <a:ext uri="{FF2B5EF4-FFF2-40B4-BE49-F238E27FC236}">
                  <a16:creationId xmlns:a16="http://schemas.microsoft.com/office/drawing/2014/main" id="{3609B77C-9653-1640-9388-3237F7755E5B}"/>
                </a:ext>
              </a:extLst>
            </p:cNvPr>
            <p:cNvSpPr>
              <a:spLocks/>
            </p:cNvSpPr>
            <p:nvPr/>
          </p:nvSpPr>
          <p:spPr bwMode="auto">
            <a:xfrm>
              <a:off x="4893151" y="3905412"/>
              <a:ext cx="40272" cy="62240"/>
            </a:xfrm>
            <a:custGeom>
              <a:avLst/>
              <a:gdLst>
                <a:gd name="T0" fmla="*/ 0 w 22"/>
                <a:gd name="T1" fmla="*/ 0 h 34"/>
                <a:gd name="T2" fmla="*/ 0 w 22"/>
                <a:gd name="T3" fmla="*/ 10 h 34"/>
                <a:gd name="T4" fmla="*/ 22 w 22"/>
                <a:gd name="T5" fmla="*/ 34 h 34"/>
                <a:gd name="T6" fmla="*/ 22 w 22"/>
                <a:gd name="T7" fmla="*/ 10 h 34"/>
                <a:gd name="T8" fmla="*/ 0 w 22"/>
                <a:gd name="T9" fmla="*/ 0 h 34"/>
                <a:gd name="T10" fmla="*/ 0 w 22"/>
                <a:gd name="T11" fmla="*/ 0 h 34"/>
                <a:gd name="T12" fmla="*/ 0 w 22"/>
                <a:gd name="T13" fmla="*/ 0 h 34"/>
                <a:gd name="T14" fmla="*/ 0 60000 65536"/>
                <a:gd name="T15" fmla="*/ 0 60000 65536"/>
                <a:gd name="T16" fmla="*/ 0 60000 65536"/>
                <a:gd name="T17" fmla="*/ 0 60000 65536"/>
                <a:gd name="T18" fmla="*/ 0 60000 65536"/>
                <a:gd name="T19" fmla="*/ 0 60000 65536"/>
                <a:gd name="T20" fmla="*/ 0 60000 65536"/>
                <a:gd name="T21" fmla="*/ 0 w 22"/>
                <a:gd name="T22" fmla="*/ 0 h 34"/>
                <a:gd name="T23" fmla="*/ 22 w 22"/>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34">
                  <a:moveTo>
                    <a:pt x="0" y="0"/>
                  </a:moveTo>
                  <a:lnTo>
                    <a:pt x="0" y="10"/>
                  </a:lnTo>
                  <a:lnTo>
                    <a:pt x="22" y="34"/>
                  </a:lnTo>
                  <a:lnTo>
                    <a:pt x="22" y="10"/>
                  </a:lnTo>
                  <a:lnTo>
                    <a:pt x="0" y="0"/>
                  </a:lnTo>
                  <a:close/>
                </a:path>
              </a:pathLst>
            </a:custGeom>
            <a:solidFill>
              <a:schemeClr val="accent3"/>
            </a:solidFill>
            <a:ln w="9525">
              <a:solidFill>
                <a:schemeClr val="bg1"/>
              </a:solid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EB8"/>
                </a:solidFill>
                <a:effectLst/>
                <a:uLnTx/>
                <a:uFillTx/>
                <a:latin typeface="Calibri Light" panose="020F0302020204030204"/>
                <a:ea typeface="+mn-ea"/>
                <a:cs typeface="+mn-cs"/>
              </a:endParaRPr>
            </a:p>
          </p:txBody>
        </p:sp>
      </p:grpSp>
      <p:sp>
        <p:nvSpPr>
          <p:cNvPr id="71" name="Freeform 255">
            <a:extLst>
              <a:ext uri="{FF2B5EF4-FFF2-40B4-BE49-F238E27FC236}">
                <a16:creationId xmlns:a16="http://schemas.microsoft.com/office/drawing/2014/main" id="{346C3DFA-19EB-4CA6-AFFC-9C66276B0A02}"/>
              </a:ext>
            </a:extLst>
          </p:cNvPr>
          <p:cNvSpPr/>
          <p:nvPr/>
        </p:nvSpPr>
        <p:spPr>
          <a:xfrm>
            <a:off x="501532" y="1244544"/>
            <a:ext cx="6621088" cy="4319589"/>
          </a:xfrm>
          <a:custGeom>
            <a:avLst/>
            <a:gdLst>
              <a:gd name="connsiteX0" fmla="*/ 1493520 w 1889760"/>
              <a:gd name="connsiteY0" fmla="*/ 0 h 3200400"/>
              <a:gd name="connsiteX1" fmla="*/ 0 w 1889760"/>
              <a:gd name="connsiteY1" fmla="*/ 0 h 3200400"/>
              <a:gd name="connsiteX2" fmla="*/ 0 w 1889760"/>
              <a:gd name="connsiteY2" fmla="*/ 3200400 h 3200400"/>
              <a:gd name="connsiteX3" fmla="*/ 1889760 w 1889760"/>
              <a:gd name="connsiteY3" fmla="*/ 3200400 h 3200400"/>
              <a:gd name="connsiteX4" fmla="*/ 1889760 w 1889760"/>
              <a:gd name="connsiteY4" fmla="*/ 350520 h 3200400"/>
              <a:gd name="connsiteX0" fmla="*/ 3308745 w 3704985"/>
              <a:gd name="connsiteY0" fmla="*/ 0 h 3200400"/>
              <a:gd name="connsiteX1" fmla="*/ 1815225 w 3704985"/>
              <a:gd name="connsiteY1" fmla="*/ 0 h 3200400"/>
              <a:gd name="connsiteX2" fmla="*/ 0 w 3704985"/>
              <a:gd name="connsiteY2" fmla="*/ 3200400 h 3200400"/>
              <a:gd name="connsiteX3" fmla="*/ 3704985 w 3704985"/>
              <a:gd name="connsiteY3" fmla="*/ 3200400 h 3200400"/>
              <a:gd name="connsiteX4" fmla="*/ 3704985 w 3704985"/>
              <a:gd name="connsiteY4" fmla="*/ 350520 h 3200400"/>
              <a:gd name="connsiteX0" fmla="*/ 3308745 w 3704985"/>
              <a:gd name="connsiteY0" fmla="*/ 0 h 3200400"/>
              <a:gd name="connsiteX1" fmla="*/ 0 w 3704985"/>
              <a:gd name="connsiteY1" fmla="*/ 0 h 3200400"/>
              <a:gd name="connsiteX2" fmla="*/ 0 w 3704985"/>
              <a:gd name="connsiteY2" fmla="*/ 3200400 h 3200400"/>
              <a:gd name="connsiteX3" fmla="*/ 3704985 w 3704985"/>
              <a:gd name="connsiteY3" fmla="*/ 3200400 h 3200400"/>
              <a:gd name="connsiteX4" fmla="*/ 3704985 w 3704985"/>
              <a:gd name="connsiteY4" fmla="*/ 350520 h 3200400"/>
              <a:gd name="connsiteX0" fmla="*/ 3308745 w 3704985"/>
              <a:gd name="connsiteY0" fmla="*/ 0 h 3200400"/>
              <a:gd name="connsiteX1" fmla="*/ 0 w 3704985"/>
              <a:gd name="connsiteY1" fmla="*/ 0 h 3200400"/>
              <a:gd name="connsiteX2" fmla="*/ 0 w 3704985"/>
              <a:gd name="connsiteY2" fmla="*/ 3200400 h 3200400"/>
              <a:gd name="connsiteX3" fmla="*/ 3704985 w 3704985"/>
              <a:gd name="connsiteY3" fmla="*/ 3200400 h 3200400"/>
              <a:gd name="connsiteX4" fmla="*/ 3704985 w 3704985"/>
              <a:gd name="connsiteY4" fmla="*/ 527905 h 3200400"/>
              <a:gd name="connsiteX0" fmla="*/ 3327918 w 3724158"/>
              <a:gd name="connsiteY0" fmla="*/ 0 h 3200400"/>
              <a:gd name="connsiteX1" fmla="*/ 19173 w 3724158"/>
              <a:gd name="connsiteY1" fmla="*/ 0 h 3200400"/>
              <a:gd name="connsiteX2" fmla="*/ 0 w 3724158"/>
              <a:gd name="connsiteY2" fmla="*/ 2866556 h 3200400"/>
              <a:gd name="connsiteX3" fmla="*/ 19173 w 3724158"/>
              <a:gd name="connsiteY3" fmla="*/ 3200400 h 3200400"/>
              <a:gd name="connsiteX4" fmla="*/ 3724158 w 3724158"/>
              <a:gd name="connsiteY4" fmla="*/ 3200400 h 3200400"/>
              <a:gd name="connsiteX5" fmla="*/ 3724158 w 3724158"/>
              <a:gd name="connsiteY5" fmla="*/ 527905 h 3200400"/>
              <a:gd name="connsiteX0" fmla="*/ 3327918 w 3724158"/>
              <a:gd name="connsiteY0" fmla="*/ 0 h 3200400"/>
              <a:gd name="connsiteX1" fmla="*/ 19173 w 3724158"/>
              <a:gd name="connsiteY1" fmla="*/ 0 h 3200400"/>
              <a:gd name="connsiteX2" fmla="*/ 0 w 3724158"/>
              <a:gd name="connsiteY2" fmla="*/ 2866556 h 3200400"/>
              <a:gd name="connsiteX3" fmla="*/ 19173 w 3724158"/>
              <a:gd name="connsiteY3" fmla="*/ 3200400 h 3200400"/>
              <a:gd name="connsiteX4" fmla="*/ 234603 w 3724158"/>
              <a:gd name="connsiteY4" fmla="*/ 3193873 h 3200400"/>
              <a:gd name="connsiteX5" fmla="*/ 3724158 w 3724158"/>
              <a:gd name="connsiteY5" fmla="*/ 3200400 h 3200400"/>
              <a:gd name="connsiteX6" fmla="*/ 3724158 w 3724158"/>
              <a:gd name="connsiteY6" fmla="*/ 527905 h 3200400"/>
              <a:gd name="connsiteX0" fmla="*/ 3327918 w 3724158"/>
              <a:gd name="connsiteY0" fmla="*/ 0 h 3200400"/>
              <a:gd name="connsiteX1" fmla="*/ 19173 w 3724158"/>
              <a:gd name="connsiteY1" fmla="*/ 0 h 3200400"/>
              <a:gd name="connsiteX2" fmla="*/ 0 w 3724158"/>
              <a:gd name="connsiteY2" fmla="*/ 2866556 h 3200400"/>
              <a:gd name="connsiteX3" fmla="*/ 234603 w 3724158"/>
              <a:gd name="connsiteY3" fmla="*/ 3193873 h 3200400"/>
              <a:gd name="connsiteX4" fmla="*/ 3724158 w 3724158"/>
              <a:gd name="connsiteY4" fmla="*/ 3200400 h 3200400"/>
              <a:gd name="connsiteX5" fmla="*/ 3724158 w 3724158"/>
              <a:gd name="connsiteY5" fmla="*/ 527905 h 3200400"/>
              <a:gd name="connsiteX0" fmla="*/ 3322817 w 3719057"/>
              <a:gd name="connsiteY0" fmla="*/ 0 h 3200400"/>
              <a:gd name="connsiteX1" fmla="*/ 14072 w 3719057"/>
              <a:gd name="connsiteY1" fmla="*/ 0 h 3200400"/>
              <a:gd name="connsiteX2" fmla="*/ 0 w 3719057"/>
              <a:gd name="connsiteY2" fmla="*/ 2872882 h 3200400"/>
              <a:gd name="connsiteX3" fmla="*/ 229502 w 3719057"/>
              <a:gd name="connsiteY3" fmla="*/ 3193873 h 3200400"/>
              <a:gd name="connsiteX4" fmla="*/ 3719057 w 3719057"/>
              <a:gd name="connsiteY4" fmla="*/ 3200400 h 3200400"/>
              <a:gd name="connsiteX5" fmla="*/ 3719057 w 3719057"/>
              <a:gd name="connsiteY5" fmla="*/ 527905 h 3200400"/>
              <a:gd name="connsiteX0" fmla="*/ 3322817 w 3719057"/>
              <a:gd name="connsiteY0" fmla="*/ 0 h 3200400"/>
              <a:gd name="connsiteX1" fmla="*/ 14072 w 3719057"/>
              <a:gd name="connsiteY1" fmla="*/ 0 h 3200400"/>
              <a:gd name="connsiteX2" fmla="*/ 0 w 3719057"/>
              <a:gd name="connsiteY2" fmla="*/ 2872882 h 3200400"/>
              <a:gd name="connsiteX3" fmla="*/ 229502 w 3719057"/>
              <a:gd name="connsiteY3" fmla="*/ 3193873 h 3200400"/>
              <a:gd name="connsiteX4" fmla="*/ 3719057 w 3719057"/>
              <a:gd name="connsiteY4" fmla="*/ 3200400 h 3200400"/>
              <a:gd name="connsiteX5" fmla="*/ 3719057 w 3719057"/>
              <a:gd name="connsiteY5" fmla="*/ 527905 h 3200400"/>
              <a:gd name="connsiteX0" fmla="*/ 3322817 w 3719057"/>
              <a:gd name="connsiteY0" fmla="*/ 0 h 3219173"/>
              <a:gd name="connsiteX1" fmla="*/ 14072 w 3719057"/>
              <a:gd name="connsiteY1" fmla="*/ 0 h 3219173"/>
              <a:gd name="connsiteX2" fmla="*/ 0 w 3719057"/>
              <a:gd name="connsiteY2" fmla="*/ 2872882 h 3219173"/>
              <a:gd name="connsiteX3" fmla="*/ 224402 w 3719057"/>
              <a:gd name="connsiteY3" fmla="*/ 3219173 h 3219173"/>
              <a:gd name="connsiteX4" fmla="*/ 3719057 w 3719057"/>
              <a:gd name="connsiteY4" fmla="*/ 3200400 h 3219173"/>
              <a:gd name="connsiteX5" fmla="*/ 3719057 w 3719057"/>
              <a:gd name="connsiteY5" fmla="*/ 527905 h 3219173"/>
              <a:gd name="connsiteX0" fmla="*/ 3322817 w 3719057"/>
              <a:gd name="connsiteY0" fmla="*/ 0 h 3212847"/>
              <a:gd name="connsiteX1" fmla="*/ 14072 w 3719057"/>
              <a:gd name="connsiteY1" fmla="*/ 0 h 3212847"/>
              <a:gd name="connsiteX2" fmla="*/ 0 w 3719057"/>
              <a:gd name="connsiteY2" fmla="*/ 2872882 h 3212847"/>
              <a:gd name="connsiteX3" fmla="*/ 224402 w 3719057"/>
              <a:gd name="connsiteY3" fmla="*/ 3212847 h 3212847"/>
              <a:gd name="connsiteX4" fmla="*/ 3719057 w 3719057"/>
              <a:gd name="connsiteY4" fmla="*/ 3200400 h 3212847"/>
              <a:gd name="connsiteX5" fmla="*/ 3719057 w 3719057"/>
              <a:gd name="connsiteY5" fmla="*/ 527905 h 3212847"/>
              <a:gd name="connsiteX0" fmla="*/ 3322817 w 3719057"/>
              <a:gd name="connsiteY0" fmla="*/ 0 h 3206523"/>
              <a:gd name="connsiteX1" fmla="*/ 14072 w 3719057"/>
              <a:gd name="connsiteY1" fmla="*/ 0 h 3206523"/>
              <a:gd name="connsiteX2" fmla="*/ 0 w 3719057"/>
              <a:gd name="connsiteY2" fmla="*/ 2872882 h 3206523"/>
              <a:gd name="connsiteX3" fmla="*/ 229501 w 3719057"/>
              <a:gd name="connsiteY3" fmla="*/ 3206523 h 3206523"/>
              <a:gd name="connsiteX4" fmla="*/ 3719057 w 3719057"/>
              <a:gd name="connsiteY4" fmla="*/ 3200400 h 3206523"/>
              <a:gd name="connsiteX5" fmla="*/ 3719057 w 3719057"/>
              <a:gd name="connsiteY5" fmla="*/ 527905 h 3206523"/>
              <a:gd name="connsiteX0" fmla="*/ 3322817 w 3719057"/>
              <a:gd name="connsiteY0" fmla="*/ 0 h 3200400"/>
              <a:gd name="connsiteX1" fmla="*/ 14072 w 3719057"/>
              <a:gd name="connsiteY1" fmla="*/ 0 h 3200400"/>
              <a:gd name="connsiteX2" fmla="*/ 0 w 3719057"/>
              <a:gd name="connsiteY2" fmla="*/ 2872882 h 3200400"/>
              <a:gd name="connsiteX3" fmla="*/ 224402 w 3719057"/>
              <a:gd name="connsiteY3" fmla="*/ 3200199 h 3200400"/>
              <a:gd name="connsiteX4" fmla="*/ 3719057 w 3719057"/>
              <a:gd name="connsiteY4" fmla="*/ 3200400 h 3200400"/>
              <a:gd name="connsiteX5" fmla="*/ 3719057 w 3719057"/>
              <a:gd name="connsiteY5" fmla="*/ 527905 h 3200400"/>
              <a:gd name="connsiteX0" fmla="*/ 3322817 w 3719057"/>
              <a:gd name="connsiteY0" fmla="*/ 0 h 3200400"/>
              <a:gd name="connsiteX1" fmla="*/ 14072 w 3719057"/>
              <a:gd name="connsiteY1" fmla="*/ 0 h 3200400"/>
              <a:gd name="connsiteX2" fmla="*/ 0 w 3719057"/>
              <a:gd name="connsiteY2" fmla="*/ 2872882 h 3200400"/>
              <a:gd name="connsiteX3" fmla="*/ 224402 w 3719057"/>
              <a:gd name="connsiteY3" fmla="*/ 3200199 h 3200400"/>
              <a:gd name="connsiteX4" fmla="*/ 3719057 w 3719057"/>
              <a:gd name="connsiteY4" fmla="*/ 3200400 h 3200400"/>
              <a:gd name="connsiteX5" fmla="*/ 3719057 w 3719057"/>
              <a:gd name="connsiteY5" fmla="*/ 527905 h 3200400"/>
              <a:gd name="connsiteX0" fmla="*/ 3317716 w 3713956"/>
              <a:gd name="connsiteY0" fmla="*/ 0 h 3200400"/>
              <a:gd name="connsiteX1" fmla="*/ 8971 w 3713956"/>
              <a:gd name="connsiteY1" fmla="*/ 0 h 3200400"/>
              <a:gd name="connsiteX2" fmla="*/ 0 w 3713956"/>
              <a:gd name="connsiteY2" fmla="*/ 2872882 h 3200400"/>
              <a:gd name="connsiteX3" fmla="*/ 219301 w 3713956"/>
              <a:gd name="connsiteY3" fmla="*/ 3200199 h 3200400"/>
              <a:gd name="connsiteX4" fmla="*/ 3713956 w 3713956"/>
              <a:gd name="connsiteY4" fmla="*/ 3200400 h 3200400"/>
              <a:gd name="connsiteX5" fmla="*/ 3713956 w 3713956"/>
              <a:gd name="connsiteY5" fmla="*/ 527905 h 3200400"/>
              <a:gd name="connsiteX0" fmla="*/ 3317716 w 3713956"/>
              <a:gd name="connsiteY0" fmla="*/ 0 h 3200400"/>
              <a:gd name="connsiteX1" fmla="*/ 8971 w 3713956"/>
              <a:gd name="connsiteY1" fmla="*/ 0 h 3200400"/>
              <a:gd name="connsiteX2" fmla="*/ 0 w 3713956"/>
              <a:gd name="connsiteY2" fmla="*/ 2872882 h 3200400"/>
              <a:gd name="connsiteX3" fmla="*/ 219301 w 3713956"/>
              <a:gd name="connsiteY3" fmla="*/ 3200199 h 3200400"/>
              <a:gd name="connsiteX4" fmla="*/ 3713956 w 3713956"/>
              <a:gd name="connsiteY4" fmla="*/ 3200400 h 3200400"/>
              <a:gd name="connsiteX5" fmla="*/ 3713956 w 3713956"/>
              <a:gd name="connsiteY5" fmla="*/ 527905 h 3200400"/>
              <a:gd name="connsiteX0" fmla="*/ 3317716 w 3713956"/>
              <a:gd name="connsiteY0" fmla="*/ 0 h 3200400"/>
              <a:gd name="connsiteX1" fmla="*/ 8971 w 3713956"/>
              <a:gd name="connsiteY1" fmla="*/ 0 h 3200400"/>
              <a:gd name="connsiteX2" fmla="*/ 0 w 3713956"/>
              <a:gd name="connsiteY2" fmla="*/ 2872882 h 3200400"/>
              <a:gd name="connsiteX3" fmla="*/ 219301 w 3713956"/>
              <a:gd name="connsiteY3" fmla="*/ 3200199 h 3200400"/>
              <a:gd name="connsiteX4" fmla="*/ 3713956 w 3713956"/>
              <a:gd name="connsiteY4" fmla="*/ 3200400 h 3200400"/>
              <a:gd name="connsiteX5" fmla="*/ 3713956 w 3713956"/>
              <a:gd name="connsiteY5" fmla="*/ 527905 h 3200400"/>
              <a:gd name="connsiteX0" fmla="*/ 3317716 w 3713956"/>
              <a:gd name="connsiteY0" fmla="*/ 0 h 3200400"/>
              <a:gd name="connsiteX1" fmla="*/ 8971 w 3713956"/>
              <a:gd name="connsiteY1" fmla="*/ 0 h 3200400"/>
              <a:gd name="connsiteX2" fmla="*/ 0 w 3713956"/>
              <a:gd name="connsiteY2" fmla="*/ 2872882 h 3200400"/>
              <a:gd name="connsiteX3" fmla="*/ 219301 w 3713956"/>
              <a:gd name="connsiteY3" fmla="*/ 3200199 h 3200400"/>
              <a:gd name="connsiteX4" fmla="*/ 3713956 w 3713956"/>
              <a:gd name="connsiteY4" fmla="*/ 3200400 h 3200400"/>
              <a:gd name="connsiteX5" fmla="*/ 3713956 w 3713956"/>
              <a:gd name="connsiteY5" fmla="*/ 724679 h 3200400"/>
              <a:gd name="connsiteX0" fmla="*/ 3317716 w 3713956"/>
              <a:gd name="connsiteY0" fmla="*/ 895347 h 4095747"/>
              <a:gd name="connsiteX1" fmla="*/ 8971 w 3713956"/>
              <a:gd name="connsiteY1" fmla="*/ 0 h 4095747"/>
              <a:gd name="connsiteX2" fmla="*/ 0 w 3713956"/>
              <a:gd name="connsiteY2" fmla="*/ 3768229 h 4095747"/>
              <a:gd name="connsiteX3" fmla="*/ 219301 w 3713956"/>
              <a:gd name="connsiteY3" fmla="*/ 4095546 h 4095747"/>
              <a:gd name="connsiteX4" fmla="*/ 3713956 w 3713956"/>
              <a:gd name="connsiteY4" fmla="*/ 4095747 h 4095747"/>
              <a:gd name="connsiteX5" fmla="*/ 3713956 w 3713956"/>
              <a:gd name="connsiteY5" fmla="*/ 1620026 h 4095747"/>
              <a:gd name="connsiteX0" fmla="*/ 3317716 w 3713956"/>
              <a:gd name="connsiteY0" fmla="*/ 1135172 h 4335572"/>
              <a:gd name="connsiteX1" fmla="*/ 25503 w 3713956"/>
              <a:gd name="connsiteY1" fmla="*/ 0 h 4335572"/>
              <a:gd name="connsiteX2" fmla="*/ 0 w 3713956"/>
              <a:gd name="connsiteY2" fmla="*/ 4008054 h 4335572"/>
              <a:gd name="connsiteX3" fmla="*/ 219301 w 3713956"/>
              <a:gd name="connsiteY3" fmla="*/ 4335371 h 4335572"/>
              <a:gd name="connsiteX4" fmla="*/ 3713956 w 3713956"/>
              <a:gd name="connsiteY4" fmla="*/ 4335572 h 4335572"/>
              <a:gd name="connsiteX5" fmla="*/ 3713956 w 3713956"/>
              <a:gd name="connsiteY5" fmla="*/ 1859851 h 4335572"/>
              <a:gd name="connsiteX0" fmla="*/ 3317716 w 3713956"/>
              <a:gd name="connsiteY0" fmla="*/ 1119185 h 4319585"/>
              <a:gd name="connsiteX1" fmla="*/ 8971 w 3713956"/>
              <a:gd name="connsiteY1" fmla="*/ 0 h 4319585"/>
              <a:gd name="connsiteX2" fmla="*/ 0 w 3713956"/>
              <a:gd name="connsiteY2" fmla="*/ 3992067 h 4319585"/>
              <a:gd name="connsiteX3" fmla="*/ 219301 w 3713956"/>
              <a:gd name="connsiteY3" fmla="*/ 4319384 h 4319585"/>
              <a:gd name="connsiteX4" fmla="*/ 3713956 w 3713956"/>
              <a:gd name="connsiteY4" fmla="*/ 4319585 h 4319585"/>
              <a:gd name="connsiteX5" fmla="*/ 3713956 w 3713956"/>
              <a:gd name="connsiteY5" fmla="*/ 1843864 h 4319585"/>
              <a:gd name="connsiteX0" fmla="*/ 3317716 w 3713956"/>
              <a:gd name="connsiteY0" fmla="*/ 1119185 h 4319585"/>
              <a:gd name="connsiteX1" fmla="*/ 3460 w 3713956"/>
              <a:gd name="connsiteY1" fmla="*/ 0 h 4319585"/>
              <a:gd name="connsiteX2" fmla="*/ 0 w 3713956"/>
              <a:gd name="connsiteY2" fmla="*/ 3992067 h 4319585"/>
              <a:gd name="connsiteX3" fmla="*/ 219301 w 3713956"/>
              <a:gd name="connsiteY3" fmla="*/ 4319384 h 4319585"/>
              <a:gd name="connsiteX4" fmla="*/ 3713956 w 3713956"/>
              <a:gd name="connsiteY4" fmla="*/ 4319585 h 4319585"/>
              <a:gd name="connsiteX5" fmla="*/ 3713956 w 3713956"/>
              <a:gd name="connsiteY5" fmla="*/ 1843864 h 4319585"/>
              <a:gd name="connsiteX0" fmla="*/ 3317716 w 3713956"/>
              <a:gd name="connsiteY0" fmla="*/ 1119185 h 4319585"/>
              <a:gd name="connsiteX1" fmla="*/ 3460 w 3713956"/>
              <a:gd name="connsiteY1" fmla="*/ 0 h 4319585"/>
              <a:gd name="connsiteX2" fmla="*/ 0 w 3713956"/>
              <a:gd name="connsiteY2" fmla="*/ 3992067 h 4319585"/>
              <a:gd name="connsiteX3" fmla="*/ 219301 w 3713956"/>
              <a:gd name="connsiteY3" fmla="*/ 4319384 h 4319585"/>
              <a:gd name="connsiteX4" fmla="*/ 3713956 w 3713956"/>
              <a:gd name="connsiteY4" fmla="*/ 4319585 h 4319585"/>
              <a:gd name="connsiteX5" fmla="*/ 3713956 w 3713956"/>
              <a:gd name="connsiteY5" fmla="*/ 620757 h 4319585"/>
              <a:gd name="connsiteX0" fmla="*/ 3295673 w 3713956"/>
              <a:gd name="connsiteY0" fmla="*/ 1 h 4319585"/>
              <a:gd name="connsiteX1" fmla="*/ 3460 w 3713956"/>
              <a:gd name="connsiteY1" fmla="*/ 0 h 4319585"/>
              <a:gd name="connsiteX2" fmla="*/ 0 w 3713956"/>
              <a:gd name="connsiteY2" fmla="*/ 3992067 h 4319585"/>
              <a:gd name="connsiteX3" fmla="*/ 219301 w 3713956"/>
              <a:gd name="connsiteY3" fmla="*/ 4319384 h 4319585"/>
              <a:gd name="connsiteX4" fmla="*/ 3713956 w 3713956"/>
              <a:gd name="connsiteY4" fmla="*/ 4319585 h 4319585"/>
              <a:gd name="connsiteX5" fmla="*/ 3713956 w 3713956"/>
              <a:gd name="connsiteY5" fmla="*/ 620757 h 431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3956" h="4319585">
                <a:moveTo>
                  <a:pt x="3295673" y="1"/>
                </a:moveTo>
                <a:lnTo>
                  <a:pt x="3460" y="0"/>
                </a:lnTo>
                <a:cubicBezTo>
                  <a:pt x="-1231" y="957627"/>
                  <a:pt x="4691" y="3034440"/>
                  <a:pt x="0" y="3992067"/>
                </a:cubicBezTo>
                <a:cubicBezTo>
                  <a:pt x="1699" y="4145447"/>
                  <a:pt x="54400" y="4311478"/>
                  <a:pt x="219301" y="4319384"/>
                </a:cubicBezTo>
                <a:lnTo>
                  <a:pt x="3713956" y="4319585"/>
                </a:lnTo>
                <a:lnTo>
                  <a:pt x="3713956" y="620757"/>
                </a:lnTo>
              </a:path>
            </a:pathLst>
          </a:custGeom>
          <a:noFill/>
          <a:ln w="28575">
            <a:solidFill>
              <a:schemeClr val="accent1"/>
            </a:solidFill>
            <a:prstDash val="solid"/>
          </a:ln>
        </p:spPr>
        <p:txBody>
          <a:bodyPr wrap="none" lIns="0" tIns="0" rIns="0" bIns="0" anchor="ctr" anchorCtr="0"/>
          <a:lstStyle/>
          <a:p>
            <a:pPr marL="0" marR="0" lvl="0" indent="0" algn="ctr" defTabSz="914400" rtl="0" eaLnBrk="1" fontAlgn="auto" latinLnBrk="0" hangingPunct="1">
              <a:lnSpc>
                <a:spcPct val="90000"/>
              </a:lnSpc>
              <a:spcBef>
                <a:spcPts val="1000"/>
              </a:spcBef>
              <a:spcAft>
                <a:spcPts val="0"/>
              </a:spcAft>
              <a:buClr>
                <a:srgbClr val="00A9E0"/>
              </a:buClr>
              <a:buSzPct val="80000"/>
              <a:buFont typeface="Calibri" panose="020F0502020204030204" pitchFamily="34" charset="0"/>
              <a:buNone/>
              <a:tabLst/>
              <a:defRPr/>
            </a:pPr>
            <a:endParaRPr kumimoji="0" lang="en-GB" sz="1400"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grpSp>
        <p:nvGrpSpPr>
          <p:cNvPr id="72" name="Group 71">
            <a:extLst>
              <a:ext uri="{FF2B5EF4-FFF2-40B4-BE49-F238E27FC236}">
                <a16:creationId xmlns:a16="http://schemas.microsoft.com/office/drawing/2014/main" id="{9678C6AE-066F-40C8-B033-193543E0FA56}"/>
              </a:ext>
            </a:extLst>
          </p:cNvPr>
          <p:cNvGrpSpPr/>
          <p:nvPr/>
        </p:nvGrpSpPr>
        <p:grpSpPr>
          <a:xfrm>
            <a:off x="6848408" y="936848"/>
            <a:ext cx="541785" cy="610093"/>
            <a:chOff x="10852008" y="253855"/>
            <a:chExt cx="576000" cy="639358"/>
          </a:xfrm>
        </p:grpSpPr>
        <p:cxnSp>
          <p:nvCxnSpPr>
            <p:cNvPr id="73" name="Straight Connector 72">
              <a:extLst>
                <a:ext uri="{FF2B5EF4-FFF2-40B4-BE49-F238E27FC236}">
                  <a16:creationId xmlns:a16="http://schemas.microsoft.com/office/drawing/2014/main" id="{0D5B4121-5F7A-4869-90F1-F38387BCAF48}"/>
                </a:ext>
              </a:extLst>
            </p:cNvPr>
            <p:cNvCxnSpPr/>
            <p:nvPr/>
          </p:nvCxnSpPr>
          <p:spPr>
            <a:xfrm>
              <a:off x="11131913" y="253855"/>
              <a:ext cx="0" cy="639358"/>
            </a:xfrm>
            <a:prstGeom prst="line">
              <a:avLst/>
            </a:prstGeom>
            <a:noFill/>
            <a:ln w="28575">
              <a:solidFill>
                <a:schemeClr val="accent2"/>
              </a:solidFill>
              <a:prstDash val="solid"/>
            </a:ln>
          </p:spPr>
        </p:cxnSp>
        <p:cxnSp>
          <p:nvCxnSpPr>
            <p:cNvPr id="75" name="Straight Connector 74">
              <a:extLst>
                <a:ext uri="{FF2B5EF4-FFF2-40B4-BE49-F238E27FC236}">
                  <a16:creationId xmlns:a16="http://schemas.microsoft.com/office/drawing/2014/main" id="{0E29F620-48CF-4A84-9EAF-E26C0A1C1151}"/>
                </a:ext>
              </a:extLst>
            </p:cNvPr>
            <p:cNvCxnSpPr/>
            <p:nvPr/>
          </p:nvCxnSpPr>
          <p:spPr>
            <a:xfrm rot="16200000">
              <a:off x="11140008" y="285532"/>
              <a:ext cx="0" cy="576000"/>
            </a:xfrm>
            <a:prstGeom prst="line">
              <a:avLst/>
            </a:prstGeom>
            <a:noFill/>
            <a:ln w="28575">
              <a:solidFill>
                <a:schemeClr val="accent2"/>
              </a:solidFill>
              <a:prstDash val="solid"/>
            </a:ln>
          </p:spPr>
        </p:cxnSp>
      </p:grpSp>
      <p:sp>
        <p:nvSpPr>
          <p:cNvPr id="76" name="Footer Placeholder 1">
            <a:extLst>
              <a:ext uri="{FF2B5EF4-FFF2-40B4-BE49-F238E27FC236}">
                <a16:creationId xmlns:a16="http://schemas.microsoft.com/office/drawing/2014/main" id="{77984F15-DD1E-496E-BBC3-4F29DE6C5539}"/>
              </a:ext>
            </a:extLst>
          </p:cNvPr>
          <p:cNvSpPr txBox="1">
            <a:spLocks/>
          </p:cNvSpPr>
          <p:nvPr/>
        </p:nvSpPr>
        <p:spPr>
          <a:xfrm rot="16200000">
            <a:off x="10403682" y="4652168"/>
            <a:ext cx="3086100" cy="227013"/>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chemeClr val="tx1"/>
                </a:solidFill>
                <a:latin typeface="Calibri" charset="0"/>
                <a:ea typeface="ＭＳ Ｐゴシック" charset="-128"/>
                <a:cs typeface="+mn-cs"/>
              </a:defRPr>
            </a:lvl1pPr>
            <a:lvl2pPr marL="742950" indent="-285750" algn="l" defTabSz="457200" rtl="0" eaLnBrk="1" latinLnBrk="0" hangingPunct="1">
              <a:defRPr sz="1800" kern="1200">
                <a:solidFill>
                  <a:schemeClr val="tx1"/>
                </a:solidFill>
                <a:latin typeface="Calibri" charset="0"/>
                <a:ea typeface="ＭＳ Ｐゴシック" charset="-128"/>
                <a:cs typeface="+mn-cs"/>
              </a:defRPr>
            </a:lvl2pPr>
            <a:lvl3pPr marL="1143000" indent="-228600" algn="l" defTabSz="457200" rtl="0" eaLnBrk="1" latinLnBrk="0" hangingPunct="1">
              <a:defRPr sz="1800" kern="1200">
                <a:solidFill>
                  <a:schemeClr val="tx1"/>
                </a:solidFill>
                <a:latin typeface="Calibri" charset="0"/>
                <a:ea typeface="ＭＳ Ｐゴシック" charset="-128"/>
                <a:cs typeface="+mn-cs"/>
              </a:defRPr>
            </a:lvl3pPr>
            <a:lvl4pPr marL="1600200" indent="-228600" algn="l" defTabSz="457200" rtl="0" eaLnBrk="1" latinLnBrk="0" hangingPunct="1">
              <a:defRPr sz="1800" kern="1200">
                <a:solidFill>
                  <a:schemeClr val="tx1"/>
                </a:solidFill>
                <a:latin typeface="Calibri" charset="0"/>
                <a:ea typeface="ＭＳ Ｐゴシック" charset="-128"/>
                <a:cs typeface="+mn-cs"/>
              </a:defRPr>
            </a:lvl4pPr>
            <a:lvl5pPr marL="2057400" indent="-228600" algn="l" defTabSz="457200" rtl="0" eaLnBrk="1" latinLnBrk="0" hangingPunct="1">
              <a:defRPr sz="1800" kern="1200">
                <a:solidFill>
                  <a:schemeClr val="tx1"/>
                </a:solidFill>
                <a:latin typeface="Calibri" charset="0"/>
                <a:ea typeface="ＭＳ Ｐゴシック" charset="-128"/>
                <a:cs typeface="+mn-cs"/>
              </a:defRPr>
            </a:lvl5pPr>
            <a:lvl6pPr marL="25146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6pPr>
            <a:lvl7pPr marL="29718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7pPr>
            <a:lvl8pPr marL="34290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8pPr>
            <a:lvl9pPr marL="38862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128"/>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s-ES_tradnl" sz="700" b="0" i="0" u="none" strike="noStrike" kern="1200" cap="none" spc="0" normalizeH="0" baseline="0" noProof="0" dirty="0">
                <a:ln>
                  <a:noFill/>
                </a:ln>
                <a:solidFill>
                  <a:srgbClr val="A6A6A6"/>
                </a:solidFill>
                <a:effectLst/>
                <a:uLnTx/>
                <a:uFillTx/>
                <a:latin typeface="Calibri Light" charset="0"/>
                <a:ea typeface="ＭＳ Ｐゴシック" charset="-128"/>
                <a:cs typeface="+mn-cs"/>
              </a:rPr>
              <a:t>© Amadeus IT Group and its affiliates and subsidiaries</a:t>
            </a:r>
            <a:endParaRPr kumimoji="0" lang="en-GB" altLang="es-ES_tradnl" sz="700" b="0" i="0" u="none" strike="noStrike" kern="1200" cap="none" spc="0" normalizeH="0" baseline="0" noProof="0" dirty="0">
              <a:ln>
                <a:noFill/>
              </a:ln>
              <a:solidFill>
                <a:srgbClr val="A6A6A6"/>
              </a:solidFill>
              <a:effectLst/>
              <a:uLnTx/>
              <a:uFillTx/>
              <a:latin typeface="Calibri Light" charset="0"/>
              <a:ea typeface="ＭＳ Ｐゴシック" charset="-128"/>
              <a:cs typeface="+mn-cs"/>
            </a:endParaRPr>
          </a:p>
        </p:txBody>
      </p:sp>
      <p:sp>
        <p:nvSpPr>
          <p:cNvPr id="3" name="Footer Placeholder 2">
            <a:extLst>
              <a:ext uri="{FF2B5EF4-FFF2-40B4-BE49-F238E27FC236}">
                <a16:creationId xmlns:a16="http://schemas.microsoft.com/office/drawing/2014/main" id="{8E6D5B10-B366-4091-87E4-87327C7CB543}"/>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Calibri Light" panose="020F0302020204030204"/>
                <a:ea typeface="+mn-ea"/>
                <a:cs typeface="+mn-cs"/>
              </a:rPr>
              <a:t>© Amadeus IT Group and its affiliates and subsidiaries</a:t>
            </a:r>
            <a:endPar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6" name="Title 6">
            <a:extLst>
              <a:ext uri="{FF2B5EF4-FFF2-40B4-BE49-F238E27FC236}">
                <a16:creationId xmlns:a16="http://schemas.microsoft.com/office/drawing/2014/main" id="{AC818B96-3CBB-C1C9-8F88-BE36E163E87C}"/>
              </a:ext>
            </a:extLst>
          </p:cNvPr>
          <p:cNvSpPr txBox="1">
            <a:spLocks/>
          </p:cNvSpPr>
          <p:nvPr/>
        </p:nvSpPr>
        <p:spPr bwMode="auto">
          <a:xfrm>
            <a:off x="743060" y="479400"/>
            <a:ext cx="4302316" cy="53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fontAlgn="base">
              <a:spcBef>
                <a:spcPct val="0"/>
              </a:spcBef>
              <a:spcAft>
                <a:spcPct val="0"/>
              </a:spcAft>
              <a:defRPr>
                <a:solidFill>
                  <a:schemeClr val="tx1"/>
                </a:solidFill>
                <a:latin typeface="Calibri" charset="0"/>
                <a:ea typeface="ＭＳ Ｐゴシック" charset="-128"/>
              </a:defRPr>
            </a:lvl6pPr>
            <a:lvl7pPr marL="2971800" indent="-228600" fontAlgn="base">
              <a:spcBef>
                <a:spcPct val="0"/>
              </a:spcBef>
              <a:spcAft>
                <a:spcPct val="0"/>
              </a:spcAft>
              <a:defRPr>
                <a:solidFill>
                  <a:schemeClr val="tx1"/>
                </a:solidFill>
                <a:latin typeface="Calibri" charset="0"/>
                <a:ea typeface="ＭＳ Ｐゴシック" charset="-128"/>
              </a:defRPr>
            </a:lvl7pPr>
            <a:lvl8pPr marL="3429000" indent="-228600" fontAlgn="base">
              <a:spcBef>
                <a:spcPct val="0"/>
              </a:spcBef>
              <a:spcAft>
                <a:spcPct val="0"/>
              </a:spcAft>
              <a:defRPr>
                <a:solidFill>
                  <a:schemeClr val="tx1"/>
                </a:solidFill>
                <a:latin typeface="Calibri" charset="0"/>
                <a:ea typeface="ＭＳ Ｐゴシック" charset="-128"/>
              </a:defRPr>
            </a:lvl8pPr>
            <a:lvl9pPr marL="3886200" indent="-228600" fontAlgn="base">
              <a:spcBef>
                <a:spcPct val="0"/>
              </a:spcBef>
              <a:spcAft>
                <a:spcPct val="0"/>
              </a:spcAft>
              <a:defRPr>
                <a:solidFill>
                  <a:schemeClr val="tx1"/>
                </a:solidFill>
                <a:latin typeface="Calibri" charset="0"/>
                <a:ea typeface="ＭＳ Ｐゴシック" charset="-128"/>
              </a:defRPr>
            </a:lvl9pPr>
          </a:lstStyle>
          <a:p>
            <a:pPr defTabSz="914400"/>
            <a:r>
              <a:rPr lang="en-US" altLang="es-ES_tradnl" sz="3200" b="1" noProof="1">
                <a:solidFill>
                  <a:srgbClr val="005EB8"/>
                </a:solidFill>
                <a:latin typeface="+mn-lt"/>
              </a:rPr>
              <a:t>Desafíos de Uruguay</a:t>
            </a:r>
            <a:endParaRPr altLang="es-ES_tradnl" sz="3200" b="1" noProof="1">
              <a:solidFill>
                <a:srgbClr val="005EB8"/>
              </a:solidFill>
              <a:latin typeface="+mn-lt"/>
            </a:endParaRPr>
          </a:p>
        </p:txBody>
      </p:sp>
      <p:sp>
        <p:nvSpPr>
          <p:cNvPr id="8" name="TextBox 7">
            <a:extLst>
              <a:ext uri="{FF2B5EF4-FFF2-40B4-BE49-F238E27FC236}">
                <a16:creationId xmlns:a16="http://schemas.microsoft.com/office/drawing/2014/main" id="{8D7966B2-B431-ECAB-D299-D4F113436575}"/>
              </a:ext>
            </a:extLst>
          </p:cNvPr>
          <p:cNvSpPr txBox="1"/>
          <p:nvPr/>
        </p:nvSpPr>
        <p:spPr>
          <a:xfrm>
            <a:off x="686421" y="1484525"/>
            <a:ext cx="6096000" cy="3785652"/>
          </a:xfrm>
          <a:prstGeom prst="rect">
            <a:avLst/>
          </a:prstGeom>
          <a:noFill/>
        </p:spPr>
        <p:txBody>
          <a:bodyPr wrap="square">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err="1">
                <a:solidFill>
                  <a:srgbClr val="005EB8"/>
                </a:solidFill>
                <a:latin typeface="+mj-lt"/>
                <a:ea typeface="ＭＳ Ｐゴシック" charset="-128"/>
              </a:rPr>
              <a:t>Recuperar</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niveles</a:t>
            </a:r>
            <a:r>
              <a:rPr lang="en-US" sz="2000" dirty="0">
                <a:solidFill>
                  <a:srgbClr val="005EB8"/>
                </a:solidFill>
                <a:latin typeface="+mj-lt"/>
                <a:ea typeface="ＭＳ Ｐゴシック" charset="-128"/>
              </a:rPr>
              <a:t> pre-</a:t>
            </a:r>
            <a:r>
              <a:rPr lang="en-US" sz="2000" dirty="0" err="1">
                <a:solidFill>
                  <a:srgbClr val="005EB8"/>
                </a:solidFill>
                <a:latin typeface="+mj-lt"/>
                <a:ea typeface="ＭＳ Ｐゴシック" charset="-128"/>
              </a:rPr>
              <a:t>pandemia</a:t>
            </a:r>
            <a:r>
              <a:rPr lang="en-US" sz="2000" dirty="0">
                <a:solidFill>
                  <a:srgbClr val="005EB8"/>
                </a:solidFill>
                <a:latin typeface="+mj-lt"/>
                <a:ea typeface="ＭＳ Ｐゴシック" charset="-128"/>
              </a:rPr>
              <a:t> en </a:t>
            </a:r>
            <a:r>
              <a:rPr lang="en-US" sz="2000" dirty="0" err="1">
                <a:solidFill>
                  <a:srgbClr val="005EB8"/>
                </a:solidFill>
                <a:latin typeface="+mj-lt"/>
                <a:ea typeface="ＭＳ Ｐゴシック" charset="-128"/>
              </a:rPr>
              <a:t>materia</a:t>
            </a:r>
            <a:r>
              <a:rPr lang="en-US" sz="2000" dirty="0">
                <a:solidFill>
                  <a:srgbClr val="005EB8"/>
                </a:solidFill>
                <a:latin typeface="+mj-lt"/>
                <a:ea typeface="ＭＳ Ｐゴシック" charset="-128"/>
              </a:rPr>
              <a:t> de </a:t>
            </a:r>
            <a:r>
              <a:rPr lang="en-US" sz="2000" dirty="0" err="1">
                <a:solidFill>
                  <a:srgbClr val="005EB8"/>
                </a:solidFill>
                <a:latin typeface="+mj-lt"/>
                <a:ea typeface="ＭＳ Ｐゴシック" charset="-128"/>
              </a:rPr>
              <a:t>hospitalidad</a:t>
            </a:r>
            <a:r>
              <a:rPr lang="en-US" sz="2000" dirty="0">
                <a:solidFill>
                  <a:srgbClr val="005EB8"/>
                </a:solidFill>
                <a:latin typeface="+mj-lt"/>
                <a:ea typeface="ＭＳ Ｐゴシック" charset="-128"/>
              </a:rPr>
              <a:t> y turismo</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solidFill>
                <a:srgbClr val="005EB8"/>
              </a:solidFill>
              <a:latin typeface="+mj-lt"/>
              <a:ea typeface="ＭＳ Ｐゴシック" charset="-128"/>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err="1">
                <a:solidFill>
                  <a:srgbClr val="005EB8"/>
                </a:solidFill>
                <a:latin typeface="+mj-lt"/>
                <a:ea typeface="ＭＳ Ｐゴシック" charset="-128"/>
              </a:rPr>
              <a:t>Ganar</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competitividad</a:t>
            </a:r>
            <a:r>
              <a:rPr lang="en-US" sz="2000" dirty="0">
                <a:solidFill>
                  <a:srgbClr val="005EB8"/>
                </a:solidFill>
                <a:latin typeface="+mj-lt"/>
                <a:ea typeface="ＭＳ Ｐゴシック" charset="-128"/>
              </a:rPr>
              <a:t> en mercados </a:t>
            </a:r>
            <a:r>
              <a:rPr lang="en-US" sz="2000" dirty="0" err="1">
                <a:solidFill>
                  <a:srgbClr val="005EB8"/>
                </a:solidFill>
                <a:latin typeface="+mj-lt"/>
                <a:ea typeface="ＭＳ Ｐゴシック" charset="-128"/>
              </a:rPr>
              <a:t>internacionales</a:t>
            </a:r>
            <a:r>
              <a:rPr lang="en-US" sz="2000" dirty="0">
                <a:solidFill>
                  <a:srgbClr val="005EB8"/>
                </a:solidFill>
                <a:latin typeface="+mj-lt"/>
                <a:ea typeface="ＭＳ Ｐゴシック" charset="-128"/>
              </a:rPr>
              <a:t> para </a:t>
            </a:r>
            <a:r>
              <a:rPr lang="en-US" sz="2000" dirty="0" err="1">
                <a:solidFill>
                  <a:srgbClr val="005EB8"/>
                </a:solidFill>
                <a:latin typeface="+mj-lt"/>
                <a:ea typeface="ＭＳ Ｐゴシック" charset="-128"/>
              </a:rPr>
              <a:t>diversificar</a:t>
            </a:r>
            <a:r>
              <a:rPr lang="en-US" sz="2000" dirty="0">
                <a:solidFill>
                  <a:srgbClr val="005EB8"/>
                </a:solidFill>
                <a:latin typeface="+mj-lt"/>
                <a:ea typeface="ＭＳ Ｐゴシック" charset="-128"/>
              </a:rPr>
              <a:t> la </a:t>
            </a:r>
            <a:r>
              <a:rPr lang="en-US" sz="2000" dirty="0" err="1">
                <a:solidFill>
                  <a:srgbClr val="005EB8"/>
                </a:solidFill>
                <a:latin typeface="+mj-lt"/>
                <a:ea typeface="ＭＳ Ｐゴシック" charset="-128"/>
              </a:rPr>
              <a:t>cartera</a:t>
            </a:r>
            <a:r>
              <a:rPr lang="en-US" sz="2000" dirty="0">
                <a:solidFill>
                  <a:srgbClr val="005EB8"/>
                </a:solidFill>
                <a:latin typeface="+mj-lt"/>
                <a:ea typeface="ＭＳ Ｐゴシック" charset="-128"/>
              </a:rPr>
              <a:t> actual de mercados </a:t>
            </a:r>
            <a:r>
              <a:rPr lang="en-US" sz="2000" dirty="0" err="1">
                <a:solidFill>
                  <a:srgbClr val="005EB8"/>
                </a:solidFill>
                <a:latin typeface="+mj-lt"/>
                <a:ea typeface="ＭＳ Ｐゴシック" charset="-128"/>
              </a:rPr>
              <a:t>estratégicos</a:t>
            </a:r>
            <a:br>
              <a:rPr lang="en-US" sz="2000" dirty="0">
                <a:solidFill>
                  <a:srgbClr val="005EB8"/>
                </a:solidFill>
                <a:latin typeface="+mj-lt"/>
                <a:ea typeface="ＭＳ Ｐゴシック" charset="-128"/>
              </a:rPr>
            </a:br>
            <a:endParaRPr lang="en-US" sz="2000" dirty="0">
              <a:solidFill>
                <a:srgbClr val="005EB8"/>
              </a:solidFill>
              <a:latin typeface="+mj-lt"/>
              <a:ea typeface="ＭＳ Ｐゴシック" charset="-128"/>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err="1">
                <a:solidFill>
                  <a:srgbClr val="005EB8"/>
                </a:solidFill>
                <a:latin typeface="+mj-lt"/>
                <a:ea typeface="ＭＳ Ｐゴシック" charset="-128"/>
              </a:rPr>
              <a:t>Avanzar</a:t>
            </a:r>
            <a:r>
              <a:rPr lang="en-US" sz="2000" dirty="0">
                <a:solidFill>
                  <a:srgbClr val="005EB8"/>
                </a:solidFill>
                <a:latin typeface="+mj-lt"/>
                <a:ea typeface="ＭＳ Ｐゴシック" charset="-128"/>
              </a:rPr>
              <a:t> en </a:t>
            </a:r>
            <a:r>
              <a:rPr lang="en-US" sz="2000" dirty="0" err="1">
                <a:solidFill>
                  <a:srgbClr val="005EB8"/>
                </a:solidFill>
                <a:latin typeface="+mj-lt"/>
                <a:ea typeface="ＭＳ Ｐゴシック" charset="-128"/>
              </a:rPr>
              <a:t>materia</a:t>
            </a:r>
            <a:r>
              <a:rPr lang="en-US" sz="2000" dirty="0">
                <a:solidFill>
                  <a:srgbClr val="005EB8"/>
                </a:solidFill>
                <a:latin typeface="+mj-lt"/>
                <a:ea typeface="ＭＳ Ｐゴシック" charset="-128"/>
              </a:rPr>
              <a:t> de </a:t>
            </a:r>
            <a:r>
              <a:rPr lang="en-US" sz="2000" dirty="0" err="1">
                <a:solidFill>
                  <a:srgbClr val="005EB8"/>
                </a:solidFill>
                <a:latin typeface="+mj-lt"/>
                <a:ea typeface="ＭＳ Ｐゴシック" charset="-128"/>
              </a:rPr>
              <a:t>infraestructura</a:t>
            </a:r>
            <a:r>
              <a:rPr lang="en-US" sz="2000" dirty="0">
                <a:solidFill>
                  <a:srgbClr val="005EB8"/>
                </a:solidFill>
                <a:latin typeface="+mj-lt"/>
                <a:ea typeface="ＭＳ Ｐゴシック" charset="-128"/>
              </a:rPr>
              <a:t> – </a:t>
            </a:r>
            <a:r>
              <a:rPr lang="en-US" sz="2000" dirty="0" err="1">
                <a:solidFill>
                  <a:srgbClr val="005EB8"/>
                </a:solidFill>
                <a:latin typeface="+mj-lt"/>
                <a:ea typeface="ＭＳ Ｐゴシック" charset="-128"/>
              </a:rPr>
              <a:t>conectividad</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aérea</a:t>
            </a:r>
            <a:endParaRPr lang="en-US" sz="2000" dirty="0">
              <a:solidFill>
                <a:srgbClr val="005EB8"/>
              </a:solidFill>
              <a:latin typeface="+mj-lt"/>
              <a:ea typeface="ＭＳ Ｐゴシック" charset="-128"/>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solidFill>
                <a:srgbClr val="005EB8"/>
              </a:solidFill>
              <a:latin typeface="+mj-lt"/>
              <a:ea typeface="ＭＳ Ｐゴシック" charset="-128"/>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err="1">
                <a:solidFill>
                  <a:srgbClr val="005EB8"/>
                </a:solidFill>
                <a:latin typeface="+mj-lt"/>
                <a:ea typeface="ＭＳ Ｐゴシック" charset="-128"/>
              </a:rPr>
              <a:t>Trabajar</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una</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promoción</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basada</a:t>
            </a:r>
            <a:r>
              <a:rPr lang="en-US" sz="2000" dirty="0">
                <a:solidFill>
                  <a:srgbClr val="005EB8"/>
                </a:solidFill>
                <a:latin typeface="+mj-lt"/>
                <a:ea typeface="ＭＳ Ｐゴシック" charset="-128"/>
              </a:rPr>
              <a:t> en </a:t>
            </a:r>
            <a:r>
              <a:rPr lang="en-US" sz="2000" dirty="0" err="1">
                <a:solidFill>
                  <a:srgbClr val="005EB8"/>
                </a:solidFill>
                <a:latin typeface="+mj-lt"/>
                <a:ea typeface="ＭＳ Ｐゴシック" charset="-128"/>
              </a:rPr>
              <a:t>datos</a:t>
            </a:r>
            <a:r>
              <a:rPr lang="en-US" sz="2000" dirty="0">
                <a:solidFill>
                  <a:srgbClr val="005EB8"/>
                </a:solidFill>
                <a:latin typeface="+mj-lt"/>
                <a:ea typeface="ＭＳ Ｐゴシック" charset="-128"/>
              </a:rPr>
              <a:t> para </a:t>
            </a:r>
            <a:r>
              <a:rPr lang="en-US" sz="2000" dirty="0" err="1">
                <a:solidFill>
                  <a:srgbClr val="005EB8"/>
                </a:solidFill>
                <a:latin typeface="+mj-lt"/>
                <a:ea typeface="ＭＳ Ｐゴシック" charset="-128"/>
              </a:rPr>
              <a:t>reducir</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riesgos</a:t>
            </a:r>
            <a:r>
              <a:rPr lang="en-US" sz="2000" dirty="0">
                <a:solidFill>
                  <a:srgbClr val="005EB8"/>
                </a:solidFill>
                <a:latin typeface="+mj-lt"/>
                <a:ea typeface="ＭＳ Ｐゴシック" charset="-128"/>
              </a:rPr>
              <a:t> en la </a:t>
            </a:r>
            <a:r>
              <a:rPr lang="en-US" sz="2000" dirty="0" err="1">
                <a:solidFill>
                  <a:srgbClr val="005EB8"/>
                </a:solidFill>
                <a:latin typeface="+mj-lt"/>
                <a:ea typeface="ＭＳ Ｐゴシック" charset="-128"/>
              </a:rPr>
              <a:t>toma</a:t>
            </a:r>
            <a:r>
              <a:rPr lang="en-US" sz="2000" dirty="0">
                <a:solidFill>
                  <a:srgbClr val="005EB8"/>
                </a:solidFill>
                <a:latin typeface="+mj-lt"/>
                <a:ea typeface="ＭＳ Ｐゴシック" charset="-128"/>
              </a:rPr>
              <a:t> de decisions y </a:t>
            </a:r>
            <a:r>
              <a:rPr lang="en-US" sz="2000" dirty="0" err="1">
                <a:solidFill>
                  <a:srgbClr val="005EB8"/>
                </a:solidFill>
                <a:latin typeface="+mj-lt"/>
                <a:ea typeface="ＭＳ Ｐゴシック" charset="-128"/>
              </a:rPr>
              <a:t>posicionar</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correctamente</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los</a:t>
            </a:r>
            <a:r>
              <a:rPr lang="en-US" sz="2000" dirty="0">
                <a:solidFill>
                  <a:srgbClr val="005EB8"/>
                </a:solidFill>
                <a:latin typeface="+mj-lt"/>
                <a:ea typeface="ＭＳ Ｐゴシック" charset="-128"/>
              </a:rPr>
              <a:t> </a:t>
            </a:r>
            <a:r>
              <a:rPr lang="en-US" sz="2000" dirty="0" err="1">
                <a:solidFill>
                  <a:srgbClr val="005EB8"/>
                </a:solidFill>
                <a:latin typeface="+mj-lt"/>
                <a:ea typeface="ＭＳ Ｐゴシック" charset="-128"/>
              </a:rPr>
              <a:t>atributos</a:t>
            </a:r>
            <a:r>
              <a:rPr lang="en-US" sz="2000" dirty="0">
                <a:solidFill>
                  <a:srgbClr val="005EB8"/>
                </a:solidFill>
                <a:latin typeface="+mj-lt"/>
                <a:ea typeface="ＭＳ Ｐゴシック" charset="-128"/>
              </a:rPr>
              <a:t> del </a:t>
            </a:r>
            <a:r>
              <a:rPr lang="en-US" sz="2000" dirty="0" err="1">
                <a:solidFill>
                  <a:srgbClr val="005EB8"/>
                </a:solidFill>
                <a:latin typeface="+mj-lt"/>
                <a:ea typeface="ＭＳ Ｐゴシック" charset="-128"/>
              </a:rPr>
              <a:t>destino</a:t>
            </a:r>
            <a:endParaRPr lang="en-US" sz="2000" dirty="0">
              <a:solidFill>
                <a:srgbClr val="005EB8"/>
              </a:solidFill>
              <a:latin typeface="+mj-lt"/>
              <a:ea typeface="ＭＳ Ｐゴシック" charset="-128"/>
            </a:endParaRPr>
          </a:p>
        </p:txBody>
      </p:sp>
    </p:spTree>
    <p:extLst>
      <p:ext uri="{BB962C8B-B14F-4D97-AF65-F5344CB8AC3E}">
        <p14:creationId xmlns:p14="http://schemas.microsoft.com/office/powerpoint/2010/main" val="3736548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_template widescreen_white">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_13.7.21" id="{0B78196F-9C11-4F8F-92C2-E4D63237E546}" vid="{C5BA03CA-E7D5-431A-AD62-E553233FF7F2}"/>
    </a:ext>
  </a:extLst>
</a:theme>
</file>

<file path=ppt/theme/theme10.xml><?xml version="1.0" encoding="utf-8"?>
<a:theme xmlns:a="http://schemas.openxmlformats.org/drawingml/2006/main" name="2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Restricted_PPT_template(widescreen).potx" id="{CAAE10D3-A906-42F1-A58D-9FB5F8B1A766}" vid="{AFAD3C5A-BC04-44CC-9947-7D381F185DC1}"/>
    </a:ext>
  </a:extLst>
</a:theme>
</file>

<file path=ppt/theme/theme11.xml><?xml version="1.0" encoding="utf-8"?>
<a:theme xmlns:a="http://schemas.openxmlformats.org/drawingml/2006/main" name="3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Amadeus (widescreen).potx" id="{FB267625-D5B7-4E09-8E92-922F52883EF2}" vid="{23EE970C-F3EA-4B4D-BC2C-F791D55723FA}"/>
    </a:ext>
  </a:ext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PPT_template widescreen_white">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_13.7.21" id="{0B78196F-9C11-4F8F-92C2-E4D63237E546}" vid="{C5BA03CA-E7D5-431A-AD62-E553233FF7F2}"/>
    </a:ext>
  </a:extLst>
</a:theme>
</file>

<file path=ppt/theme/theme14.xml><?xml version="1.0" encoding="utf-8"?>
<a:theme xmlns:a="http://schemas.openxmlformats.org/drawingml/2006/main" name="3_PPT_template widescreen_white">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_13.7.21" id="{0B78196F-9C11-4F8F-92C2-E4D63237E546}" vid="{C5BA03CA-E7D5-431A-AD62-E553233FF7F2}"/>
    </a:ext>
  </a:extLst>
</a:theme>
</file>

<file path=ppt/theme/theme1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Amadeus (widescreen).potx" id="{FB267625-D5B7-4E09-8E92-922F52883EF2}" vid="{23EE970C-F3EA-4B4D-BC2C-F791D55723FA}"/>
    </a:ext>
  </a:extLst>
</a:theme>
</file>

<file path=ppt/theme/theme3.xml><?xml version="1.0" encoding="utf-8"?>
<a:theme xmlns:a="http://schemas.openxmlformats.org/drawingml/2006/main" name="Treptow">
  <a:themeElements>
    <a:clrScheme name="Custom 2">
      <a:dk1>
        <a:srgbClr val="5A585C"/>
      </a:dk1>
      <a:lt1>
        <a:srgbClr val="FEFFFE"/>
      </a:lt1>
      <a:dk2>
        <a:srgbClr val="015FBD"/>
      </a:dk2>
      <a:lt2>
        <a:srgbClr val="FEFFFE"/>
      </a:lt2>
      <a:accent1>
        <a:srgbClr val="005EB7"/>
      </a:accent1>
      <a:accent2>
        <a:srgbClr val="D61A5E"/>
      </a:accent2>
      <a:accent3>
        <a:srgbClr val="00BEF3"/>
      </a:accent3>
      <a:accent4>
        <a:srgbClr val="88C3E6"/>
      </a:accent4>
      <a:accent5>
        <a:srgbClr val="FAA333"/>
      </a:accent5>
      <a:accent6>
        <a:srgbClr val="FBEA4C"/>
      </a:accent6>
      <a:hlink>
        <a:srgbClr val="035DB7"/>
      </a:hlink>
      <a:folHlink>
        <a:srgbClr val="035DB7"/>
      </a:folHlink>
    </a:clrScheme>
    <a:fontScheme name="travel audience">
      <a:majorFont>
        <a:latin typeface="Gibson Light"/>
        <a:ea typeface=""/>
        <a:cs typeface=""/>
      </a:majorFont>
      <a:minorFont>
        <a:latin typeface="Gibson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5E5E5"/>
        </a:solidFill>
        <a:ln>
          <a:solidFill>
            <a:srgbClr val="E5E5E5"/>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PPT_template widescreen_white">
  <a:themeElements>
    <a:clrScheme name="Amadeus">
      <a:dk1>
        <a:srgbClr val="005EB8"/>
      </a:dk1>
      <a:lt1>
        <a:sysClr val="window" lastClr="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_13.7.21" id="{0B78196F-9C11-4F8F-92C2-E4D63237E546}" vid="{C5BA03CA-E7D5-431A-AD62-E553233FF7F2}"/>
    </a:ext>
  </a:extLst>
</a:theme>
</file>

<file path=ppt/theme/theme5.xml><?xml version="1.0" encoding="utf-8"?>
<a:theme xmlns:a="http://schemas.openxmlformats.org/drawingml/2006/main" name="5_PPT_template widescreen_white">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_13.7.21" id="{0B78196F-9C11-4F8F-92C2-E4D63237E546}" vid="{C5BA03CA-E7D5-431A-AD62-E553233FF7F2}"/>
    </a:ext>
  </a:extLst>
</a:theme>
</file>

<file path=ppt/theme/theme6.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5E5E5"/>
        </a:solidFill>
        <a:ln>
          <a:solidFill>
            <a:srgbClr val="E5E5E5"/>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PPT_template widescreen_white">
  <a:themeElements>
    <a:clrScheme name="Amadeus">
      <a:dk1>
        <a:srgbClr val="005EB8"/>
      </a:dk1>
      <a:lt1>
        <a:sysClr val="window" lastClr="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 template 2022" id="{2E0A2253-8AA0-4BFE-B457-C464D4466210}" vid="{0FE074C6-F26A-4F90-AC9C-79DE8FF95B32}"/>
    </a:ext>
  </a:extLst>
</a:theme>
</file>

<file path=ppt/theme/theme8.xml><?xml version="1.0" encoding="utf-8"?>
<a:theme xmlns:a="http://schemas.openxmlformats.org/drawingml/2006/main" name="10_PPT_template widescreen_white">
  <a:themeElements>
    <a:clrScheme name="Amadeus">
      <a:dk1>
        <a:srgbClr val="005EB8"/>
      </a:dk1>
      <a:lt1>
        <a:sysClr val="window" lastClr="FFFFFF"/>
      </a:lt1>
      <a:dk2>
        <a:srgbClr val="005EB8"/>
      </a:dk2>
      <a:lt2>
        <a:srgbClr val="FFFFFF"/>
      </a:lt2>
      <a:accent1>
        <a:srgbClr val="005EB8"/>
      </a:accent1>
      <a:accent2>
        <a:srgbClr val="00A9E0"/>
      </a:accent2>
      <a:accent3>
        <a:srgbClr val="9BCAEC"/>
      </a:accent3>
      <a:accent4>
        <a:srgbClr val="D3E8F8"/>
      </a:accent4>
      <a:accent5>
        <a:srgbClr val="6F2B8D"/>
      </a:accent5>
      <a:accent6>
        <a:srgbClr val="CE0058"/>
      </a:accent6>
      <a:hlink>
        <a:srgbClr val="005EB8"/>
      </a:hlink>
      <a:folHlink>
        <a:srgbClr val="00A9E0"/>
      </a:folHlink>
    </a:clrScheme>
    <a:fontScheme name="Custom 2">
      <a:majorFont>
        <a:latin typeface="Amadeus"/>
        <a:ea typeface=""/>
        <a:cs typeface=""/>
      </a:majorFont>
      <a:minorFont>
        <a:latin typeface="Amadeus"/>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External template 2022" id="{2E0A2253-8AA0-4BFE-B457-C464D4466210}" vid="{0FE074C6-F26A-4F90-AC9C-79DE8FF95B32}"/>
    </a:ext>
  </a:extLst>
</a:theme>
</file>

<file path=ppt/theme/theme9.xml><?xml version="1.0" encoding="utf-8"?>
<a:theme xmlns:a="http://schemas.openxmlformats.org/drawingml/2006/main" name="1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Amadeus (widescreen).potx" id="{548F69FA-DA66-480A-AE5F-4BBE0F4B72F9}" vid="{19042B99-35B1-4591-B34A-A3FAAF46F26B}"/>
    </a:ext>
  </a:extLst>
</a:theme>
</file>

<file path=ppt/theme/themeOverride1.xml><?xml version="1.0" encoding="utf-8"?>
<a:themeOverride xmlns:a="http://schemas.openxmlformats.org/drawingml/2006/main">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52F670F6C6414F8CC99E7BE026E7BF" ma:contentTypeVersion="13" ma:contentTypeDescription="Create a new document." ma:contentTypeScope="" ma:versionID="accfa44da1f25970d14aa4a53599d89e">
  <xsd:schema xmlns:xsd="http://www.w3.org/2001/XMLSchema" xmlns:xs="http://www.w3.org/2001/XMLSchema" xmlns:p="http://schemas.microsoft.com/office/2006/metadata/properties" xmlns:ns2="58e1fdf9-5f21-44af-b883-872df7b7d847" xmlns:ns3="0fbb76bf-88d2-4c0c-948b-3eb7ca4b63b6" targetNamespace="http://schemas.microsoft.com/office/2006/metadata/properties" ma:root="true" ma:fieldsID="7286fa74399dd0a88d018abcac656e84" ns2:_="" ns3:_="">
    <xsd:import namespace="58e1fdf9-5f21-44af-b883-872df7b7d847"/>
    <xsd:import namespace="0fbb76bf-88d2-4c0c-948b-3eb7ca4b63b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e1fdf9-5f21-44af-b883-872df7b7d8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fbb76bf-88d2-4c0c-948b-3eb7ca4b63b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bb76bf-88d2-4c0c-948b-3eb7ca4b63b6">
      <UserInfo>
        <DisplayName>Marcus WATERS</DisplayName>
        <AccountId>35</AccountId>
        <AccountType/>
      </UserInfo>
      <UserInfo>
        <DisplayName>Luana de Almeida</DisplayName>
        <AccountId>117</AccountId>
        <AccountType/>
      </UserInfo>
      <UserInfo>
        <DisplayName>Andreas Kurtz</DisplayName>
        <AccountId>247</AccountId>
        <AccountType/>
      </UserInfo>
      <UserInfo>
        <DisplayName>Andreas Kurtz</DisplayName>
        <AccountId>188</AccountId>
        <AccountType/>
      </UserInfo>
      <UserInfo>
        <DisplayName>Andreas Kurtz</DisplayName>
        <AccountId>248</AccountId>
        <AccountType/>
      </UserInfo>
      <UserInfo>
        <DisplayName>Andreas Kurtz</DisplayName>
        <AccountId>249</AccountId>
        <AccountType/>
      </UserInfo>
      <UserInfo>
        <DisplayName>Raquel Aguilar</DisplayName>
        <AccountId>168</AccountId>
        <AccountType/>
      </UserInfo>
      <UserInfo>
        <DisplayName>Gonzalo BLANC</DisplayName>
        <AccountId>50</AccountId>
        <AccountType/>
      </UserInfo>
      <UserInfo>
        <DisplayName>Andreas Kurtz</DisplayName>
        <AccountId>264</AccountId>
        <AccountType/>
      </UserInfo>
      <UserInfo>
        <DisplayName>Yassine ECHTIOUI</DisplayName>
        <AccountId>5257</AccountId>
        <AccountType/>
      </UserInfo>
      <UserInfo>
        <DisplayName>Jeff ROUTHOUSKA</DisplayName>
        <AccountId>5269</AccountId>
        <AccountType/>
      </UserInfo>
    </SharedWithUsers>
  </documentManagement>
</p:properties>
</file>

<file path=customXml/itemProps1.xml><?xml version="1.0" encoding="utf-8"?>
<ds:datastoreItem xmlns:ds="http://schemas.openxmlformats.org/officeDocument/2006/customXml" ds:itemID="{BFBA421D-2871-4C4D-B09F-23A7CB313D74}">
  <ds:schemaRefs>
    <ds:schemaRef ds:uri="http://schemas.microsoft.com/sharepoint/v3/contenttype/forms"/>
  </ds:schemaRefs>
</ds:datastoreItem>
</file>

<file path=customXml/itemProps2.xml><?xml version="1.0" encoding="utf-8"?>
<ds:datastoreItem xmlns:ds="http://schemas.openxmlformats.org/officeDocument/2006/customXml" ds:itemID="{FFB99030-1F28-4588-B7D6-64A2B175ECB3}">
  <ds:schemaRefs>
    <ds:schemaRef ds:uri="0fbb76bf-88d2-4c0c-948b-3eb7ca4b63b6"/>
    <ds:schemaRef ds:uri="58e1fdf9-5f21-44af-b883-872df7b7d8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9FCB643-41AF-4F3E-8046-90DC8CD131DF}">
  <ds:schemaRefs>
    <ds:schemaRef ds:uri="http://schemas.microsoft.com/office/2006/metadata/properties"/>
    <ds:schemaRef ds:uri="58e1fdf9-5f21-44af-b883-872df7b7d847"/>
    <ds:schemaRef ds:uri="http://schemas.microsoft.com/office/2006/documentManagement/types"/>
    <ds:schemaRef ds:uri="http://schemas.openxmlformats.org/package/2006/metadata/core-properties"/>
    <ds:schemaRef ds:uri="http://purl.org/dc/dcmitype/"/>
    <ds:schemaRef ds:uri="http://purl.org/dc/terms/"/>
    <ds:schemaRef ds:uri="http://purl.org/dc/elements/1.1/"/>
    <ds:schemaRef ds:uri="http://schemas.microsoft.com/office/infopath/2007/PartnerControls"/>
    <ds:schemaRef ds:uri="http://www.w3.org/XML/1998/namespace"/>
    <ds:schemaRef ds:uri="0fbb76bf-88d2-4c0c-948b-3eb7ca4b63b6"/>
  </ds:schemaRefs>
</ds:datastoreItem>
</file>

<file path=docProps/app.xml><?xml version="1.0" encoding="utf-8"?>
<Properties xmlns="http://schemas.openxmlformats.org/officeDocument/2006/extended-properties" xmlns:vt="http://schemas.openxmlformats.org/officeDocument/2006/docPropsVTypes">
  <Template>PPT_template widescreen_white</Template>
  <TotalTime>6216</TotalTime>
  <Words>3778</Words>
  <Application>Microsoft Office PowerPoint</Application>
  <PresentationFormat>Widescreen</PresentationFormat>
  <Paragraphs>828</Paragraphs>
  <Slides>32</Slides>
  <Notes>31</Notes>
  <HiddenSlides>0</HiddenSlides>
  <MMClips>0</MMClips>
  <ScaleCrop>false</ScaleCrop>
  <HeadingPairs>
    <vt:vector size="8" baseType="variant">
      <vt:variant>
        <vt:lpstr>Fonts Used</vt:lpstr>
      </vt:variant>
      <vt:variant>
        <vt:i4>20</vt:i4>
      </vt:variant>
      <vt:variant>
        <vt:lpstr>Theme</vt:lpstr>
      </vt:variant>
      <vt:variant>
        <vt:i4>14</vt:i4>
      </vt:variant>
      <vt:variant>
        <vt:lpstr>Embedded OLE Servers</vt:lpstr>
      </vt:variant>
      <vt:variant>
        <vt:i4>1</vt:i4>
      </vt:variant>
      <vt:variant>
        <vt:lpstr>Slide Titles</vt:lpstr>
      </vt:variant>
      <vt:variant>
        <vt:i4>32</vt:i4>
      </vt:variant>
    </vt:vector>
  </HeadingPairs>
  <TitlesOfParts>
    <vt:vector size="67" baseType="lpstr">
      <vt:lpstr>Malgun Gothic</vt:lpstr>
      <vt:lpstr>Amadeus</vt:lpstr>
      <vt:lpstr>Amadeus Thin</vt:lpstr>
      <vt:lpstr>Arial</vt:lpstr>
      <vt:lpstr>Calibri</vt:lpstr>
      <vt:lpstr>Calibri </vt:lpstr>
      <vt:lpstr>Calibri Light</vt:lpstr>
      <vt:lpstr>Calibri Regular</vt:lpstr>
      <vt:lpstr>Courier New</vt:lpstr>
      <vt:lpstr>Gibson</vt:lpstr>
      <vt:lpstr>Gibson Light</vt:lpstr>
      <vt:lpstr>Gibson SemBd</vt:lpstr>
      <vt:lpstr>Lucida Grande</vt:lpstr>
      <vt:lpstr>Open Sans Light</vt:lpstr>
      <vt:lpstr>Poppins</vt:lpstr>
      <vt:lpstr>PT Sans</vt:lpstr>
      <vt:lpstr>Roboto Light</vt:lpstr>
      <vt:lpstr>Symbol</vt:lpstr>
      <vt:lpstr>Verdana</vt:lpstr>
      <vt:lpstr>Wingdings</vt:lpstr>
      <vt:lpstr>PPT_template widescreen_white</vt:lpstr>
      <vt:lpstr>Restricted_PPT_template widescreen</vt:lpstr>
      <vt:lpstr>Treptow</vt:lpstr>
      <vt:lpstr>1_PPT_template widescreen_white</vt:lpstr>
      <vt:lpstr>5_PPT_template widescreen_white</vt:lpstr>
      <vt:lpstr>Office Theme</vt:lpstr>
      <vt:lpstr>8_PPT_template widescreen_white</vt:lpstr>
      <vt:lpstr>10_PPT_template widescreen_white</vt:lpstr>
      <vt:lpstr>1_Restricted_PPT_template widescreen</vt:lpstr>
      <vt:lpstr>2_Restricted_PPT_template widescreen</vt:lpstr>
      <vt:lpstr>3_Restricted_PPT_template widescreen</vt:lpstr>
      <vt:lpstr>1_Office Theme</vt:lpstr>
      <vt:lpstr>2_PPT_template widescreen_white</vt:lpstr>
      <vt:lpstr>3_PPT_template widescreen_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arrollando estrategias aplicando inteligencia turísti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emos que los datos en turismo tienen historias poderosas que contar, y para impulsar el crecimiento de tu organización, necesitas conocer esas historias en tiempo real.”</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lo BRAGA</dc:creator>
  <cp:keywords/>
  <cp:lastModifiedBy>Franz MULLER</cp:lastModifiedBy>
  <cp:revision>36</cp:revision>
  <dcterms:created xsi:type="dcterms:W3CDTF">2021-11-08T10:55:04Z</dcterms:created>
  <dcterms:modified xsi:type="dcterms:W3CDTF">2023-09-23T21:2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44a7de00-1af5-4aea-bfb6-a2a9a8630d29</vt:lpwstr>
  </property>
  <property fmtid="{D5CDD505-2E9C-101B-9397-08002B2CF9AE}" pid="3" name="OriginatingUser">
    <vt:lpwstr>pilar.garcia</vt:lpwstr>
  </property>
  <property fmtid="{D5CDD505-2E9C-101B-9397-08002B2CF9AE}" pid="4" name="CLASSIFICATION">
    <vt:lpwstr>RESTRICTED</vt:lpwstr>
  </property>
  <property fmtid="{D5CDD505-2E9C-101B-9397-08002B2CF9AE}" pid="5" name="ContentTypeId">
    <vt:lpwstr>0x0101007F52F670F6C6414F8CC99E7BE026E7BF</vt:lpwstr>
  </property>
  <property fmtid="{D5CDD505-2E9C-101B-9397-08002B2CF9AE}" pid="6" name="MSIP_Label_7f0ea3bf-098d-497f-9948-5e528bb54b39_Enabled">
    <vt:lpwstr>true</vt:lpwstr>
  </property>
  <property fmtid="{D5CDD505-2E9C-101B-9397-08002B2CF9AE}" pid="7" name="MSIP_Label_7f0ea3bf-098d-497f-9948-5e528bb54b39_SetDate">
    <vt:lpwstr>2021-11-08T10:55:50Z</vt:lpwstr>
  </property>
  <property fmtid="{D5CDD505-2E9C-101B-9397-08002B2CF9AE}" pid="8" name="MSIP_Label_7f0ea3bf-098d-497f-9948-5e528bb54b39_Method">
    <vt:lpwstr>Privileged</vt:lpwstr>
  </property>
  <property fmtid="{D5CDD505-2E9C-101B-9397-08002B2CF9AE}" pid="9" name="MSIP_Label_7f0ea3bf-098d-497f-9948-5e528bb54b39_Name">
    <vt:lpwstr>7f0ea3bf-098d-497f-9948-5e528bb54b39</vt:lpwstr>
  </property>
  <property fmtid="{D5CDD505-2E9C-101B-9397-08002B2CF9AE}" pid="10" name="MSIP_Label_7f0ea3bf-098d-497f-9948-5e528bb54b39_SiteId">
    <vt:lpwstr>b3f4f7c2-72ce-4192-aba4-d6c7719b5766</vt:lpwstr>
  </property>
  <property fmtid="{D5CDD505-2E9C-101B-9397-08002B2CF9AE}" pid="11" name="MSIP_Label_7f0ea3bf-098d-497f-9948-5e528bb54b39_ActionId">
    <vt:lpwstr>241a3cd5-b1fa-40cf-9ed9-89ef36bf7d9b</vt:lpwstr>
  </property>
  <property fmtid="{D5CDD505-2E9C-101B-9397-08002B2CF9AE}" pid="12" name="MSIP_Label_7f0ea3bf-098d-497f-9948-5e528bb54b39_ContentBits">
    <vt:lpwstr>0</vt:lpwstr>
  </property>
</Properties>
</file>